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04.svg" ContentType="image/svg+xml"/>
  <Override PartName="/ppt/media/image106.svg" ContentType="image/svg+xml"/>
  <Override PartName="/ppt/media/image108.svg" ContentType="image/svg+xml"/>
  <Override PartName="/ppt/media/image110.svg" ContentType="image/svg+xml"/>
  <Override PartName="/ppt/media/image112.svg" ContentType="image/svg+xml"/>
  <Override PartName="/ppt/media/image61.svg" ContentType="image/svg+xml"/>
  <Override PartName="/ppt/media/image63.svg" ContentType="image/svg+xml"/>
  <Override PartName="/ppt/media/image65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</p:sldMasterIdLst>
  <p:notesMasterIdLst>
    <p:notesMasterId r:id="rId5"/>
  </p:notesMasterIdLst>
  <p:handoutMasterIdLst>
    <p:handoutMasterId r:id="rId48"/>
  </p:handoutMasterIdLst>
  <p:sldIdLst>
    <p:sldId id="583" r:id="rId4"/>
    <p:sldId id="412" r:id="rId6"/>
    <p:sldId id="585" r:id="rId7"/>
    <p:sldId id="565" r:id="rId8"/>
    <p:sldId id="564" r:id="rId9"/>
    <p:sldId id="567" r:id="rId10"/>
    <p:sldId id="558" r:id="rId11"/>
    <p:sldId id="559" r:id="rId12"/>
    <p:sldId id="561" r:id="rId13"/>
    <p:sldId id="562" r:id="rId14"/>
    <p:sldId id="563" r:id="rId15"/>
    <p:sldId id="572" r:id="rId16"/>
    <p:sldId id="573" r:id="rId17"/>
    <p:sldId id="574" r:id="rId18"/>
    <p:sldId id="578" r:id="rId19"/>
    <p:sldId id="579" r:id="rId20"/>
    <p:sldId id="385" r:id="rId21"/>
    <p:sldId id="568" r:id="rId22"/>
    <p:sldId id="569" r:id="rId23"/>
    <p:sldId id="582" r:id="rId24"/>
    <p:sldId id="570" r:id="rId25"/>
    <p:sldId id="571" r:id="rId26"/>
    <p:sldId id="272" r:id="rId27"/>
    <p:sldId id="526" r:id="rId28"/>
    <p:sldId id="527" r:id="rId29"/>
    <p:sldId id="528" r:id="rId30"/>
    <p:sldId id="529" r:id="rId31"/>
    <p:sldId id="278" r:id="rId32"/>
    <p:sldId id="551" r:id="rId33"/>
    <p:sldId id="552" r:id="rId34"/>
    <p:sldId id="363" r:id="rId35"/>
    <p:sldId id="554" r:id="rId36"/>
    <p:sldId id="474" r:id="rId37"/>
    <p:sldId id="553" r:id="rId38"/>
    <p:sldId id="475" r:id="rId39"/>
    <p:sldId id="576" r:id="rId40"/>
    <p:sldId id="577" r:id="rId41"/>
    <p:sldId id="427" r:id="rId42"/>
    <p:sldId id="428" r:id="rId43"/>
    <p:sldId id="581" r:id="rId44"/>
    <p:sldId id="368" r:id="rId45"/>
    <p:sldId id="584" r:id="rId46"/>
    <p:sldId id="386" r:id="rId47"/>
  </p:sldIdLst>
  <p:sldSz cx="12195175" cy="6858000"/>
  <p:notesSz cx="6858000" cy="9144000"/>
  <p:custDataLst>
    <p:tags r:id="rId5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2" userDrawn="1">
          <p15:clr>
            <a:srgbClr val="A4A3A4"/>
          </p15:clr>
        </p15:guide>
        <p15:guide id="2" pos="393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中非干饭人" initials="中非干饭人" lastIdx="0" clrIdx="0"/>
  <p:cmAuthor id="2" name="WPS" initials="W" lastIdx="0" clrIdx="1"/>
  <p:cmAuthor id="3" name="作者" initials="A" lastIdx="0" clrIdx="2"/>
  <p:cmAuthor id="4" name="WPS_1679281038" initials="W" lastIdx="0" clrIdx="3"/>
  <p:cmAuthor id="5" name="kingsoft" initials="k" lastIdx="0" clrIdx="4"/>
  <p:cmAuthor id="6" name="HP" initials="H" lastIdx="0" clrIdx="5"/>
  <p:cmAuthor id="7" name="Admin" initials="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00000"/>
    <a:srgbClr val="999999"/>
    <a:srgbClr val="FFFFFF"/>
    <a:srgbClr val="9EC1D3"/>
    <a:srgbClr val="D9D9D9"/>
    <a:srgbClr val="CD2237"/>
    <a:srgbClr val="CD2232"/>
    <a:srgbClr val="E62A2A"/>
    <a:srgbClr val="2C36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467" autoAdjust="0"/>
    <p:restoredTop sz="94660"/>
  </p:normalViewPr>
  <p:slideViewPr>
    <p:cSldViewPr showGuides="1">
      <p:cViewPr varScale="1">
        <p:scale>
          <a:sx n="68" d="100"/>
          <a:sy n="68" d="100"/>
        </p:scale>
        <p:origin x="-340" y="-76"/>
      </p:cViewPr>
      <p:guideLst>
        <p:guide orient="horz" pos="552"/>
        <p:guide pos="39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-3240" y="-90"/>
      </p:cViewPr>
      <p:guideLst>
        <p:guide orient="horz" pos="3449"/>
        <p:guide pos="221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3" Type="http://schemas.openxmlformats.org/officeDocument/2006/relationships/tags" Target="tags/tag183.xml"/><Relationship Id="rId52" Type="http://schemas.openxmlformats.org/officeDocument/2006/relationships/commentAuthors" Target="commentAuthors.xml"/><Relationship Id="rId51" Type="http://schemas.openxmlformats.org/officeDocument/2006/relationships/tableStyles" Target="tableStyles.xml"/><Relationship Id="rId50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49" Type="http://schemas.openxmlformats.org/officeDocument/2006/relationships/presProps" Target="presProps.xml"/><Relationship Id="rId48" Type="http://schemas.openxmlformats.org/officeDocument/2006/relationships/handoutMaster" Target="handoutMasters/handoutMaster1.xml"/><Relationship Id="rId47" Type="http://schemas.openxmlformats.org/officeDocument/2006/relationships/slide" Target="slides/slide43.xml"/><Relationship Id="rId46" Type="http://schemas.openxmlformats.org/officeDocument/2006/relationships/slide" Target="slides/slide42.xml"/><Relationship Id="rId45" Type="http://schemas.openxmlformats.org/officeDocument/2006/relationships/slide" Target="slides/slide41.xml"/><Relationship Id="rId44" Type="http://schemas.openxmlformats.org/officeDocument/2006/relationships/slide" Target="slides/slide40.xml"/><Relationship Id="rId43" Type="http://schemas.openxmlformats.org/officeDocument/2006/relationships/slide" Target="slides/slide39.xml"/><Relationship Id="rId42" Type="http://schemas.openxmlformats.org/officeDocument/2006/relationships/slide" Target="slides/slide38.xml"/><Relationship Id="rId41" Type="http://schemas.openxmlformats.org/officeDocument/2006/relationships/slide" Target="slides/slide37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2D108D-23A9-466F-9360-CF31B0D447F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2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3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欢迎各位</a:t>
            </a:r>
            <a:r>
              <a:rPr lang="en-US" altLang="zh-CN" dirty="0"/>
              <a:t>XXX</a:t>
            </a:r>
            <a:r>
              <a:rPr lang="zh-CN" altLang="en-US" dirty="0"/>
              <a:t>，来到奥贡广东自贸区，我是</a:t>
            </a:r>
            <a:r>
              <a:rPr lang="en-US" altLang="zh-CN" dirty="0"/>
              <a:t>XXX</a:t>
            </a:r>
            <a:r>
              <a:rPr lang="zh-CN" altLang="en-US" dirty="0"/>
              <a:t>，下面由我为大家介绍一下奥贡广东自贸区的基本情况、发展成果，和优惠政策。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+</a:t>
            </a:r>
            <a:r>
              <a:rPr lang="zh-CN" altLang="en-US"/>
              <a:t>医疗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通电部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通电部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通电部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通电部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通电部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更换道路介绍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修改土地和厂房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0E0A07-2C1C-45C5-985B-D6CD99FDD0F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4" Type="http://schemas.openxmlformats.org/officeDocument/2006/relationships/image" Target="../media/image6.png"/><Relationship Id="rId3" Type="http://schemas.openxmlformats.org/officeDocument/2006/relationships/tags" Target="../tags/tag1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638" y="2130426"/>
            <a:ext cx="10365899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9276" y="3886200"/>
            <a:ext cx="853662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792903" y="274639"/>
            <a:ext cx="3658553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13012" y="274639"/>
            <a:ext cx="10776639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216591" y="217805"/>
            <a:ext cx="11761992" cy="6422390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  <a:ln>
            <a:gradFill>
              <a:gsLst>
                <a:gs pos="99000">
                  <a:srgbClr val="E9CBA6">
                    <a:alpha val="100000"/>
                  </a:srgbClr>
                </a:gs>
                <a:gs pos="0">
                  <a:srgbClr val="E9CBA6"/>
                </a:gs>
                <a:gs pos="54000">
                  <a:srgbClr val="E9CBA6">
                    <a:alpha val="0"/>
                  </a:srgbClr>
                </a:gs>
              </a:gsLst>
              <a:lin ang="0" scaled="1"/>
            </a:gradFill>
          </a:ln>
          <a:effectLst>
            <a:outerShdw blurRad="63500" sx="102000" sy="102000" algn="ctr" rotWithShape="0">
              <a:srgbClr val="6E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4235918" cy="6858000"/>
          </a:xfrm>
          <a:prstGeom prst="rect">
            <a:avLst/>
          </a:prstGeom>
          <a:effectLst>
            <a:outerShdw blurRad="50800" dist="38100" algn="l" rotWithShape="0">
              <a:srgbClr val="A20807">
                <a:alpha val="40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5" cy="6858000"/>
          </a:xfrm>
          <a:prstGeom prst="rect">
            <a:avLst/>
          </a:prstGeom>
        </p:spPr>
      </p:pic>
      <p:sp>
        <p:nvSpPr>
          <p:cNvPr id="12" name="圆角矩形 11"/>
          <p:cNvSpPr/>
          <p:nvPr userDrawn="1"/>
        </p:nvSpPr>
        <p:spPr>
          <a:xfrm>
            <a:off x="1131865" y="1045845"/>
            <a:ext cx="9930810" cy="4765675"/>
          </a:xfrm>
          <a:prstGeom prst="roundRect">
            <a:avLst>
              <a:gd name="adj" fmla="val 1092"/>
            </a:avLst>
          </a:prstGeom>
          <a:blipFill rotWithShape="1">
            <a:blip r:embed="rId3"/>
            <a:stretch>
              <a:fillRect/>
            </a:stretch>
          </a:blipFill>
          <a:ln>
            <a:gradFill>
              <a:gsLst>
                <a:gs pos="99000">
                  <a:srgbClr val="E9CBA6">
                    <a:alpha val="100000"/>
                  </a:srgbClr>
                </a:gs>
                <a:gs pos="0">
                  <a:srgbClr val="E9CBA6"/>
                </a:gs>
                <a:gs pos="54000">
                  <a:srgbClr val="E9CBA6">
                    <a:alpha val="0"/>
                  </a:srgbClr>
                </a:gs>
              </a:gsLst>
              <a:lin ang="0" scaled="1"/>
            </a:gradFill>
          </a:ln>
          <a:effectLst>
            <a:outerShdw blurRad="63500" sx="102000" sy="102000" algn="ctr" rotWithShape="0">
              <a:srgbClr val="6E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0" name="组合 19"/>
          <p:cNvGrpSpPr/>
          <p:nvPr userDrawn="1"/>
        </p:nvGrpSpPr>
        <p:grpSpPr>
          <a:xfrm>
            <a:off x="9341377" y="83820"/>
            <a:ext cx="1711771" cy="1379855"/>
            <a:chOff x="10756" y="1185"/>
            <a:chExt cx="1841" cy="1420"/>
          </a:xfrm>
        </p:grpSpPr>
        <p:cxnSp>
          <p:nvCxnSpPr>
            <p:cNvPr id="23" name="直接连接符 22"/>
            <p:cNvCxnSpPr/>
            <p:nvPr/>
          </p:nvCxnSpPr>
          <p:spPr>
            <a:xfrm flipV="1">
              <a:off x="11175" y="1185"/>
              <a:ext cx="1422" cy="1420"/>
            </a:xfrm>
            <a:prstGeom prst="line">
              <a:avLst/>
            </a:prstGeom>
            <a:ln>
              <a:gradFill>
                <a:gsLst>
                  <a:gs pos="0">
                    <a:srgbClr val="E9CBA6"/>
                  </a:gs>
                  <a:gs pos="74000">
                    <a:srgbClr val="E9CBA6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 flipV="1">
              <a:off x="10756" y="2087"/>
              <a:ext cx="519" cy="518"/>
            </a:xfrm>
            <a:prstGeom prst="line">
              <a:avLst/>
            </a:prstGeom>
            <a:ln>
              <a:gradFill>
                <a:gsLst>
                  <a:gs pos="0">
                    <a:srgbClr val="E9CBA6"/>
                  </a:gs>
                  <a:gs pos="74000">
                    <a:srgbClr val="E9CBA6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/>
          <p:cNvGrpSpPr/>
          <p:nvPr userDrawn="1"/>
        </p:nvGrpSpPr>
        <p:grpSpPr>
          <a:xfrm>
            <a:off x="1359254" y="4782820"/>
            <a:ext cx="1711771" cy="1379855"/>
            <a:chOff x="10756" y="1185"/>
            <a:chExt cx="1841" cy="1420"/>
          </a:xfrm>
        </p:grpSpPr>
        <p:cxnSp>
          <p:nvCxnSpPr>
            <p:cNvPr id="11" name="直接连接符 10"/>
            <p:cNvCxnSpPr/>
            <p:nvPr/>
          </p:nvCxnSpPr>
          <p:spPr>
            <a:xfrm flipV="1">
              <a:off x="11175" y="1185"/>
              <a:ext cx="1422" cy="1420"/>
            </a:xfrm>
            <a:prstGeom prst="line">
              <a:avLst/>
            </a:prstGeom>
            <a:ln>
              <a:gradFill>
                <a:gsLst>
                  <a:gs pos="0">
                    <a:srgbClr val="E9CBA6"/>
                  </a:gs>
                  <a:gs pos="74000">
                    <a:srgbClr val="E9CBA6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 flipV="1">
              <a:off x="10756" y="2087"/>
              <a:ext cx="519" cy="518"/>
            </a:xfrm>
            <a:prstGeom prst="line">
              <a:avLst/>
            </a:prstGeom>
            <a:ln>
              <a:gradFill>
                <a:gsLst>
                  <a:gs pos="0">
                    <a:srgbClr val="E9CBA6"/>
                  </a:gs>
                  <a:gs pos="74000">
                    <a:srgbClr val="E9CBA6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4"/>
          <p:cNvSpPr/>
          <p:nvPr userDrawn="1"/>
        </p:nvSpPr>
        <p:spPr>
          <a:xfrm>
            <a:off x="-327580" y="436880"/>
            <a:ext cx="5878660" cy="4704080"/>
          </a:xfrm>
          <a:custGeom>
            <a:avLst/>
            <a:gdLst>
              <a:gd name="connsiteX0" fmla="*/ 0 w 8252195"/>
              <a:gd name="connsiteY0" fmla="*/ 3830320 h 3830320"/>
              <a:gd name="connsiteX1" fmla="*/ 576746 w 8252195"/>
              <a:gd name="connsiteY1" fmla="*/ 0 h 3830320"/>
              <a:gd name="connsiteX2" fmla="*/ 8252195 w 8252195"/>
              <a:gd name="connsiteY2" fmla="*/ 3830320 h 3830320"/>
              <a:gd name="connsiteX3" fmla="*/ 0 w 8252195"/>
              <a:gd name="connsiteY3" fmla="*/ 3830320 h 3830320"/>
              <a:gd name="connsiteX0-1" fmla="*/ 0 w 5966195"/>
              <a:gd name="connsiteY0-2" fmla="*/ 3830320 h 4815840"/>
              <a:gd name="connsiteX1-3" fmla="*/ 576746 w 5966195"/>
              <a:gd name="connsiteY1-4" fmla="*/ 0 h 4815840"/>
              <a:gd name="connsiteX2-5" fmla="*/ 5966195 w 5966195"/>
              <a:gd name="connsiteY2-6" fmla="*/ 4815840 h 4815840"/>
              <a:gd name="connsiteX3-7" fmla="*/ 0 w 5966195"/>
              <a:gd name="connsiteY3-8" fmla="*/ 3830320 h 4815840"/>
              <a:gd name="connsiteX0-9" fmla="*/ 134454 w 5389449"/>
              <a:gd name="connsiteY0-10" fmla="*/ 4765040 h 4815840"/>
              <a:gd name="connsiteX1-11" fmla="*/ 0 w 5389449"/>
              <a:gd name="connsiteY1-12" fmla="*/ 0 h 4815840"/>
              <a:gd name="connsiteX2-13" fmla="*/ 5389449 w 5389449"/>
              <a:gd name="connsiteY2-14" fmla="*/ 4815840 h 4815840"/>
              <a:gd name="connsiteX3-15" fmla="*/ 134454 w 5389449"/>
              <a:gd name="connsiteY3-16" fmla="*/ 4765040 h 4815840"/>
              <a:gd name="connsiteX0-17" fmla="*/ 622134 w 5877129"/>
              <a:gd name="connsiteY0-18" fmla="*/ 4653280 h 4704080"/>
              <a:gd name="connsiteX1-19" fmla="*/ 0 w 5877129"/>
              <a:gd name="connsiteY1-20" fmla="*/ 0 h 4704080"/>
              <a:gd name="connsiteX2-21" fmla="*/ 5877129 w 5877129"/>
              <a:gd name="connsiteY2-22" fmla="*/ 4704080 h 4704080"/>
              <a:gd name="connsiteX3-23" fmla="*/ 622134 w 5877129"/>
              <a:gd name="connsiteY3-24" fmla="*/ 4653280 h 4704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5877129" h="4704080">
                <a:moveTo>
                  <a:pt x="622134" y="4653280"/>
                </a:moveTo>
                <a:lnTo>
                  <a:pt x="0" y="0"/>
                </a:lnTo>
                <a:lnTo>
                  <a:pt x="5877129" y="4704080"/>
                </a:lnTo>
                <a:lnTo>
                  <a:pt x="622134" y="465328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>
                  <a:lumMod val="95000"/>
                  <a:alpha val="33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等腰三角形 4"/>
          <p:cNvSpPr/>
          <p:nvPr userDrawn="1"/>
        </p:nvSpPr>
        <p:spPr>
          <a:xfrm>
            <a:off x="6485860" y="3469568"/>
            <a:ext cx="5256363" cy="3840480"/>
          </a:xfrm>
          <a:custGeom>
            <a:avLst/>
            <a:gdLst>
              <a:gd name="connsiteX0" fmla="*/ 0 w 8252195"/>
              <a:gd name="connsiteY0" fmla="*/ 3830320 h 3830320"/>
              <a:gd name="connsiteX1" fmla="*/ 576746 w 8252195"/>
              <a:gd name="connsiteY1" fmla="*/ 0 h 3830320"/>
              <a:gd name="connsiteX2" fmla="*/ 8252195 w 8252195"/>
              <a:gd name="connsiteY2" fmla="*/ 3830320 h 3830320"/>
              <a:gd name="connsiteX3" fmla="*/ 0 w 8252195"/>
              <a:gd name="connsiteY3" fmla="*/ 3830320 h 3830320"/>
              <a:gd name="connsiteX0-1" fmla="*/ 0 w 5966195"/>
              <a:gd name="connsiteY0-2" fmla="*/ 3830320 h 4815840"/>
              <a:gd name="connsiteX1-3" fmla="*/ 576746 w 5966195"/>
              <a:gd name="connsiteY1-4" fmla="*/ 0 h 4815840"/>
              <a:gd name="connsiteX2-5" fmla="*/ 5966195 w 5966195"/>
              <a:gd name="connsiteY2-6" fmla="*/ 4815840 h 4815840"/>
              <a:gd name="connsiteX3-7" fmla="*/ 0 w 5966195"/>
              <a:gd name="connsiteY3-8" fmla="*/ 3830320 h 4815840"/>
              <a:gd name="connsiteX0-9" fmla="*/ 134454 w 5389449"/>
              <a:gd name="connsiteY0-10" fmla="*/ 4765040 h 4815840"/>
              <a:gd name="connsiteX1-11" fmla="*/ 0 w 5389449"/>
              <a:gd name="connsiteY1-12" fmla="*/ 0 h 4815840"/>
              <a:gd name="connsiteX2-13" fmla="*/ 5389449 w 5389449"/>
              <a:gd name="connsiteY2-14" fmla="*/ 4815840 h 4815840"/>
              <a:gd name="connsiteX3-15" fmla="*/ 134454 w 5389449"/>
              <a:gd name="connsiteY3-16" fmla="*/ 4765040 h 4815840"/>
              <a:gd name="connsiteX0-17" fmla="*/ 622134 w 5877129"/>
              <a:gd name="connsiteY0-18" fmla="*/ 4653280 h 4704080"/>
              <a:gd name="connsiteX1-19" fmla="*/ 0 w 5877129"/>
              <a:gd name="connsiteY1-20" fmla="*/ 0 h 4704080"/>
              <a:gd name="connsiteX2-21" fmla="*/ 5877129 w 5877129"/>
              <a:gd name="connsiteY2-22" fmla="*/ 4704080 h 4704080"/>
              <a:gd name="connsiteX3-23" fmla="*/ 622134 w 5877129"/>
              <a:gd name="connsiteY3-24" fmla="*/ 4653280 h 4704080"/>
              <a:gd name="connsiteX0-25" fmla="*/ 0 w 5254995"/>
              <a:gd name="connsiteY0-26" fmla="*/ 3302000 h 3352800"/>
              <a:gd name="connsiteX1-27" fmla="*/ 3279306 w 5254995"/>
              <a:gd name="connsiteY1-28" fmla="*/ 0 h 3352800"/>
              <a:gd name="connsiteX2-29" fmla="*/ 5254995 w 5254995"/>
              <a:gd name="connsiteY2-30" fmla="*/ 3352800 h 3352800"/>
              <a:gd name="connsiteX3-31" fmla="*/ 0 w 5254995"/>
              <a:gd name="connsiteY3-32" fmla="*/ 3302000 h 3352800"/>
              <a:gd name="connsiteX0-33" fmla="*/ 0 w 6601626"/>
              <a:gd name="connsiteY0-34" fmla="*/ 3302000 h 3352800"/>
              <a:gd name="connsiteX1-35" fmla="*/ 6601626 w 6601626"/>
              <a:gd name="connsiteY1-36" fmla="*/ 0 h 3352800"/>
              <a:gd name="connsiteX2-37" fmla="*/ 5254995 w 6601626"/>
              <a:gd name="connsiteY2-38" fmla="*/ 3352800 h 3352800"/>
              <a:gd name="connsiteX3-39" fmla="*/ 0 w 6601626"/>
              <a:gd name="connsiteY3-40" fmla="*/ 3302000 h 3352800"/>
              <a:gd name="connsiteX0-41" fmla="*/ 0 w 5254995"/>
              <a:gd name="connsiteY0-42" fmla="*/ 3789680 h 3840480"/>
              <a:gd name="connsiteX1-43" fmla="*/ 4193706 w 5254995"/>
              <a:gd name="connsiteY1-44" fmla="*/ 0 h 3840480"/>
              <a:gd name="connsiteX2-45" fmla="*/ 5254995 w 5254995"/>
              <a:gd name="connsiteY2-46" fmla="*/ 3840480 h 3840480"/>
              <a:gd name="connsiteX3-47" fmla="*/ 0 w 5254995"/>
              <a:gd name="connsiteY3-48" fmla="*/ 3789680 h 38404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5254995" h="3840480">
                <a:moveTo>
                  <a:pt x="0" y="3789680"/>
                </a:moveTo>
                <a:lnTo>
                  <a:pt x="4193706" y="0"/>
                </a:lnTo>
                <a:lnTo>
                  <a:pt x="5254995" y="3840480"/>
                </a:lnTo>
                <a:lnTo>
                  <a:pt x="0" y="378968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>
                  <a:lumMod val="95000"/>
                  <a:alpha val="34000"/>
                </a:schemeClr>
              </a:gs>
              <a:gs pos="100000">
                <a:schemeClr val="bg1">
                  <a:lumMod val="95000"/>
                  <a:alpha val="40000"/>
                </a:schemeClr>
              </a:gs>
            </a:gsLst>
            <a:lin ang="16200000" scaled="1"/>
            <a:tileRect/>
          </a:gradFill>
          <a:ln cap="rnd"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等腰三角形 4"/>
          <p:cNvSpPr/>
          <p:nvPr userDrawn="1"/>
        </p:nvSpPr>
        <p:spPr>
          <a:xfrm rot="5616315">
            <a:off x="-2618517" y="3843528"/>
            <a:ext cx="4187580" cy="3660462"/>
          </a:xfrm>
          <a:custGeom>
            <a:avLst/>
            <a:gdLst>
              <a:gd name="connsiteX0" fmla="*/ 0 w 8252195"/>
              <a:gd name="connsiteY0" fmla="*/ 3830320 h 3830320"/>
              <a:gd name="connsiteX1" fmla="*/ 576746 w 8252195"/>
              <a:gd name="connsiteY1" fmla="*/ 0 h 3830320"/>
              <a:gd name="connsiteX2" fmla="*/ 8252195 w 8252195"/>
              <a:gd name="connsiteY2" fmla="*/ 3830320 h 3830320"/>
              <a:gd name="connsiteX3" fmla="*/ 0 w 8252195"/>
              <a:gd name="connsiteY3" fmla="*/ 3830320 h 3830320"/>
              <a:gd name="connsiteX0-1" fmla="*/ 0 w 5966195"/>
              <a:gd name="connsiteY0-2" fmla="*/ 3830320 h 4815840"/>
              <a:gd name="connsiteX1-3" fmla="*/ 576746 w 5966195"/>
              <a:gd name="connsiteY1-4" fmla="*/ 0 h 4815840"/>
              <a:gd name="connsiteX2-5" fmla="*/ 5966195 w 5966195"/>
              <a:gd name="connsiteY2-6" fmla="*/ 4815840 h 4815840"/>
              <a:gd name="connsiteX3-7" fmla="*/ 0 w 5966195"/>
              <a:gd name="connsiteY3-8" fmla="*/ 3830320 h 4815840"/>
              <a:gd name="connsiteX0-9" fmla="*/ 134454 w 5389449"/>
              <a:gd name="connsiteY0-10" fmla="*/ 4765040 h 4815840"/>
              <a:gd name="connsiteX1-11" fmla="*/ 0 w 5389449"/>
              <a:gd name="connsiteY1-12" fmla="*/ 0 h 4815840"/>
              <a:gd name="connsiteX2-13" fmla="*/ 5389449 w 5389449"/>
              <a:gd name="connsiteY2-14" fmla="*/ 4815840 h 4815840"/>
              <a:gd name="connsiteX3-15" fmla="*/ 134454 w 5389449"/>
              <a:gd name="connsiteY3-16" fmla="*/ 4765040 h 4815840"/>
              <a:gd name="connsiteX0-17" fmla="*/ 622134 w 5877129"/>
              <a:gd name="connsiteY0-18" fmla="*/ 4653280 h 4704080"/>
              <a:gd name="connsiteX1-19" fmla="*/ 0 w 5877129"/>
              <a:gd name="connsiteY1-20" fmla="*/ 0 h 4704080"/>
              <a:gd name="connsiteX2-21" fmla="*/ 5877129 w 5877129"/>
              <a:gd name="connsiteY2-22" fmla="*/ 4704080 h 4704080"/>
              <a:gd name="connsiteX3-23" fmla="*/ 622134 w 5877129"/>
              <a:gd name="connsiteY3-24" fmla="*/ 4653280 h 4704080"/>
              <a:gd name="connsiteX0-25" fmla="*/ 0 w 5254995"/>
              <a:gd name="connsiteY0-26" fmla="*/ 3302000 h 3352800"/>
              <a:gd name="connsiteX1-27" fmla="*/ 3279306 w 5254995"/>
              <a:gd name="connsiteY1-28" fmla="*/ 0 h 3352800"/>
              <a:gd name="connsiteX2-29" fmla="*/ 5254995 w 5254995"/>
              <a:gd name="connsiteY2-30" fmla="*/ 3352800 h 3352800"/>
              <a:gd name="connsiteX3-31" fmla="*/ 0 w 5254995"/>
              <a:gd name="connsiteY3-32" fmla="*/ 3302000 h 3352800"/>
              <a:gd name="connsiteX0-33" fmla="*/ 0 w 5254995"/>
              <a:gd name="connsiteY0-34" fmla="*/ 3456344 h 3507144"/>
              <a:gd name="connsiteX1-35" fmla="*/ 697321 w 5254995"/>
              <a:gd name="connsiteY1-36" fmla="*/ 0 h 3507144"/>
              <a:gd name="connsiteX2-37" fmla="*/ 5254995 w 5254995"/>
              <a:gd name="connsiteY2-38" fmla="*/ 3507144 h 3507144"/>
              <a:gd name="connsiteX3-39" fmla="*/ 0 w 5254995"/>
              <a:gd name="connsiteY3-40" fmla="*/ 3456344 h 3507144"/>
              <a:gd name="connsiteX0-41" fmla="*/ 2424442 w 4557674"/>
              <a:gd name="connsiteY0-42" fmla="*/ 3660462 h 3660462"/>
              <a:gd name="connsiteX1-43" fmla="*/ 0 w 4557674"/>
              <a:gd name="connsiteY1-44" fmla="*/ 0 h 3660462"/>
              <a:gd name="connsiteX2-45" fmla="*/ 4557674 w 4557674"/>
              <a:gd name="connsiteY2-46" fmla="*/ 3507144 h 3660462"/>
              <a:gd name="connsiteX3-47" fmla="*/ 2424442 w 4557674"/>
              <a:gd name="connsiteY3-48" fmla="*/ 3660462 h 3660462"/>
              <a:gd name="connsiteX0-49" fmla="*/ 2424442 w 4186490"/>
              <a:gd name="connsiteY0-50" fmla="*/ 3660462 h 3660462"/>
              <a:gd name="connsiteX1-51" fmla="*/ 0 w 4186490"/>
              <a:gd name="connsiteY1-52" fmla="*/ 0 h 3660462"/>
              <a:gd name="connsiteX2-53" fmla="*/ 4186490 w 4186490"/>
              <a:gd name="connsiteY2-54" fmla="*/ 766622 h 3660462"/>
              <a:gd name="connsiteX3-55" fmla="*/ 2424442 w 4186490"/>
              <a:gd name="connsiteY3-56" fmla="*/ 3660462 h 366046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4186490" h="3660462">
                <a:moveTo>
                  <a:pt x="2424442" y="3660462"/>
                </a:moveTo>
                <a:lnTo>
                  <a:pt x="0" y="0"/>
                </a:lnTo>
                <a:lnTo>
                  <a:pt x="4186490" y="766622"/>
                </a:lnTo>
                <a:lnTo>
                  <a:pt x="2424442" y="3660462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>
                  <a:lumMod val="95000"/>
                  <a:alpha val="0"/>
                </a:schemeClr>
              </a:gs>
              <a:gs pos="100000">
                <a:schemeClr val="bg1">
                  <a:lumMod val="95000"/>
                  <a:alpha val="44000"/>
                </a:schemeClr>
              </a:gs>
            </a:gsLst>
            <a:lin ang="16200000" scaled="1"/>
            <a:tileRect/>
          </a:gra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等腰三角形 4"/>
          <p:cNvSpPr/>
          <p:nvPr userDrawn="1"/>
        </p:nvSpPr>
        <p:spPr>
          <a:xfrm rot="2341138">
            <a:off x="10403643" y="2554064"/>
            <a:ext cx="1648839" cy="1834042"/>
          </a:xfrm>
          <a:custGeom>
            <a:avLst/>
            <a:gdLst>
              <a:gd name="connsiteX0" fmla="*/ 0 w 8252195"/>
              <a:gd name="connsiteY0" fmla="*/ 3830320 h 3830320"/>
              <a:gd name="connsiteX1" fmla="*/ 576746 w 8252195"/>
              <a:gd name="connsiteY1" fmla="*/ 0 h 3830320"/>
              <a:gd name="connsiteX2" fmla="*/ 8252195 w 8252195"/>
              <a:gd name="connsiteY2" fmla="*/ 3830320 h 3830320"/>
              <a:gd name="connsiteX3" fmla="*/ 0 w 8252195"/>
              <a:gd name="connsiteY3" fmla="*/ 3830320 h 3830320"/>
              <a:gd name="connsiteX0-1" fmla="*/ 0 w 5966195"/>
              <a:gd name="connsiteY0-2" fmla="*/ 3830320 h 4815840"/>
              <a:gd name="connsiteX1-3" fmla="*/ 576746 w 5966195"/>
              <a:gd name="connsiteY1-4" fmla="*/ 0 h 4815840"/>
              <a:gd name="connsiteX2-5" fmla="*/ 5966195 w 5966195"/>
              <a:gd name="connsiteY2-6" fmla="*/ 4815840 h 4815840"/>
              <a:gd name="connsiteX3-7" fmla="*/ 0 w 5966195"/>
              <a:gd name="connsiteY3-8" fmla="*/ 3830320 h 4815840"/>
              <a:gd name="connsiteX0-9" fmla="*/ 134454 w 5389449"/>
              <a:gd name="connsiteY0-10" fmla="*/ 4765040 h 4815840"/>
              <a:gd name="connsiteX1-11" fmla="*/ 0 w 5389449"/>
              <a:gd name="connsiteY1-12" fmla="*/ 0 h 4815840"/>
              <a:gd name="connsiteX2-13" fmla="*/ 5389449 w 5389449"/>
              <a:gd name="connsiteY2-14" fmla="*/ 4815840 h 4815840"/>
              <a:gd name="connsiteX3-15" fmla="*/ 134454 w 5389449"/>
              <a:gd name="connsiteY3-16" fmla="*/ 4765040 h 4815840"/>
              <a:gd name="connsiteX0-17" fmla="*/ 622134 w 5877129"/>
              <a:gd name="connsiteY0-18" fmla="*/ 4653280 h 4704080"/>
              <a:gd name="connsiteX1-19" fmla="*/ 0 w 5877129"/>
              <a:gd name="connsiteY1-20" fmla="*/ 0 h 4704080"/>
              <a:gd name="connsiteX2-21" fmla="*/ 5877129 w 5877129"/>
              <a:gd name="connsiteY2-22" fmla="*/ 4704080 h 4704080"/>
              <a:gd name="connsiteX3-23" fmla="*/ 622134 w 5877129"/>
              <a:gd name="connsiteY3-24" fmla="*/ 4653280 h 4704080"/>
              <a:gd name="connsiteX0-25" fmla="*/ 0 w 5254995"/>
              <a:gd name="connsiteY0-26" fmla="*/ 3302000 h 3352800"/>
              <a:gd name="connsiteX1-27" fmla="*/ 3279306 w 5254995"/>
              <a:gd name="connsiteY1-28" fmla="*/ 0 h 3352800"/>
              <a:gd name="connsiteX2-29" fmla="*/ 5254995 w 5254995"/>
              <a:gd name="connsiteY2-30" fmla="*/ 3352800 h 3352800"/>
              <a:gd name="connsiteX3-31" fmla="*/ 0 w 5254995"/>
              <a:gd name="connsiteY3-32" fmla="*/ 3302000 h 3352800"/>
              <a:gd name="connsiteX0-33" fmla="*/ 0 w 5254995"/>
              <a:gd name="connsiteY0-34" fmla="*/ 3456344 h 3507144"/>
              <a:gd name="connsiteX1-35" fmla="*/ 697321 w 5254995"/>
              <a:gd name="connsiteY1-36" fmla="*/ 0 h 3507144"/>
              <a:gd name="connsiteX2-37" fmla="*/ 5254995 w 5254995"/>
              <a:gd name="connsiteY2-38" fmla="*/ 3507144 h 3507144"/>
              <a:gd name="connsiteX3-39" fmla="*/ 0 w 5254995"/>
              <a:gd name="connsiteY3-40" fmla="*/ 3456344 h 3507144"/>
              <a:gd name="connsiteX0-41" fmla="*/ 2424442 w 4557674"/>
              <a:gd name="connsiteY0-42" fmla="*/ 3660462 h 3660462"/>
              <a:gd name="connsiteX1-43" fmla="*/ 0 w 4557674"/>
              <a:gd name="connsiteY1-44" fmla="*/ 0 h 3660462"/>
              <a:gd name="connsiteX2-45" fmla="*/ 4557674 w 4557674"/>
              <a:gd name="connsiteY2-46" fmla="*/ 3507144 h 3660462"/>
              <a:gd name="connsiteX3-47" fmla="*/ 2424442 w 4557674"/>
              <a:gd name="connsiteY3-48" fmla="*/ 3660462 h 3660462"/>
              <a:gd name="connsiteX0-49" fmla="*/ 1648410 w 3781642"/>
              <a:gd name="connsiteY0-50" fmla="*/ 1152143 h 1152143"/>
              <a:gd name="connsiteX1-51" fmla="*/ 0 w 3781642"/>
              <a:gd name="connsiteY1-52" fmla="*/ 0 h 1152143"/>
              <a:gd name="connsiteX2-53" fmla="*/ 3781642 w 3781642"/>
              <a:gd name="connsiteY2-54" fmla="*/ 998825 h 1152143"/>
              <a:gd name="connsiteX3-55" fmla="*/ 1648410 w 3781642"/>
              <a:gd name="connsiteY3-56" fmla="*/ 1152143 h 1152143"/>
              <a:gd name="connsiteX0-57" fmla="*/ 1648410 w 2194818"/>
              <a:gd name="connsiteY0-58" fmla="*/ 4447896 h 4447896"/>
              <a:gd name="connsiteX1-59" fmla="*/ 0 w 2194818"/>
              <a:gd name="connsiteY1-60" fmla="*/ 3295753 h 4447896"/>
              <a:gd name="connsiteX2-61" fmla="*/ 2194818 w 2194818"/>
              <a:gd name="connsiteY2-62" fmla="*/ 0 h 4447896"/>
              <a:gd name="connsiteX3-63" fmla="*/ 1648410 w 2194818"/>
              <a:gd name="connsiteY3-64" fmla="*/ 4447896 h 4447896"/>
              <a:gd name="connsiteX0-65" fmla="*/ 1648410 w 1648410"/>
              <a:gd name="connsiteY0-66" fmla="*/ 1152143 h 1834042"/>
              <a:gd name="connsiteX1-67" fmla="*/ 0 w 1648410"/>
              <a:gd name="connsiteY1-68" fmla="*/ 0 h 1834042"/>
              <a:gd name="connsiteX2-69" fmla="*/ 916120 w 1648410"/>
              <a:gd name="connsiteY2-70" fmla="*/ 1834042 h 1834042"/>
              <a:gd name="connsiteX3-71" fmla="*/ 1648410 w 1648410"/>
              <a:gd name="connsiteY3-72" fmla="*/ 1152143 h 183404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1648410" h="1834042">
                <a:moveTo>
                  <a:pt x="1648410" y="1152143"/>
                </a:moveTo>
                <a:lnTo>
                  <a:pt x="0" y="0"/>
                </a:lnTo>
                <a:lnTo>
                  <a:pt x="916120" y="1834042"/>
                </a:lnTo>
                <a:lnTo>
                  <a:pt x="1648410" y="1152143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>
                  <a:lumMod val="95000"/>
                  <a:alpha val="33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等腰三角形 4"/>
          <p:cNvSpPr/>
          <p:nvPr userDrawn="1"/>
        </p:nvSpPr>
        <p:spPr>
          <a:xfrm rot="3639528">
            <a:off x="707168" y="3559577"/>
            <a:ext cx="4187580" cy="3660462"/>
          </a:xfrm>
          <a:custGeom>
            <a:avLst/>
            <a:gdLst>
              <a:gd name="connsiteX0" fmla="*/ 0 w 8252195"/>
              <a:gd name="connsiteY0" fmla="*/ 3830320 h 3830320"/>
              <a:gd name="connsiteX1" fmla="*/ 576746 w 8252195"/>
              <a:gd name="connsiteY1" fmla="*/ 0 h 3830320"/>
              <a:gd name="connsiteX2" fmla="*/ 8252195 w 8252195"/>
              <a:gd name="connsiteY2" fmla="*/ 3830320 h 3830320"/>
              <a:gd name="connsiteX3" fmla="*/ 0 w 8252195"/>
              <a:gd name="connsiteY3" fmla="*/ 3830320 h 3830320"/>
              <a:gd name="connsiteX0-1" fmla="*/ 0 w 5966195"/>
              <a:gd name="connsiteY0-2" fmla="*/ 3830320 h 4815840"/>
              <a:gd name="connsiteX1-3" fmla="*/ 576746 w 5966195"/>
              <a:gd name="connsiteY1-4" fmla="*/ 0 h 4815840"/>
              <a:gd name="connsiteX2-5" fmla="*/ 5966195 w 5966195"/>
              <a:gd name="connsiteY2-6" fmla="*/ 4815840 h 4815840"/>
              <a:gd name="connsiteX3-7" fmla="*/ 0 w 5966195"/>
              <a:gd name="connsiteY3-8" fmla="*/ 3830320 h 4815840"/>
              <a:gd name="connsiteX0-9" fmla="*/ 134454 w 5389449"/>
              <a:gd name="connsiteY0-10" fmla="*/ 4765040 h 4815840"/>
              <a:gd name="connsiteX1-11" fmla="*/ 0 w 5389449"/>
              <a:gd name="connsiteY1-12" fmla="*/ 0 h 4815840"/>
              <a:gd name="connsiteX2-13" fmla="*/ 5389449 w 5389449"/>
              <a:gd name="connsiteY2-14" fmla="*/ 4815840 h 4815840"/>
              <a:gd name="connsiteX3-15" fmla="*/ 134454 w 5389449"/>
              <a:gd name="connsiteY3-16" fmla="*/ 4765040 h 4815840"/>
              <a:gd name="connsiteX0-17" fmla="*/ 622134 w 5877129"/>
              <a:gd name="connsiteY0-18" fmla="*/ 4653280 h 4704080"/>
              <a:gd name="connsiteX1-19" fmla="*/ 0 w 5877129"/>
              <a:gd name="connsiteY1-20" fmla="*/ 0 h 4704080"/>
              <a:gd name="connsiteX2-21" fmla="*/ 5877129 w 5877129"/>
              <a:gd name="connsiteY2-22" fmla="*/ 4704080 h 4704080"/>
              <a:gd name="connsiteX3-23" fmla="*/ 622134 w 5877129"/>
              <a:gd name="connsiteY3-24" fmla="*/ 4653280 h 4704080"/>
              <a:gd name="connsiteX0-25" fmla="*/ 0 w 5254995"/>
              <a:gd name="connsiteY0-26" fmla="*/ 3302000 h 3352800"/>
              <a:gd name="connsiteX1-27" fmla="*/ 3279306 w 5254995"/>
              <a:gd name="connsiteY1-28" fmla="*/ 0 h 3352800"/>
              <a:gd name="connsiteX2-29" fmla="*/ 5254995 w 5254995"/>
              <a:gd name="connsiteY2-30" fmla="*/ 3352800 h 3352800"/>
              <a:gd name="connsiteX3-31" fmla="*/ 0 w 5254995"/>
              <a:gd name="connsiteY3-32" fmla="*/ 3302000 h 3352800"/>
              <a:gd name="connsiteX0-33" fmla="*/ 0 w 5254995"/>
              <a:gd name="connsiteY0-34" fmla="*/ 3456344 h 3507144"/>
              <a:gd name="connsiteX1-35" fmla="*/ 697321 w 5254995"/>
              <a:gd name="connsiteY1-36" fmla="*/ 0 h 3507144"/>
              <a:gd name="connsiteX2-37" fmla="*/ 5254995 w 5254995"/>
              <a:gd name="connsiteY2-38" fmla="*/ 3507144 h 3507144"/>
              <a:gd name="connsiteX3-39" fmla="*/ 0 w 5254995"/>
              <a:gd name="connsiteY3-40" fmla="*/ 3456344 h 3507144"/>
              <a:gd name="connsiteX0-41" fmla="*/ 2424442 w 4557674"/>
              <a:gd name="connsiteY0-42" fmla="*/ 3660462 h 3660462"/>
              <a:gd name="connsiteX1-43" fmla="*/ 0 w 4557674"/>
              <a:gd name="connsiteY1-44" fmla="*/ 0 h 3660462"/>
              <a:gd name="connsiteX2-45" fmla="*/ 4557674 w 4557674"/>
              <a:gd name="connsiteY2-46" fmla="*/ 3507144 h 3660462"/>
              <a:gd name="connsiteX3-47" fmla="*/ 2424442 w 4557674"/>
              <a:gd name="connsiteY3-48" fmla="*/ 3660462 h 3660462"/>
              <a:gd name="connsiteX0-49" fmla="*/ 2424442 w 4186490"/>
              <a:gd name="connsiteY0-50" fmla="*/ 3660462 h 3660462"/>
              <a:gd name="connsiteX1-51" fmla="*/ 0 w 4186490"/>
              <a:gd name="connsiteY1-52" fmla="*/ 0 h 3660462"/>
              <a:gd name="connsiteX2-53" fmla="*/ 4186490 w 4186490"/>
              <a:gd name="connsiteY2-54" fmla="*/ 766622 h 3660462"/>
              <a:gd name="connsiteX3-55" fmla="*/ 2424442 w 4186490"/>
              <a:gd name="connsiteY3-56" fmla="*/ 3660462 h 366046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4186490" h="3660462">
                <a:moveTo>
                  <a:pt x="2424442" y="3660462"/>
                </a:moveTo>
                <a:lnTo>
                  <a:pt x="0" y="0"/>
                </a:lnTo>
                <a:lnTo>
                  <a:pt x="4186490" y="766622"/>
                </a:lnTo>
                <a:lnTo>
                  <a:pt x="2424442" y="3660462"/>
                </a:lnTo>
                <a:close/>
              </a:path>
            </a:pathLst>
          </a:custGeom>
          <a:gradFill flip="none" rotWithShape="0">
            <a:gsLst>
              <a:gs pos="13000">
                <a:schemeClr val="bg1">
                  <a:alpha val="0"/>
                </a:schemeClr>
              </a:gs>
              <a:gs pos="61000">
                <a:schemeClr val="bg1">
                  <a:lumMod val="95000"/>
                  <a:alpha val="33000"/>
                </a:schemeClr>
              </a:gs>
              <a:gs pos="100000">
                <a:schemeClr val="bg1">
                  <a:lumMod val="95000"/>
                  <a:alpha val="29000"/>
                </a:schemeClr>
              </a:gs>
            </a:gsLst>
            <a:lin ang="16200000" scaled="0"/>
            <a:tileRect/>
          </a:gra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B6632-B1E8-4C15-BD74-6385900043E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E53343-C29B-48F0-A626-89175333E8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335" y="4406901"/>
            <a:ext cx="10365899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335" y="2906713"/>
            <a:ext cx="10365899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13012" y="1600201"/>
            <a:ext cx="721759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233862" y="1600201"/>
            <a:ext cx="721759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759" y="274638"/>
            <a:ext cx="10975658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535113"/>
            <a:ext cx="538832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759" y="2174875"/>
            <a:ext cx="53883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4980" y="1535113"/>
            <a:ext cx="53904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4980" y="2174875"/>
            <a:ext cx="539043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759" y="273050"/>
            <a:ext cx="401212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7974" y="273051"/>
            <a:ext cx="681744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759" y="1435101"/>
            <a:ext cx="401212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0340" y="4800600"/>
            <a:ext cx="731710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90340" y="612775"/>
            <a:ext cx="731710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90340" y="5367338"/>
            <a:ext cx="731710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microsoft.com/office/2007/relationships/hdphoto" Target="../media/image2.wdp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8" Type="http://schemas.openxmlformats.org/officeDocument/2006/relationships/tags" Target="../tags/tag3.xml"/><Relationship Id="rId7" Type="http://schemas.openxmlformats.org/officeDocument/2006/relationships/tags" Target="../tags/tag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12" Type="http://schemas.openxmlformats.org/officeDocument/2006/relationships/tags" Target="../tags/tag7.xml"/><Relationship Id="rId11" Type="http://schemas.openxmlformats.org/officeDocument/2006/relationships/tags" Target="../tags/tag6.xml"/><Relationship Id="rId10" Type="http://schemas.openxmlformats.org/officeDocument/2006/relationships/tags" Target="../tags/tag5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9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4638"/>
            <a:ext cx="1097565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201"/>
            <a:ext cx="1097565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6351"/>
            <a:ext cx="28455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A518EE-751A-493E-82A1-3D6BEF00C2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6351"/>
            <a:ext cx="38618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6351"/>
            <a:ext cx="28455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177AA-A7BA-483D-9ED8-AE8A7305EAC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608558" y="608400"/>
            <a:ext cx="10972057" cy="705600"/>
          </a:xfrm>
          <a:prstGeom prst="rect">
            <a:avLst/>
          </a:prstGeom>
        </p:spPr>
        <p:txBody>
          <a:bodyPr vert="horz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608558" y="1490400"/>
            <a:ext cx="10972057" cy="4759200"/>
          </a:xfrm>
          <a:prstGeom prst="rect">
            <a:avLst/>
          </a:prstGeo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612159" y="6314400"/>
            <a:ext cx="2700703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4117072" y="6314400"/>
            <a:ext cx="3961031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8879912" y="6314400"/>
            <a:ext cx="2700703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  <p:custDataLst>
      <p:tags r:id="rId12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3600" b="1" u="none" strike="noStrike" kern="1200" cap="none" spc="300" normalizeH="0" baseline="0">
          <a:solidFill>
            <a:schemeClr val="tx1">
              <a:lumMod val="85000"/>
              <a:lumOff val="15000"/>
            </a:schemeClr>
          </a:solidFill>
          <a:uFillTx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●"/>
        <a:defRPr sz="18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tabLst>
          <a:tab pos="1609725" algn="l"/>
          <a:tab pos="1609725" algn="l"/>
          <a:tab pos="1609725" algn="l"/>
          <a:tab pos="1609725" algn="l"/>
        </a:tabLst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Wingdings" panose="05000000000000000000" charset="0"/>
        <a:buChar char="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8.xml"/><Relationship Id="rId4" Type="http://schemas.openxmlformats.org/officeDocument/2006/relationships/image" Target="../media/image9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.bin"/><Relationship Id="rId1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7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image" Target="../media/image29.jpeg"/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tags" Target="../tags/tag44.xml"/><Relationship Id="rId7" Type="http://schemas.openxmlformats.org/officeDocument/2006/relationships/tags" Target="../tags/tag43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image" Target="../media/image31.png"/><Relationship Id="rId3" Type="http://schemas.openxmlformats.org/officeDocument/2006/relationships/tags" Target="../tags/tag40.xml"/><Relationship Id="rId2" Type="http://schemas.openxmlformats.org/officeDocument/2006/relationships/image" Target="../media/image30.png"/><Relationship Id="rId10" Type="http://schemas.openxmlformats.org/officeDocument/2006/relationships/notesSlide" Target="../notesSlides/notesSlide13.xml"/><Relationship Id="rId1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tags" Target="../tags/tag50.xml"/><Relationship Id="rId7" Type="http://schemas.openxmlformats.org/officeDocument/2006/relationships/tags" Target="../tags/tag49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image" Target="../media/image33.jpeg"/><Relationship Id="rId3" Type="http://schemas.openxmlformats.org/officeDocument/2006/relationships/tags" Target="../tags/tag46.xml"/><Relationship Id="rId2" Type="http://schemas.openxmlformats.org/officeDocument/2006/relationships/image" Target="../media/image32.jpeg"/><Relationship Id="rId10" Type="http://schemas.openxmlformats.org/officeDocument/2006/relationships/notesSlide" Target="../notesSlides/notesSlide14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56.xml"/><Relationship Id="rId8" Type="http://schemas.openxmlformats.org/officeDocument/2006/relationships/image" Target="../media/image36.jpeg"/><Relationship Id="rId7" Type="http://schemas.openxmlformats.org/officeDocument/2006/relationships/tags" Target="../tags/tag55.xml"/><Relationship Id="rId6" Type="http://schemas.openxmlformats.org/officeDocument/2006/relationships/image" Target="../media/image35.jpeg"/><Relationship Id="rId5" Type="http://schemas.openxmlformats.org/officeDocument/2006/relationships/tags" Target="../tags/tag54.xml"/><Relationship Id="rId4" Type="http://schemas.openxmlformats.org/officeDocument/2006/relationships/image" Target="../media/image34.jpeg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4" Type="http://schemas.openxmlformats.org/officeDocument/2006/relationships/notesSlide" Target="../notesSlides/notesSlide15.xml"/><Relationship Id="rId13" Type="http://schemas.openxmlformats.org/officeDocument/2006/relationships/slideLayout" Target="../slideLayouts/slideLayout7.xml"/><Relationship Id="rId12" Type="http://schemas.openxmlformats.org/officeDocument/2006/relationships/tags" Target="../tags/tag58.xml"/><Relationship Id="rId11" Type="http://schemas.openxmlformats.org/officeDocument/2006/relationships/image" Target="../media/image37.jpeg"/><Relationship Id="rId10" Type="http://schemas.openxmlformats.org/officeDocument/2006/relationships/tags" Target="../tags/tag57.xml"/><Relationship Id="rId1" Type="http://schemas.openxmlformats.org/officeDocument/2006/relationships/tags" Target="../tags/tag5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44.jpeg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png"/><Relationship Id="rId3" Type="http://schemas.openxmlformats.org/officeDocument/2006/relationships/image" Target="../media/image40.jpeg"/><Relationship Id="rId2" Type="http://schemas.microsoft.com/office/2007/relationships/hdphoto" Target="../media/image39.wdp"/><Relationship Id="rId1" Type="http://schemas.openxmlformats.org/officeDocument/2006/relationships/image" Target="../media/image38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5.jpeg"/><Relationship Id="rId1" Type="http://schemas.openxmlformats.org/officeDocument/2006/relationships/tags" Target="../tags/tag59.xml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48.jpeg"/><Relationship Id="rId3" Type="http://schemas.microsoft.com/office/2007/relationships/hdphoto" Target="../media/image47.wdp"/><Relationship Id="rId2" Type="http://schemas.openxmlformats.org/officeDocument/2006/relationships/image" Target="../media/image46.jpeg"/><Relationship Id="rId1" Type="http://schemas.openxmlformats.org/officeDocument/2006/relationships/tags" Target="../tags/tag60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8" Type="http://schemas.openxmlformats.org/officeDocument/2006/relationships/tags" Target="../tags/tag16.xml"/><Relationship Id="rId7" Type="http://schemas.openxmlformats.org/officeDocument/2006/relationships/tags" Target="../tags/tag15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tags" Target="../tags/tag11.xml"/><Relationship Id="rId27" Type="http://schemas.openxmlformats.org/officeDocument/2006/relationships/notesSlide" Target="../notesSlides/notesSlide2.xml"/><Relationship Id="rId26" Type="http://schemas.openxmlformats.org/officeDocument/2006/relationships/slideLayout" Target="../slideLayouts/slideLayout7.xml"/><Relationship Id="rId25" Type="http://schemas.openxmlformats.org/officeDocument/2006/relationships/tags" Target="../tags/tag33.xml"/><Relationship Id="rId24" Type="http://schemas.openxmlformats.org/officeDocument/2006/relationships/tags" Target="../tags/tag32.xml"/><Relationship Id="rId23" Type="http://schemas.openxmlformats.org/officeDocument/2006/relationships/tags" Target="../tags/tag31.xml"/><Relationship Id="rId22" Type="http://schemas.openxmlformats.org/officeDocument/2006/relationships/tags" Target="../tags/tag30.xml"/><Relationship Id="rId21" Type="http://schemas.openxmlformats.org/officeDocument/2006/relationships/tags" Target="../tags/tag29.xml"/><Relationship Id="rId20" Type="http://schemas.openxmlformats.org/officeDocument/2006/relationships/tags" Target="../tags/tag28.xml"/><Relationship Id="rId2" Type="http://schemas.openxmlformats.org/officeDocument/2006/relationships/tags" Target="../tags/tag10.xml"/><Relationship Id="rId19" Type="http://schemas.openxmlformats.org/officeDocument/2006/relationships/tags" Target="../tags/tag27.xml"/><Relationship Id="rId18" Type="http://schemas.openxmlformats.org/officeDocument/2006/relationships/tags" Target="../tags/tag26.xml"/><Relationship Id="rId17" Type="http://schemas.openxmlformats.org/officeDocument/2006/relationships/tags" Target="../tags/tag25.xml"/><Relationship Id="rId16" Type="http://schemas.openxmlformats.org/officeDocument/2006/relationships/tags" Target="../tags/tag24.xml"/><Relationship Id="rId15" Type="http://schemas.openxmlformats.org/officeDocument/2006/relationships/tags" Target="../tags/tag23.xml"/><Relationship Id="rId14" Type="http://schemas.openxmlformats.org/officeDocument/2006/relationships/tags" Target="../tags/tag22.xml"/><Relationship Id="rId13" Type="http://schemas.openxmlformats.org/officeDocument/2006/relationships/tags" Target="../tags/tag21.xml"/><Relationship Id="rId12" Type="http://schemas.openxmlformats.org/officeDocument/2006/relationships/tags" Target="../tags/tag20.xml"/><Relationship Id="rId11" Type="http://schemas.openxmlformats.org/officeDocument/2006/relationships/tags" Target="../tags/tag19.xml"/><Relationship Id="rId10" Type="http://schemas.openxmlformats.org/officeDocument/2006/relationships/tags" Target="../tags/tag18.xml"/><Relationship Id="rId1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0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0.jpeg"/><Relationship Id="rId1" Type="http://schemas.openxmlformats.org/officeDocument/2006/relationships/image" Target="../media/image49.jpe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2.jpeg"/><Relationship Id="rId1" Type="http://schemas.openxmlformats.org/officeDocument/2006/relationships/image" Target="../media/image5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3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65.svg"/><Relationship Id="rId7" Type="http://schemas.openxmlformats.org/officeDocument/2006/relationships/image" Target="../media/image64.png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Relationship Id="rId3" Type="http://schemas.openxmlformats.org/officeDocument/2006/relationships/image" Target="../media/image60.png"/><Relationship Id="rId2" Type="http://schemas.openxmlformats.org/officeDocument/2006/relationships/tags" Target="../tags/tag61.xml"/><Relationship Id="rId10" Type="http://schemas.openxmlformats.org/officeDocument/2006/relationships/notesSlide" Target="../notesSlides/notesSlide24.xml"/><Relationship Id="rId1" Type="http://schemas.openxmlformats.org/officeDocument/2006/relationships/image" Target="../media/image59.jpeg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5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69.png"/><Relationship Id="rId4" Type="http://schemas.openxmlformats.org/officeDocument/2006/relationships/tags" Target="../tags/tag62.xml"/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image" Target="../media/image73.png"/><Relationship Id="rId7" Type="http://schemas.openxmlformats.org/officeDocument/2006/relationships/tags" Target="../tags/tag66.xml"/><Relationship Id="rId6" Type="http://schemas.openxmlformats.org/officeDocument/2006/relationships/image" Target="../media/image72.png"/><Relationship Id="rId5" Type="http://schemas.openxmlformats.org/officeDocument/2006/relationships/tags" Target="../tags/tag65.xml"/><Relationship Id="rId4" Type="http://schemas.openxmlformats.org/officeDocument/2006/relationships/image" Target="../media/image71.png"/><Relationship Id="rId3" Type="http://schemas.openxmlformats.org/officeDocument/2006/relationships/tags" Target="../tags/tag64.xml"/><Relationship Id="rId2" Type="http://schemas.openxmlformats.org/officeDocument/2006/relationships/image" Target="../media/image70.png"/><Relationship Id="rId18" Type="http://schemas.openxmlformats.org/officeDocument/2006/relationships/notesSlide" Target="../notesSlides/notesSlide26.xml"/><Relationship Id="rId17" Type="http://schemas.openxmlformats.org/officeDocument/2006/relationships/slideLayout" Target="../slideLayouts/slideLayout7.xml"/><Relationship Id="rId16" Type="http://schemas.openxmlformats.org/officeDocument/2006/relationships/tags" Target="../tags/tag74.xml"/><Relationship Id="rId15" Type="http://schemas.openxmlformats.org/officeDocument/2006/relationships/tags" Target="../tags/tag73.xml"/><Relationship Id="rId14" Type="http://schemas.openxmlformats.org/officeDocument/2006/relationships/tags" Target="../tags/tag72.xml"/><Relationship Id="rId13" Type="http://schemas.openxmlformats.org/officeDocument/2006/relationships/tags" Target="../tags/tag71.xml"/><Relationship Id="rId12" Type="http://schemas.openxmlformats.org/officeDocument/2006/relationships/tags" Target="../tags/tag70.xml"/><Relationship Id="rId11" Type="http://schemas.openxmlformats.org/officeDocument/2006/relationships/tags" Target="../tags/tag69.xml"/><Relationship Id="rId10" Type="http://schemas.openxmlformats.org/officeDocument/2006/relationships/tags" Target="../tags/tag68.xml"/><Relationship Id="rId1" Type="http://schemas.openxmlformats.org/officeDocument/2006/relationships/tags" Target="../tags/tag63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tags" Target="../tags/tag79.xml"/><Relationship Id="rId8" Type="http://schemas.openxmlformats.org/officeDocument/2006/relationships/image" Target="../media/image77.png"/><Relationship Id="rId7" Type="http://schemas.openxmlformats.org/officeDocument/2006/relationships/tags" Target="../tags/tag78.xml"/><Relationship Id="rId6" Type="http://schemas.openxmlformats.org/officeDocument/2006/relationships/image" Target="../media/image76.png"/><Relationship Id="rId5" Type="http://schemas.openxmlformats.org/officeDocument/2006/relationships/tags" Target="../tags/tag77.xml"/><Relationship Id="rId4" Type="http://schemas.openxmlformats.org/officeDocument/2006/relationships/image" Target="../media/image75.png"/><Relationship Id="rId3" Type="http://schemas.openxmlformats.org/officeDocument/2006/relationships/tags" Target="../tags/tag76.xml"/><Relationship Id="rId2" Type="http://schemas.openxmlformats.org/officeDocument/2006/relationships/image" Target="../media/image74.png"/><Relationship Id="rId18" Type="http://schemas.openxmlformats.org/officeDocument/2006/relationships/notesSlide" Target="../notesSlides/notesSlide27.xml"/><Relationship Id="rId17" Type="http://schemas.openxmlformats.org/officeDocument/2006/relationships/slideLayout" Target="../slideLayouts/slideLayout7.xml"/><Relationship Id="rId16" Type="http://schemas.openxmlformats.org/officeDocument/2006/relationships/tags" Target="../tags/tag86.xml"/><Relationship Id="rId15" Type="http://schemas.openxmlformats.org/officeDocument/2006/relationships/tags" Target="../tags/tag85.xml"/><Relationship Id="rId14" Type="http://schemas.openxmlformats.org/officeDocument/2006/relationships/tags" Target="../tags/tag84.xml"/><Relationship Id="rId13" Type="http://schemas.openxmlformats.org/officeDocument/2006/relationships/tags" Target="../tags/tag83.xml"/><Relationship Id="rId12" Type="http://schemas.openxmlformats.org/officeDocument/2006/relationships/tags" Target="../tags/tag82.xml"/><Relationship Id="rId11" Type="http://schemas.openxmlformats.org/officeDocument/2006/relationships/tags" Target="../tags/tag81.xml"/><Relationship Id="rId10" Type="http://schemas.openxmlformats.org/officeDocument/2006/relationships/tags" Target="../tags/tag80.xml"/><Relationship Id="rId1" Type="http://schemas.openxmlformats.org/officeDocument/2006/relationships/tags" Target="../tags/tag7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95.xml"/><Relationship Id="rId8" Type="http://schemas.openxmlformats.org/officeDocument/2006/relationships/tags" Target="../tags/tag94.xml"/><Relationship Id="rId7" Type="http://schemas.openxmlformats.org/officeDocument/2006/relationships/tags" Target="../tags/tag93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6" Type="http://schemas.openxmlformats.org/officeDocument/2006/relationships/notesSlide" Target="../notesSlides/notesSlide29.xml"/><Relationship Id="rId15" Type="http://schemas.openxmlformats.org/officeDocument/2006/relationships/slideLayout" Target="../slideLayouts/slideLayout7.xml"/><Relationship Id="rId14" Type="http://schemas.openxmlformats.org/officeDocument/2006/relationships/tags" Target="../tags/tag100.xml"/><Relationship Id="rId13" Type="http://schemas.openxmlformats.org/officeDocument/2006/relationships/tags" Target="../tags/tag99.xml"/><Relationship Id="rId12" Type="http://schemas.openxmlformats.org/officeDocument/2006/relationships/tags" Target="../tags/tag98.xml"/><Relationship Id="rId11" Type="http://schemas.openxmlformats.org/officeDocument/2006/relationships/tags" Target="../tags/tag97.xml"/><Relationship Id="rId10" Type="http://schemas.openxmlformats.org/officeDocument/2006/relationships/tags" Target="../tags/tag96.xml"/><Relationship Id="rId1" Type="http://schemas.openxmlformats.org/officeDocument/2006/relationships/tags" Target="../tags/tag8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tags" Target="../tags/tag109.xml"/><Relationship Id="rId8" Type="http://schemas.openxmlformats.org/officeDocument/2006/relationships/tags" Target="../tags/tag108.xml"/><Relationship Id="rId7" Type="http://schemas.openxmlformats.org/officeDocument/2006/relationships/tags" Target="../tags/tag107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2" Type="http://schemas.openxmlformats.org/officeDocument/2006/relationships/notesSlide" Target="../notesSlides/notesSlide30.xml"/><Relationship Id="rId11" Type="http://schemas.openxmlformats.org/officeDocument/2006/relationships/slideLayout" Target="../slideLayouts/slideLayout7.xml"/><Relationship Id="rId10" Type="http://schemas.openxmlformats.org/officeDocument/2006/relationships/tags" Target="../tags/tag110.xml"/><Relationship Id="rId1" Type="http://schemas.openxmlformats.org/officeDocument/2006/relationships/tags" Target="../tags/tag101.xml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tags" Target="../tags/tag117.xml"/><Relationship Id="rId8" Type="http://schemas.openxmlformats.org/officeDocument/2006/relationships/tags" Target="../tags/tag116.xml"/><Relationship Id="rId7" Type="http://schemas.openxmlformats.org/officeDocument/2006/relationships/tags" Target="../tags/tag115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image" Target="../media/image79.png"/><Relationship Id="rId3" Type="http://schemas.openxmlformats.org/officeDocument/2006/relationships/tags" Target="../tags/tag112.xml"/><Relationship Id="rId22" Type="http://schemas.openxmlformats.org/officeDocument/2006/relationships/notesSlide" Target="../notesSlides/notesSlide31.xml"/><Relationship Id="rId21" Type="http://schemas.openxmlformats.org/officeDocument/2006/relationships/slideLayout" Target="../slideLayouts/slideLayout7.xml"/><Relationship Id="rId20" Type="http://schemas.openxmlformats.org/officeDocument/2006/relationships/tags" Target="../tags/tag128.xml"/><Relationship Id="rId2" Type="http://schemas.openxmlformats.org/officeDocument/2006/relationships/image" Target="../media/image78.png"/><Relationship Id="rId19" Type="http://schemas.openxmlformats.org/officeDocument/2006/relationships/tags" Target="../tags/tag127.xml"/><Relationship Id="rId18" Type="http://schemas.openxmlformats.org/officeDocument/2006/relationships/tags" Target="../tags/tag126.xml"/><Relationship Id="rId17" Type="http://schemas.openxmlformats.org/officeDocument/2006/relationships/tags" Target="../tags/tag125.xml"/><Relationship Id="rId16" Type="http://schemas.openxmlformats.org/officeDocument/2006/relationships/tags" Target="../tags/tag124.xml"/><Relationship Id="rId15" Type="http://schemas.openxmlformats.org/officeDocument/2006/relationships/tags" Target="../tags/tag123.xml"/><Relationship Id="rId14" Type="http://schemas.openxmlformats.org/officeDocument/2006/relationships/tags" Target="../tags/tag122.xml"/><Relationship Id="rId13" Type="http://schemas.openxmlformats.org/officeDocument/2006/relationships/tags" Target="../tags/tag121.xml"/><Relationship Id="rId12" Type="http://schemas.openxmlformats.org/officeDocument/2006/relationships/tags" Target="../tags/tag120.xml"/><Relationship Id="rId11" Type="http://schemas.openxmlformats.org/officeDocument/2006/relationships/tags" Target="../tags/tag119.xml"/><Relationship Id="rId10" Type="http://schemas.openxmlformats.org/officeDocument/2006/relationships/tags" Target="../tags/tag118.xml"/><Relationship Id="rId1" Type="http://schemas.openxmlformats.org/officeDocument/2006/relationships/tags" Target="../tags/tag111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2.x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81.png"/><Relationship Id="rId3" Type="http://schemas.openxmlformats.org/officeDocument/2006/relationships/tags" Target="../tags/tag130.xml"/><Relationship Id="rId2" Type="http://schemas.openxmlformats.org/officeDocument/2006/relationships/image" Target="../media/image80.png"/><Relationship Id="rId1" Type="http://schemas.openxmlformats.org/officeDocument/2006/relationships/tags" Target="../tags/tag129.xml"/></Relationships>
</file>

<file path=ppt/slides/_rels/slide33.xml.rels><?xml version="1.0" encoding="UTF-8" standalone="yes"?>
<Relationships xmlns="http://schemas.openxmlformats.org/package/2006/relationships"><Relationship Id="rId9" Type="http://schemas.openxmlformats.org/officeDocument/2006/relationships/tags" Target="../tags/tag134.xml"/><Relationship Id="rId8" Type="http://schemas.openxmlformats.org/officeDocument/2006/relationships/image" Target="../media/image86.png"/><Relationship Id="rId7" Type="http://schemas.openxmlformats.org/officeDocument/2006/relationships/tags" Target="../tags/tag133.xml"/><Relationship Id="rId6" Type="http://schemas.openxmlformats.org/officeDocument/2006/relationships/image" Target="../media/image85.png"/><Relationship Id="rId5" Type="http://schemas.openxmlformats.org/officeDocument/2006/relationships/tags" Target="../tags/tag132.xml"/><Relationship Id="rId4" Type="http://schemas.openxmlformats.org/officeDocument/2006/relationships/image" Target="../media/image84.png"/><Relationship Id="rId3" Type="http://schemas.openxmlformats.org/officeDocument/2006/relationships/tags" Target="../tags/tag131.xml"/><Relationship Id="rId2" Type="http://schemas.openxmlformats.org/officeDocument/2006/relationships/image" Target="../media/image83.png"/><Relationship Id="rId12" Type="http://schemas.openxmlformats.org/officeDocument/2006/relationships/notesSlide" Target="../notesSlides/notesSlide33.xml"/><Relationship Id="rId11" Type="http://schemas.openxmlformats.org/officeDocument/2006/relationships/slideLayout" Target="../slideLayouts/slideLayout7.xml"/><Relationship Id="rId10" Type="http://schemas.openxmlformats.org/officeDocument/2006/relationships/image" Target="../media/image87.png"/><Relationship Id="rId1" Type="http://schemas.openxmlformats.org/officeDocument/2006/relationships/image" Target="../media/image82.png"/></Relationships>
</file>

<file path=ppt/slides/_rels/slide3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8.jpeg"/><Relationship Id="rId1" Type="http://schemas.openxmlformats.org/officeDocument/2006/relationships/tags" Target="../tags/tag135.xml"/></Relationships>
</file>

<file path=ppt/slides/_rels/slide35.xml.rels><?xml version="1.0" encoding="UTF-8" standalone="yes"?>
<Relationships xmlns="http://schemas.openxmlformats.org/package/2006/relationships"><Relationship Id="rId9" Type="http://schemas.openxmlformats.org/officeDocument/2006/relationships/tags" Target="../tags/tag140.xml"/><Relationship Id="rId8" Type="http://schemas.openxmlformats.org/officeDocument/2006/relationships/tags" Target="../tags/tag139.xml"/><Relationship Id="rId7" Type="http://schemas.openxmlformats.org/officeDocument/2006/relationships/image" Target="../media/image92.png"/><Relationship Id="rId6" Type="http://schemas.openxmlformats.org/officeDocument/2006/relationships/tags" Target="../tags/tag138.xml"/><Relationship Id="rId5" Type="http://schemas.openxmlformats.org/officeDocument/2006/relationships/image" Target="../media/image91.png"/><Relationship Id="rId4" Type="http://schemas.openxmlformats.org/officeDocument/2006/relationships/tags" Target="../tags/tag137.xml"/><Relationship Id="rId3" Type="http://schemas.openxmlformats.org/officeDocument/2006/relationships/image" Target="../media/image90.png"/><Relationship Id="rId2" Type="http://schemas.openxmlformats.org/officeDocument/2006/relationships/tags" Target="../tags/tag136.xml"/><Relationship Id="rId14" Type="http://schemas.openxmlformats.org/officeDocument/2006/relationships/notesSlide" Target="../notesSlides/notesSlide35.xml"/><Relationship Id="rId13" Type="http://schemas.openxmlformats.org/officeDocument/2006/relationships/slideLayout" Target="../slideLayouts/slideLayout7.xml"/><Relationship Id="rId12" Type="http://schemas.openxmlformats.org/officeDocument/2006/relationships/image" Target="../media/image93.png"/><Relationship Id="rId11" Type="http://schemas.openxmlformats.org/officeDocument/2006/relationships/tags" Target="../tags/tag142.xml"/><Relationship Id="rId10" Type="http://schemas.openxmlformats.org/officeDocument/2006/relationships/tags" Target="../tags/tag141.xml"/><Relationship Id="rId1" Type="http://schemas.openxmlformats.org/officeDocument/2006/relationships/image" Target="../media/image89.png"/></Relationships>
</file>

<file path=ppt/slides/_rels/slide3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96.jpeg"/><Relationship Id="rId2" Type="http://schemas.openxmlformats.org/officeDocument/2006/relationships/image" Target="../media/image95.jpeg"/><Relationship Id="rId1" Type="http://schemas.openxmlformats.org/officeDocument/2006/relationships/image" Target="../media/image94.jpeg"/></Relationships>
</file>

<file path=ppt/slides/_rels/slide3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99.jpeg"/><Relationship Id="rId2" Type="http://schemas.openxmlformats.org/officeDocument/2006/relationships/image" Target="../media/image98.jpeg"/><Relationship Id="rId1" Type="http://schemas.openxmlformats.org/officeDocument/2006/relationships/image" Target="../media/image97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9" Type="http://schemas.openxmlformats.org/officeDocument/2006/relationships/tags" Target="../tags/tag151.xml"/><Relationship Id="rId8" Type="http://schemas.openxmlformats.org/officeDocument/2006/relationships/tags" Target="../tags/tag150.xml"/><Relationship Id="rId7" Type="http://schemas.openxmlformats.org/officeDocument/2006/relationships/tags" Target="../tags/tag149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7" Type="http://schemas.openxmlformats.org/officeDocument/2006/relationships/notesSlide" Target="../notesSlides/notesSlide39.xml"/><Relationship Id="rId16" Type="http://schemas.openxmlformats.org/officeDocument/2006/relationships/slideLayout" Target="../slideLayouts/slideLayout7.xml"/><Relationship Id="rId15" Type="http://schemas.openxmlformats.org/officeDocument/2006/relationships/tags" Target="../tags/tag157.xml"/><Relationship Id="rId14" Type="http://schemas.openxmlformats.org/officeDocument/2006/relationships/tags" Target="../tags/tag156.xml"/><Relationship Id="rId13" Type="http://schemas.openxmlformats.org/officeDocument/2006/relationships/tags" Target="../tags/tag155.xml"/><Relationship Id="rId12" Type="http://schemas.openxmlformats.org/officeDocument/2006/relationships/tags" Target="../tags/tag154.xml"/><Relationship Id="rId11" Type="http://schemas.openxmlformats.org/officeDocument/2006/relationships/tags" Target="../tags/tag153.xml"/><Relationship Id="rId10" Type="http://schemas.openxmlformats.org/officeDocument/2006/relationships/tags" Target="../tags/tag152.xml"/><Relationship Id="rId1" Type="http://schemas.openxmlformats.org/officeDocument/2006/relationships/tags" Target="../tags/tag143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7.xml"/><Relationship Id="rId2" Type="http://schemas.microsoft.com/office/2007/relationships/hdphoto" Target="../media/image11.wdp"/><Relationship Id="rId1" Type="http://schemas.openxmlformats.org/officeDocument/2006/relationships/image" Target="../media/image10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00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01.png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tags" Target="../tags/tag166.xml"/><Relationship Id="rId8" Type="http://schemas.openxmlformats.org/officeDocument/2006/relationships/tags" Target="../tags/tag165.xml"/><Relationship Id="rId7" Type="http://schemas.openxmlformats.org/officeDocument/2006/relationships/tags" Target="../tags/tag164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4" Type="http://schemas.openxmlformats.org/officeDocument/2006/relationships/notesSlide" Target="../notesSlides/notesSlide42.xml"/><Relationship Id="rId43" Type="http://schemas.openxmlformats.org/officeDocument/2006/relationships/slideLayout" Target="../slideLayouts/slideLayout7.xml"/><Relationship Id="rId42" Type="http://schemas.openxmlformats.org/officeDocument/2006/relationships/image" Target="../media/image118.jpeg"/><Relationship Id="rId41" Type="http://schemas.openxmlformats.org/officeDocument/2006/relationships/image" Target="../media/image117.jpeg"/><Relationship Id="rId40" Type="http://schemas.openxmlformats.org/officeDocument/2006/relationships/image" Target="../media/image116.png"/><Relationship Id="rId4" Type="http://schemas.openxmlformats.org/officeDocument/2006/relationships/tags" Target="../tags/tag161.xml"/><Relationship Id="rId39" Type="http://schemas.openxmlformats.org/officeDocument/2006/relationships/image" Target="../media/image115.png"/><Relationship Id="rId38" Type="http://schemas.openxmlformats.org/officeDocument/2006/relationships/image" Target="../media/image114.png"/><Relationship Id="rId37" Type="http://schemas.openxmlformats.org/officeDocument/2006/relationships/image" Target="../media/image113.png"/><Relationship Id="rId36" Type="http://schemas.openxmlformats.org/officeDocument/2006/relationships/image" Target="../media/image112.svg"/><Relationship Id="rId35" Type="http://schemas.openxmlformats.org/officeDocument/2006/relationships/image" Target="../media/image111.png"/><Relationship Id="rId34" Type="http://schemas.openxmlformats.org/officeDocument/2006/relationships/image" Target="../media/image110.svg"/><Relationship Id="rId33" Type="http://schemas.openxmlformats.org/officeDocument/2006/relationships/image" Target="../media/image109.png"/><Relationship Id="rId32" Type="http://schemas.openxmlformats.org/officeDocument/2006/relationships/image" Target="../media/image108.svg"/><Relationship Id="rId31" Type="http://schemas.openxmlformats.org/officeDocument/2006/relationships/image" Target="../media/image107.png"/><Relationship Id="rId30" Type="http://schemas.openxmlformats.org/officeDocument/2006/relationships/image" Target="../media/image106.svg"/><Relationship Id="rId3" Type="http://schemas.openxmlformats.org/officeDocument/2006/relationships/tags" Target="../tags/tag160.xml"/><Relationship Id="rId29" Type="http://schemas.openxmlformats.org/officeDocument/2006/relationships/image" Target="../media/image105.png"/><Relationship Id="rId28" Type="http://schemas.openxmlformats.org/officeDocument/2006/relationships/image" Target="../media/image104.svg"/><Relationship Id="rId27" Type="http://schemas.openxmlformats.org/officeDocument/2006/relationships/image" Target="../media/image103.png"/><Relationship Id="rId26" Type="http://schemas.openxmlformats.org/officeDocument/2006/relationships/image" Target="../media/image102.png"/><Relationship Id="rId25" Type="http://schemas.openxmlformats.org/officeDocument/2006/relationships/tags" Target="../tags/tag182.xml"/><Relationship Id="rId24" Type="http://schemas.openxmlformats.org/officeDocument/2006/relationships/tags" Target="../tags/tag181.xml"/><Relationship Id="rId23" Type="http://schemas.openxmlformats.org/officeDocument/2006/relationships/tags" Target="../tags/tag180.xml"/><Relationship Id="rId22" Type="http://schemas.openxmlformats.org/officeDocument/2006/relationships/tags" Target="../tags/tag179.xml"/><Relationship Id="rId21" Type="http://schemas.openxmlformats.org/officeDocument/2006/relationships/tags" Target="../tags/tag178.xml"/><Relationship Id="rId20" Type="http://schemas.openxmlformats.org/officeDocument/2006/relationships/tags" Target="../tags/tag177.xml"/><Relationship Id="rId2" Type="http://schemas.openxmlformats.org/officeDocument/2006/relationships/tags" Target="../tags/tag159.xml"/><Relationship Id="rId19" Type="http://schemas.openxmlformats.org/officeDocument/2006/relationships/tags" Target="../tags/tag176.xml"/><Relationship Id="rId18" Type="http://schemas.openxmlformats.org/officeDocument/2006/relationships/tags" Target="../tags/tag175.xml"/><Relationship Id="rId17" Type="http://schemas.openxmlformats.org/officeDocument/2006/relationships/tags" Target="../tags/tag174.xml"/><Relationship Id="rId16" Type="http://schemas.openxmlformats.org/officeDocument/2006/relationships/tags" Target="../tags/tag173.xml"/><Relationship Id="rId15" Type="http://schemas.openxmlformats.org/officeDocument/2006/relationships/tags" Target="../tags/tag172.xml"/><Relationship Id="rId14" Type="http://schemas.openxmlformats.org/officeDocument/2006/relationships/tags" Target="../tags/tag171.xml"/><Relationship Id="rId13" Type="http://schemas.openxmlformats.org/officeDocument/2006/relationships/tags" Target="../tags/tag170.xml"/><Relationship Id="rId12" Type="http://schemas.openxmlformats.org/officeDocument/2006/relationships/tags" Target="../tags/tag169.xml"/><Relationship Id="rId11" Type="http://schemas.openxmlformats.org/officeDocument/2006/relationships/tags" Target="../tags/tag168.xml"/><Relationship Id="rId10" Type="http://schemas.openxmlformats.org/officeDocument/2006/relationships/tags" Target="../tags/tag167.xml"/><Relationship Id="rId1" Type="http://schemas.openxmlformats.org/officeDocument/2006/relationships/tags" Target="../tags/tag158.xml"/></Relationships>
</file>

<file path=ppt/slides/_rels/slide4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3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21.png"/><Relationship Id="rId4" Type="http://schemas.openxmlformats.org/officeDocument/2006/relationships/image" Target="../media/image82.png"/><Relationship Id="rId3" Type="http://schemas.openxmlformats.org/officeDocument/2006/relationships/image" Target="../media/image120.png"/><Relationship Id="rId2" Type="http://schemas.openxmlformats.org/officeDocument/2006/relationships/image" Target="../media/image9.png"/><Relationship Id="rId1" Type="http://schemas.openxmlformats.org/officeDocument/2006/relationships/image" Target="../media/image1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slideLayout" Target="../slideLayouts/slideLayout7.xml"/><Relationship Id="rId6" Type="http://schemas.microsoft.com/office/2007/relationships/hdphoto" Target="../media/image18.wdp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3" Type="http://schemas.openxmlformats.org/officeDocument/2006/relationships/image" Target="../media/image15.jpeg"/><Relationship Id="rId2" Type="http://schemas.microsoft.com/office/2007/relationships/hdphoto" Target="../media/image14.wdp"/><Relationship Id="rId1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6.jpeg"/><Relationship Id="rId1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 descr="城市的风景&#10;&#10;描述已自动生成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63" r="1" b="1"/>
          <a:stretch>
            <a:fillRect/>
          </a:stretch>
        </p:blipFill>
        <p:spPr>
          <a:xfrm>
            <a:off x="-46292" y="-1828231"/>
            <a:ext cx="12281317" cy="8413053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-94965" y="59378"/>
            <a:ext cx="12512842" cy="9214121"/>
            <a:chOff x="-125128" y="-80422"/>
            <a:chExt cx="12512842" cy="9214121"/>
          </a:xfrm>
          <a:solidFill>
            <a:schemeClr val="bg1"/>
          </a:solidFill>
        </p:grpSpPr>
        <p:sp>
          <p:nvSpPr>
            <p:cNvPr id="6" name="波形 5"/>
            <p:cNvSpPr/>
            <p:nvPr/>
          </p:nvSpPr>
          <p:spPr>
            <a:xfrm flipV="1">
              <a:off x="-125128" y="3505208"/>
              <a:ext cx="12512842" cy="5628491"/>
            </a:xfrm>
            <a:prstGeom prst="wave">
              <a:avLst>
                <a:gd name="adj1" fmla="val 3524"/>
                <a:gd name="adj2" fmla="val 20"/>
              </a:avLst>
            </a:prstGeom>
            <a:grpFill/>
            <a:ln w="124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zh-CN" altLang="en-US" dirty="0"/>
            </a:p>
          </p:txBody>
        </p:sp>
        <p:grpSp>
          <p:nvGrpSpPr>
            <p:cNvPr id="4" name="组合 3"/>
            <p:cNvGrpSpPr/>
            <p:nvPr/>
          </p:nvGrpSpPr>
          <p:grpSpPr>
            <a:xfrm>
              <a:off x="760186" y="-80422"/>
              <a:ext cx="10537373" cy="5016489"/>
              <a:chOff x="760186" y="-80422"/>
              <a:chExt cx="10537373" cy="5016489"/>
            </a:xfrm>
            <a:grpFill/>
          </p:grpSpPr>
          <p:sp>
            <p:nvSpPr>
              <p:cNvPr id="7" name="矩形 6"/>
              <p:cNvSpPr/>
              <p:nvPr/>
            </p:nvSpPr>
            <p:spPr>
              <a:xfrm>
                <a:off x="1926292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3092398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4258504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19" name="矩形 18"/>
              <p:cNvSpPr/>
              <p:nvPr/>
            </p:nvSpPr>
            <p:spPr>
              <a:xfrm>
                <a:off x="5424610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6590715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7756821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22" name="矩形 21"/>
              <p:cNvSpPr/>
              <p:nvPr/>
            </p:nvSpPr>
            <p:spPr>
              <a:xfrm>
                <a:off x="8922927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10089032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11255138" y="-57756"/>
                <a:ext cx="42421" cy="4498861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  <p:sp>
            <p:nvSpPr>
              <p:cNvPr id="5" name="矩形 4"/>
              <p:cNvSpPr/>
              <p:nvPr/>
            </p:nvSpPr>
            <p:spPr>
              <a:xfrm>
                <a:off x="760186" y="-80422"/>
                <a:ext cx="53034" cy="5016489"/>
              </a:xfrm>
              <a:prstGeom prst="rect">
                <a:avLst/>
              </a:prstGeom>
              <a:grpFill/>
              <a:ln w="124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l"/>
                <a:endParaRPr lang="zh-CN" altLang="en-US" dirty="0"/>
              </a:p>
            </p:txBody>
          </p:sp>
        </p:grpSp>
      </p:grpSp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/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408752" y="4562161"/>
            <a:ext cx="11682095" cy="1933575"/>
            <a:chOff x="254130" y="4474461"/>
            <a:chExt cx="11682095" cy="1933575"/>
          </a:xfrm>
        </p:grpSpPr>
        <p:sp>
          <p:nvSpPr>
            <p:cNvPr id="30" name="文本框 29"/>
            <p:cNvSpPr txBox="1"/>
            <p:nvPr/>
          </p:nvSpPr>
          <p:spPr>
            <a:xfrm>
              <a:off x="254130" y="4474461"/>
              <a:ext cx="11682095" cy="1106805"/>
            </a:xfrm>
            <a:prstGeom prst="rect">
              <a:avLst/>
            </a:prstGeom>
            <a:noFill/>
            <a:effectLst>
              <a:glow rad="533400">
                <a:schemeClr val="accent1">
                  <a:alpha val="40000"/>
                </a:schemeClr>
              </a:glow>
            </a:effectLst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6600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汉仪雪君体简" panose="02010600000101010101" charset="-122"/>
                  <a:ea typeface="汉仪雪君体简" panose="02010600000101010101" charset="-122"/>
                </a:rPr>
                <a:t>尼日利亚广东经济贸易合作区</a:t>
              </a:r>
              <a:endParaRPr lang="zh-CN" altLang="en-US" sz="66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汉仪雪君体简" panose="02010600000101010101" charset="-122"/>
                <a:ea typeface="汉仪雪君体简" panose="02010600000101010101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470030" y="5501717"/>
              <a:ext cx="10657205" cy="0"/>
            </a:xfrm>
            <a:prstGeom prst="line">
              <a:avLst/>
            </a:prstGeom>
            <a:ln w="31750">
              <a:gradFill>
                <a:gsLst>
                  <a:gs pos="0">
                    <a:schemeClr val="accent1">
                      <a:hueOff val="-4200000"/>
                    </a:schemeClr>
                  </a:gs>
                  <a:gs pos="100000">
                    <a:schemeClr val="accent1"/>
                  </a:gs>
                </a:gsLst>
              </a:gradFill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sp>
          <p:nvSpPr>
            <p:cNvPr id="9" name="流程图: 可选过程 8"/>
            <p:cNvSpPr/>
            <p:nvPr/>
          </p:nvSpPr>
          <p:spPr>
            <a:xfrm>
              <a:off x="1959740" y="5999096"/>
              <a:ext cx="2997835" cy="408940"/>
            </a:xfrm>
            <a:prstGeom prst="flowChartAlternateProcess">
              <a:avLst/>
            </a:prstGeom>
            <a:noFill/>
            <a:ln w="1240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zh-CN" altLang="en-US" sz="2000" dirty="0">
                  <a:solidFill>
                    <a:srgbClr val="FFC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助力非洲，绿色崛起</a:t>
              </a:r>
              <a:endParaRPr lang="zh-CN" altLang="en-US" sz="20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8547139" y="6319453"/>
            <a:ext cx="2752008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zh-CN" altLang="en-US" sz="1600" dirty="0">
              <a:solidFill>
                <a:srgbClr val="72B549"/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696595" y="4035425"/>
            <a:ext cx="10276840" cy="527050"/>
          </a:xfrm>
          <a:prstGeom prst="rect">
            <a:avLst/>
          </a:prstGeom>
          <a:noFill/>
          <a:effectLst/>
        </p:spPr>
        <p:txBody>
          <a:bodyPr wrap="square" rtlCol="0">
            <a:no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just"/>
            <a:r>
              <a:rPr lang="en-US" altLang="zh-CN" sz="360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小标宋_GBK" panose="02000000000000000000" charset="-122"/>
                <a:ea typeface="方正小标宋_GBK" panose="02000000000000000000" charset="-122"/>
              </a:rPr>
              <a:t>2025</a:t>
            </a:r>
            <a:r>
              <a:rPr lang="zh-CN" altLang="en-US" sz="360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小标宋_GBK" panose="02000000000000000000" charset="-122"/>
                <a:ea typeface="方正小标宋_GBK" panose="02000000000000000000" charset="-122"/>
              </a:rPr>
              <a:t>全国商会与境外园区产业协作对接交流活动</a:t>
            </a:r>
            <a:endParaRPr lang="zh-CN" altLang="en-US" sz="3800">
              <a:solidFill>
                <a:srgbClr val="0070C0"/>
              </a:solidFill>
              <a:latin typeface="方正小标宋_GBK" panose="02000000000000000000" charset="-122"/>
              <a:ea typeface="方正小标宋_GBK" panose="02000000000000000000" charset="-122"/>
            </a:endParaRPr>
          </a:p>
          <a:p>
            <a:pPr algn="r"/>
            <a:endParaRPr lang="zh-CN" altLang="en-US" sz="3800">
              <a:solidFill>
                <a:srgbClr val="0070C0"/>
              </a:solidFill>
              <a:latin typeface="方正小标宋_GBK" panose="02000000000000000000" charset="-122"/>
              <a:ea typeface="方正小标宋_GBK" panose="02000000000000000000" charset="-122"/>
            </a:endParaRPr>
          </a:p>
        </p:txBody>
      </p:sp>
      <p:pic>
        <p:nvPicPr>
          <p:cNvPr id="2" name="图片 1" descr="logo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913" y="5805170"/>
            <a:ext cx="1417320" cy="739775"/>
          </a:xfrm>
          <a:prstGeom prst="rect">
            <a:avLst/>
          </a:prstGeom>
          <a:noFill/>
          <a:ln w="9525">
            <a:noFill/>
          </a:ln>
          <a:effectLst/>
        </p:spPr>
      </p:pic>
      <p:sp>
        <p:nvSpPr>
          <p:cNvPr id="12" name="文本框 11"/>
          <p:cNvSpPr txBox="1"/>
          <p:nvPr/>
        </p:nvSpPr>
        <p:spPr>
          <a:xfrm>
            <a:off x="5906770" y="6021070"/>
            <a:ext cx="537464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演讲人：邓愚</a:t>
            </a:r>
            <a:r>
              <a:rPr lang="en-US" altLang="zh-CN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   2025</a:t>
            </a:r>
            <a:r>
              <a:rPr lang="zh-CN" altLang="en-US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年</a:t>
            </a:r>
            <a:r>
              <a:rPr lang="en-US" altLang="zh-CN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10</a:t>
            </a:r>
            <a:r>
              <a:rPr lang="zh-CN" altLang="en-US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月</a:t>
            </a:r>
            <a:r>
              <a:rPr lang="en-US" altLang="zh-CN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14</a:t>
            </a:r>
            <a:r>
              <a:rPr lang="zh-CN" altLang="en-US" sz="2400">
                <a:latin typeface="楷体" panose="02010609060101010101" pitchFamily="49" charset="-122"/>
                <a:ea typeface="楷体" panose="02010609060101010101" pitchFamily="49" charset="-122"/>
                <a:cs typeface="楷体" panose="02010609060101010101" pitchFamily="49" charset="-122"/>
              </a:rPr>
              <a:t>日</a:t>
            </a:r>
            <a:endParaRPr lang="zh-CN" altLang="en-US" sz="2400">
              <a:latin typeface="楷体" panose="02010609060101010101" pitchFamily="49" charset="-122"/>
              <a:ea typeface="楷体" panose="02010609060101010101" pitchFamily="49" charset="-122"/>
              <a:cs typeface="楷体" panose="02010609060101010101" pitchFamily="49" charset="-122"/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635" y="512445"/>
            <a:ext cx="12146280" cy="6303010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定位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| INDUSTRY ORIENTATION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文本框 47"/>
          <p:cNvSpPr txBox="1"/>
          <p:nvPr/>
        </p:nvSpPr>
        <p:spPr>
          <a:xfrm>
            <a:off x="1309054" y="1771726"/>
            <a:ext cx="10654665" cy="9398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  <a:buFont typeface="Arial" panose="020B0604020202020204" pitchFamily="34" charset="0"/>
              <a:buNone/>
            </a:pP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Arial" panose="020B0604020202020204" pitchFamily="34" charset="0"/>
              <a:buNone/>
            </a:pPr>
            <a:endParaRPr lang="zh-CN" altLang="en-US" sz="24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3" name="Rectangle 5"/>
          <p:cNvSpPr>
            <a:spLocks noGrp="1"/>
          </p:cNvSpPr>
          <p:nvPr/>
        </p:nvSpPr>
        <p:spPr>
          <a:xfrm>
            <a:off x="0" y="1340485"/>
            <a:ext cx="12176760" cy="2646045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</a:ln>
        </p:spPr>
        <p:txBody>
          <a:bodyPr wrap="square" lIns="91440" tIns="45720" rIns="91440" bIns="4572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lvl="0" algn="just" eaLnBrk="1" hangingPunct="1">
              <a:lnSpc>
                <a:spcPct val="150000"/>
              </a:lnSpc>
            </a:pPr>
            <a:r>
              <a:rPr lang="zh-CN" altLang="en-US" sz="2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作区承接拉各斯经济贸易圈，发挥奥贡州资源（地缘、土地、劳动力等）优势，借鉴中国四十多年来改革开放的发展</a:t>
            </a:r>
            <a:r>
              <a:rPr lang="zh-CN" altLang="en-US" sz="2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验，形成以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造业为主</a:t>
            </a:r>
            <a:r>
              <a:rPr lang="zh-CN" altLang="en-US" sz="2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集物流、研发、会展、生活等于一体的城市综合体。</a:t>
            </a:r>
            <a:endParaRPr lang="zh-CN" altLang="en-US" sz="2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定位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| INDUSTRY ORIENTATION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文本框 47"/>
          <p:cNvSpPr txBox="1"/>
          <p:nvPr/>
        </p:nvSpPr>
        <p:spPr>
          <a:xfrm>
            <a:off x="1777049" y="2658821"/>
            <a:ext cx="10654665" cy="9398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  <a:buFont typeface="Arial" panose="020B0604020202020204" pitchFamily="34" charset="0"/>
              <a:buNone/>
            </a:pP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Arial" panose="020B0604020202020204" pitchFamily="34" charset="0"/>
              <a:buNone/>
            </a:pPr>
            <a:endParaRPr lang="zh-CN" altLang="en-US" sz="24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30" name="Freeform 6"/>
          <p:cNvSpPr/>
          <p:nvPr/>
        </p:nvSpPr>
        <p:spPr bwMode="auto">
          <a:xfrm flipH="1">
            <a:off x="8206646" y="5547070"/>
            <a:ext cx="893867" cy="192303"/>
          </a:xfrm>
          <a:custGeom>
            <a:avLst/>
            <a:gdLst>
              <a:gd name="T0" fmla="*/ 20 w 23"/>
              <a:gd name="T1" fmla="*/ 0 h 5"/>
              <a:gd name="T2" fmla="*/ 3 w 23"/>
              <a:gd name="T3" fmla="*/ 0 h 5"/>
              <a:gd name="T4" fmla="*/ 0 w 23"/>
              <a:gd name="T5" fmla="*/ 2 h 5"/>
              <a:gd name="T6" fmla="*/ 3 w 23"/>
              <a:gd name="T7" fmla="*/ 5 h 5"/>
              <a:gd name="T8" fmla="*/ 20 w 23"/>
              <a:gd name="T9" fmla="*/ 5 h 5"/>
              <a:gd name="T10" fmla="*/ 23 w 23"/>
              <a:gd name="T11" fmla="*/ 2 h 5"/>
              <a:gd name="T12" fmla="*/ 20 w 23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5">
                <a:moveTo>
                  <a:pt x="20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4"/>
                  <a:pt x="1" y="5"/>
                  <a:pt x="3" y="5"/>
                </a:cubicBezTo>
                <a:cubicBezTo>
                  <a:pt x="20" y="5"/>
                  <a:pt x="20" y="5"/>
                  <a:pt x="20" y="5"/>
                </a:cubicBezTo>
                <a:cubicBezTo>
                  <a:pt x="22" y="5"/>
                  <a:pt x="23" y="4"/>
                  <a:pt x="23" y="2"/>
                </a:cubicBezTo>
                <a:cubicBezTo>
                  <a:pt x="23" y="1"/>
                  <a:pt x="22" y="0"/>
                  <a:pt x="20" y="0"/>
                </a:cubicBezTo>
                <a:close/>
              </a:path>
            </a:pathLst>
          </a:custGeom>
          <a:solidFill>
            <a:srgbClr val="E62A2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sz="1350"/>
          </a:p>
        </p:txBody>
      </p:sp>
      <p:sp>
        <p:nvSpPr>
          <p:cNvPr id="31" name="Freeform 24"/>
          <p:cNvSpPr/>
          <p:nvPr/>
        </p:nvSpPr>
        <p:spPr>
          <a:xfrm flipH="1">
            <a:off x="7972359" y="5149894"/>
            <a:ext cx="1362439" cy="397176"/>
          </a:xfrm>
          <a:custGeom>
            <a:avLst/>
            <a:gdLst>
              <a:gd name="connsiteX0" fmla="*/ 0 w 2645228"/>
              <a:gd name="connsiteY0" fmla="*/ 0 h 496975"/>
              <a:gd name="connsiteX1" fmla="*/ 2645228 w 2645228"/>
              <a:gd name="connsiteY1" fmla="*/ 0 h 496975"/>
              <a:gd name="connsiteX2" fmla="*/ 2645228 w 2645228"/>
              <a:gd name="connsiteY2" fmla="*/ 56095 h 496975"/>
              <a:gd name="connsiteX3" fmla="*/ 2204348 w 2645228"/>
              <a:gd name="connsiteY3" fmla="*/ 496975 h 496975"/>
              <a:gd name="connsiteX4" fmla="*/ 440880 w 2645228"/>
              <a:gd name="connsiteY4" fmla="*/ 496975 h 496975"/>
              <a:gd name="connsiteX5" fmla="*/ 0 w 2645228"/>
              <a:gd name="connsiteY5" fmla="*/ 56095 h 496975"/>
              <a:gd name="connsiteX6" fmla="*/ 0 w 2645228"/>
              <a:gd name="connsiteY6" fmla="*/ 0 h 496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45228" h="496975">
                <a:moveTo>
                  <a:pt x="0" y="0"/>
                </a:moveTo>
                <a:lnTo>
                  <a:pt x="2645228" y="0"/>
                </a:lnTo>
                <a:lnTo>
                  <a:pt x="2645228" y="56095"/>
                </a:lnTo>
                <a:cubicBezTo>
                  <a:pt x="2645228" y="299586"/>
                  <a:pt x="2447839" y="496975"/>
                  <a:pt x="2204348" y="496975"/>
                </a:cubicBezTo>
                <a:lnTo>
                  <a:pt x="440880" y="496975"/>
                </a:lnTo>
                <a:cubicBezTo>
                  <a:pt x="197389" y="496975"/>
                  <a:pt x="0" y="299586"/>
                  <a:pt x="0" y="5609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2" name="Freeform 25"/>
          <p:cNvSpPr/>
          <p:nvPr/>
        </p:nvSpPr>
        <p:spPr>
          <a:xfrm flipH="1">
            <a:off x="8349697" y="5819538"/>
            <a:ext cx="607766" cy="129742"/>
          </a:xfrm>
          <a:custGeom>
            <a:avLst/>
            <a:gdLst>
              <a:gd name="connsiteX0" fmla="*/ 0 w 694404"/>
              <a:gd name="connsiteY0" fmla="*/ 0 h 288475"/>
              <a:gd name="connsiteX1" fmla="*/ 694404 w 694404"/>
              <a:gd name="connsiteY1" fmla="*/ 0 h 288475"/>
              <a:gd name="connsiteX2" fmla="*/ 693800 w 694404"/>
              <a:gd name="connsiteY2" fmla="*/ 5989 h 288475"/>
              <a:gd name="connsiteX3" fmla="*/ 347202 w 694404"/>
              <a:gd name="connsiteY3" fmla="*/ 288475 h 288475"/>
              <a:gd name="connsiteX4" fmla="*/ 604 w 694404"/>
              <a:gd name="connsiteY4" fmla="*/ 5989 h 288475"/>
              <a:gd name="connsiteX5" fmla="*/ 0 w 694404"/>
              <a:gd name="connsiteY5" fmla="*/ 0 h 288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404" h="288475">
                <a:moveTo>
                  <a:pt x="0" y="0"/>
                </a:moveTo>
                <a:lnTo>
                  <a:pt x="694404" y="0"/>
                </a:lnTo>
                <a:lnTo>
                  <a:pt x="693800" y="5989"/>
                </a:lnTo>
                <a:cubicBezTo>
                  <a:pt x="660811" y="167204"/>
                  <a:pt x="518169" y="288475"/>
                  <a:pt x="347202" y="288475"/>
                </a:cubicBezTo>
                <a:cubicBezTo>
                  <a:pt x="176235" y="288475"/>
                  <a:pt x="33593" y="167204"/>
                  <a:pt x="604" y="598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3" name="Freeform 5"/>
          <p:cNvSpPr/>
          <p:nvPr/>
        </p:nvSpPr>
        <p:spPr bwMode="auto">
          <a:xfrm>
            <a:off x="8544246" y="4382478"/>
            <a:ext cx="177800" cy="525463"/>
          </a:xfrm>
          <a:custGeom>
            <a:avLst/>
            <a:gdLst>
              <a:gd name="T0" fmla="*/ 77 w 112"/>
              <a:gd name="T1" fmla="*/ 270 h 331"/>
              <a:gd name="T2" fmla="*/ 44 w 112"/>
              <a:gd name="T3" fmla="*/ 331 h 331"/>
              <a:gd name="T4" fmla="*/ 15 w 112"/>
              <a:gd name="T5" fmla="*/ 328 h 331"/>
              <a:gd name="T6" fmla="*/ 0 w 112"/>
              <a:gd name="T7" fmla="*/ 261 h 331"/>
              <a:gd name="T8" fmla="*/ 35 w 112"/>
              <a:gd name="T9" fmla="*/ 0 h 331"/>
              <a:gd name="T10" fmla="*/ 112 w 112"/>
              <a:gd name="T11" fmla="*/ 11 h 331"/>
              <a:gd name="T12" fmla="*/ 77 w 112"/>
              <a:gd name="T13" fmla="*/ 27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2" h="331">
                <a:moveTo>
                  <a:pt x="77" y="270"/>
                </a:moveTo>
                <a:lnTo>
                  <a:pt x="44" y="331"/>
                </a:lnTo>
                <a:lnTo>
                  <a:pt x="15" y="328"/>
                </a:lnTo>
                <a:lnTo>
                  <a:pt x="0" y="261"/>
                </a:lnTo>
                <a:lnTo>
                  <a:pt x="35" y="0"/>
                </a:lnTo>
                <a:lnTo>
                  <a:pt x="112" y="11"/>
                </a:lnTo>
                <a:lnTo>
                  <a:pt x="77" y="27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34" name="Freeform 6"/>
          <p:cNvSpPr/>
          <p:nvPr/>
        </p:nvSpPr>
        <p:spPr bwMode="auto">
          <a:xfrm>
            <a:off x="8595046" y="4288815"/>
            <a:ext cx="139700" cy="161925"/>
          </a:xfrm>
          <a:custGeom>
            <a:avLst/>
            <a:gdLst>
              <a:gd name="T0" fmla="*/ 58 w 64"/>
              <a:gd name="T1" fmla="*/ 48 h 74"/>
              <a:gd name="T2" fmla="*/ 27 w 64"/>
              <a:gd name="T3" fmla="*/ 72 h 74"/>
              <a:gd name="T4" fmla="*/ 26 w 64"/>
              <a:gd name="T5" fmla="*/ 72 h 74"/>
              <a:gd name="T6" fmla="*/ 2 w 64"/>
              <a:gd name="T7" fmla="*/ 41 h 74"/>
              <a:gd name="T8" fmla="*/ 6 w 64"/>
              <a:gd name="T9" fmla="*/ 15 h 74"/>
              <a:gd name="T10" fmla="*/ 35 w 64"/>
              <a:gd name="T11" fmla="*/ 7 h 74"/>
              <a:gd name="T12" fmla="*/ 36 w 64"/>
              <a:gd name="T13" fmla="*/ 7 h 74"/>
              <a:gd name="T14" fmla="*/ 62 w 64"/>
              <a:gd name="T15" fmla="*/ 22 h 74"/>
              <a:gd name="T16" fmla="*/ 58 w 64"/>
              <a:gd name="T17" fmla="*/ 4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4">
                <a:moveTo>
                  <a:pt x="58" y="48"/>
                </a:moveTo>
                <a:cubicBezTo>
                  <a:pt x="56" y="63"/>
                  <a:pt x="42" y="74"/>
                  <a:pt x="27" y="72"/>
                </a:cubicBezTo>
                <a:cubicBezTo>
                  <a:pt x="26" y="72"/>
                  <a:pt x="26" y="72"/>
                  <a:pt x="26" y="72"/>
                </a:cubicBezTo>
                <a:cubicBezTo>
                  <a:pt x="11" y="70"/>
                  <a:pt x="0" y="56"/>
                  <a:pt x="2" y="41"/>
                </a:cubicBezTo>
                <a:cubicBezTo>
                  <a:pt x="6" y="15"/>
                  <a:pt x="6" y="15"/>
                  <a:pt x="6" y="15"/>
                </a:cubicBezTo>
                <a:cubicBezTo>
                  <a:pt x="8" y="0"/>
                  <a:pt x="20" y="5"/>
                  <a:pt x="35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51" y="9"/>
                  <a:pt x="64" y="7"/>
                  <a:pt x="62" y="22"/>
                </a:cubicBezTo>
                <a:lnTo>
                  <a:pt x="58" y="48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35" name="Freeform 7"/>
          <p:cNvSpPr/>
          <p:nvPr/>
        </p:nvSpPr>
        <p:spPr bwMode="auto">
          <a:xfrm>
            <a:off x="8579171" y="4347553"/>
            <a:ext cx="152400" cy="147638"/>
          </a:xfrm>
          <a:custGeom>
            <a:avLst/>
            <a:gdLst>
              <a:gd name="T0" fmla="*/ 85 w 96"/>
              <a:gd name="T1" fmla="*/ 93 h 93"/>
              <a:gd name="T2" fmla="*/ 0 w 96"/>
              <a:gd name="T3" fmla="*/ 81 h 93"/>
              <a:gd name="T4" fmla="*/ 11 w 96"/>
              <a:gd name="T5" fmla="*/ 0 h 93"/>
              <a:gd name="T6" fmla="*/ 96 w 96"/>
              <a:gd name="T7" fmla="*/ 12 h 93"/>
              <a:gd name="T8" fmla="*/ 85 w 96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" h="93">
                <a:moveTo>
                  <a:pt x="85" y="93"/>
                </a:moveTo>
                <a:lnTo>
                  <a:pt x="0" y="81"/>
                </a:lnTo>
                <a:lnTo>
                  <a:pt x="11" y="0"/>
                </a:lnTo>
                <a:lnTo>
                  <a:pt x="96" y="12"/>
                </a:lnTo>
                <a:lnTo>
                  <a:pt x="85" y="93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36" name="Freeform 8"/>
          <p:cNvSpPr/>
          <p:nvPr/>
        </p:nvSpPr>
        <p:spPr bwMode="auto">
          <a:xfrm>
            <a:off x="8568059" y="4888890"/>
            <a:ext cx="46038" cy="76200"/>
          </a:xfrm>
          <a:custGeom>
            <a:avLst/>
            <a:gdLst>
              <a:gd name="T0" fmla="*/ 0 w 21"/>
              <a:gd name="T1" fmla="*/ 5 h 35"/>
              <a:gd name="T2" fmla="*/ 5 w 21"/>
              <a:gd name="T3" fmla="*/ 26 h 35"/>
              <a:gd name="T4" fmla="*/ 21 w 21"/>
              <a:gd name="T5" fmla="*/ 9 h 35"/>
              <a:gd name="T6" fmla="*/ 0 w 21"/>
              <a:gd name="T7" fmla="*/ 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35">
                <a:moveTo>
                  <a:pt x="0" y="5"/>
                </a:moveTo>
                <a:cubicBezTo>
                  <a:pt x="0" y="5"/>
                  <a:pt x="3" y="22"/>
                  <a:pt x="5" y="26"/>
                </a:cubicBezTo>
                <a:cubicBezTo>
                  <a:pt x="6" y="31"/>
                  <a:pt x="9" y="35"/>
                  <a:pt x="21" y="9"/>
                </a:cubicBezTo>
                <a:cubicBezTo>
                  <a:pt x="21" y="9"/>
                  <a:pt x="13" y="0"/>
                  <a:pt x="0" y="5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37" name="Freeform 9"/>
          <p:cNvSpPr/>
          <p:nvPr/>
        </p:nvSpPr>
        <p:spPr bwMode="auto">
          <a:xfrm>
            <a:off x="8728396" y="4380890"/>
            <a:ext cx="176213" cy="525463"/>
          </a:xfrm>
          <a:custGeom>
            <a:avLst/>
            <a:gdLst>
              <a:gd name="T0" fmla="*/ 75 w 111"/>
              <a:gd name="T1" fmla="*/ 269 h 331"/>
              <a:gd name="T2" fmla="*/ 44 w 111"/>
              <a:gd name="T3" fmla="*/ 331 h 331"/>
              <a:gd name="T4" fmla="*/ 15 w 111"/>
              <a:gd name="T5" fmla="*/ 326 h 331"/>
              <a:gd name="T6" fmla="*/ 0 w 111"/>
              <a:gd name="T7" fmla="*/ 259 h 331"/>
              <a:gd name="T8" fmla="*/ 34 w 111"/>
              <a:gd name="T9" fmla="*/ 0 h 331"/>
              <a:gd name="T10" fmla="*/ 111 w 111"/>
              <a:gd name="T11" fmla="*/ 9 h 331"/>
              <a:gd name="T12" fmla="*/ 75 w 111"/>
              <a:gd name="T13" fmla="*/ 269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1" h="331">
                <a:moveTo>
                  <a:pt x="75" y="269"/>
                </a:moveTo>
                <a:lnTo>
                  <a:pt x="44" y="331"/>
                </a:lnTo>
                <a:lnTo>
                  <a:pt x="15" y="326"/>
                </a:lnTo>
                <a:lnTo>
                  <a:pt x="0" y="259"/>
                </a:lnTo>
                <a:lnTo>
                  <a:pt x="34" y="0"/>
                </a:lnTo>
                <a:lnTo>
                  <a:pt x="111" y="9"/>
                </a:lnTo>
                <a:lnTo>
                  <a:pt x="75" y="269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5" name="Freeform 10"/>
          <p:cNvSpPr/>
          <p:nvPr/>
        </p:nvSpPr>
        <p:spPr bwMode="auto">
          <a:xfrm>
            <a:off x="8777609" y="4284053"/>
            <a:ext cx="139700" cy="161925"/>
          </a:xfrm>
          <a:custGeom>
            <a:avLst/>
            <a:gdLst>
              <a:gd name="T0" fmla="*/ 58 w 64"/>
              <a:gd name="T1" fmla="*/ 48 h 74"/>
              <a:gd name="T2" fmla="*/ 27 w 64"/>
              <a:gd name="T3" fmla="*/ 72 h 74"/>
              <a:gd name="T4" fmla="*/ 26 w 64"/>
              <a:gd name="T5" fmla="*/ 72 h 74"/>
              <a:gd name="T6" fmla="*/ 2 w 64"/>
              <a:gd name="T7" fmla="*/ 41 h 74"/>
              <a:gd name="T8" fmla="*/ 6 w 64"/>
              <a:gd name="T9" fmla="*/ 15 h 74"/>
              <a:gd name="T10" fmla="*/ 35 w 64"/>
              <a:gd name="T11" fmla="*/ 7 h 74"/>
              <a:gd name="T12" fmla="*/ 36 w 64"/>
              <a:gd name="T13" fmla="*/ 7 h 74"/>
              <a:gd name="T14" fmla="*/ 61 w 64"/>
              <a:gd name="T15" fmla="*/ 23 h 74"/>
              <a:gd name="T16" fmla="*/ 58 w 64"/>
              <a:gd name="T17" fmla="*/ 4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4">
                <a:moveTo>
                  <a:pt x="58" y="48"/>
                </a:moveTo>
                <a:cubicBezTo>
                  <a:pt x="56" y="64"/>
                  <a:pt x="42" y="74"/>
                  <a:pt x="27" y="72"/>
                </a:cubicBezTo>
                <a:cubicBezTo>
                  <a:pt x="26" y="72"/>
                  <a:pt x="26" y="72"/>
                  <a:pt x="26" y="72"/>
                </a:cubicBezTo>
                <a:cubicBezTo>
                  <a:pt x="11" y="70"/>
                  <a:pt x="0" y="56"/>
                  <a:pt x="2" y="41"/>
                </a:cubicBezTo>
                <a:cubicBezTo>
                  <a:pt x="6" y="15"/>
                  <a:pt x="6" y="15"/>
                  <a:pt x="6" y="15"/>
                </a:cubicBezTo>
                <a:cubicBezTo>
                  <a:pt x="8" y="0"/>
                  <a:pt x="20" y="5"/>
                  <a:pt x="35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51" y="9"/>
                  <a:pt x="64" y="7"/>
                  <a:pt x="61" y="23"/>
                </a:cubicBezTo>
                <a:lnTo>
                  <a:pt x="58" y="48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" name="Freeform 11"/>
          <p:cNvSpPr/>
          <p:nvPr/>
        </p:nvSpPr>
        <p:spPr bwMode="auto">
          <a:xfrm>
            <a:off x="8763321" y="4345965"/>
            <a:ext cx="152400" cy="146050"/>
          </a:xfrm>
          <a:custGeom>
            <a:avLst/>
            <a:gdLst>
              <a:gd name="T0" fmla="*/ 85 w 96"/>
              <a:gd name="T1" fmla="*/ 92 h 92"/>
              <a:gd name="T2" fmla="*/ 0 w 96"/>
              <a:gd name="T3" fmla="*/ 81 h 92"/>
              <a:gd name="T4" fmla="*/ 11 w 96"/>
              <a:gd name="T5" fmla="*/ 0 h 92"/>
              <a:gd name="T6" fmla="*/ 96 w 96"/>
              <a:gd name="T7" fmla="*/ 11 h 92"/>
              <a:gd name="T8" fmla="*/ 85 w 96"/>
              <a:gd name="T9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" h="92">
                <a:moveTo>
                  <a:pt x="85" y="92"/>
                </a:moveTo>
                <a:lnTo>
                  <a:pt x="0" y="81"/>
                </a:lnTo>
                <a:lnTo>
                  <a:pt x="11" y="0"/>
                </a:lnTo>
                <a:lnTo>
                  <a:pt x="96" y="11"/>
                </a:lnTo>
                <a:lnTo>
                  <a:pt x="85" y="92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40" name="Freeform 12"/>
          <p:cNvSpPr/>
          <p:nvPr/>
        </p:nvSpPr>
        <p:spPr bwMode="auto">
          <a:xfrm>
            <a:off x="8752209" y="4884128"/>
            <a:ext cx="46038" cy="76200"/>
          </a:xfrm>
          <a:custGeom>
            <a:avLst/>
            <a:gdLst>
              <a:gd name="T0" fmla="*/ 0 w 21"/>
              <a:gd name="T1" fmla="*/ 6 h 35"/>
              <a:gd name="T2" fmla="*/ 5 w 21"/>
              <a:gd name="T3" fmla="*/ 27 h 35"/>
              <a:gd name="T4" fmla="*/ 21 w 21"/>
              <a:gd name="T5" fmla="*/ 10 h 35"/>
              <a:gd name="T6" fmla="*/ 0 w 21"/>
              <a:gd name="T7" fmla="*/ 6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35">
                <a:moveTo>
                  <a:pt x="0" y="6"/>
                </a:moveTo>
                <a:cubicBezTo>
                  <a:pt x="0" y="6"/>
                  <a:pt x="3" y="22"/>
                  <a:pt x="5" y="27"/>
                </a:cubicBezTo>
                <a:cubicBezTo>
                  <a:pt x="6" y="31"/>
                  <a:pt x="9" y="35"/>
                  <a:pt x="21" y="10"/>
                </a:cubicBezTo>
                <a:cubicBezTo>
                  <a:pt x="21" y="10"/>
                  <a:pt x="13" y="0"/>
                  <a:pt x="0" y="6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41" name="Freeform 13"/>
          <p:cNvSpPr/>
          <p:nvPr/>
        </p:nvSpPr>
        <p:spPr bwMode="auto">
          <a:xfrm>
            <a:off x="8888734" y="4384065"/>
            <a:ext cx="41275" cy="266700"/>
          </a:xfrm>
          <a:custGeom>
            <a:avLst/>
            <a:gdLst>
              <a:gd name="T0" fmla="*/ 4 w 19"/>
              <a:gd name="T1" fmla="*/ 0 h 122"/>
              <a:gd name="T2" fmla="*/ 19 w 19"/>
              <a:gd name="T3" fmla="*/ 16 h 122"/>
              <a:gd name="T4" fmla="*/ 7 w 19"/>
              <a:gd name="T5" fmla="*/ 115 h 122"/>
              <a:gd name="T6" fmla="*/ 0 w 19"/>
              <a:gd name="T7" fmla="*/ 121 h 122"/>
              <a:gd name="T8" fmla="*/ 10 w 19"/>
              <a:gd name="T9" fmla="*/ 43 h 122"/>
              <a:gd name="T10" fmla="*/ 5 w 19"/>
              <a:gd name="T11" fmla="*/ 34 h 122"/>
              <a:gd name="T12" fmla="*/ 4 w 19"/>
              <a:gd name="T13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22">
                <a:moveTo>
                  <a:pt x="4" y="0"/>
                </a:moveTo>
                <a:cubicBezTo>
                  <a:pt x="4" y="0"/>
                  <a:pt x="18" y="10"/>
                  <a:pt x="19" y="16"/>
                </a:cubicBezTo>
                <a:cubicBezTo>
                  <a:pt x="19" y="21"/>
                  <a:pt x="7" y="115"/>
                  <a:pt x="7" y="115"/>
                </a:cubicBezTo>
                <a:cubicBezTo>
                  <a:pt x="7" y="115"/>
                  <a:pt x="8" y="122"/>
                  <a:pt x="0" y="121"/>
                </a:cubicBezTo>
                <a:cubicBezTo>
                  <a:pt x="10" y="43"/>
                  <a:pt x="10" y="43"/>
                  <a:pt x="10" y="43"/>
                </a:cubicBezTo>
                <a:cubicBezTo>
                  <a:pt x="5" y="34"/>
                  <a:pt x="5" y="34"/>
                  <a:pt x="5" y="34"/>
                </a:cubicBezTo>
                <a:cubicBezTo>
                  <a:pt x="4" y="0"/>
                  <a:pt x="4" y="0"/>
                  <a:pt x="4" y="0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grpSp>
        <p:nvGrpSpPr>
          <p:cNvPr id="44" name="Group 123"/>
          <p:cNvGrpSpPr/>
          <p:nvPr/>
        </p:nvGrpSpPr>
        <p:grpSpPr>
          <a:xfrm>
            <a:off x="7653659" y="4261433"/>
            <a:ext cx="817563" cy="620713"/>
            <a:chOff x="7170738" y="4168775"/>
            <a:chExt cx="817563" cy="620713"/>
          </a:xfrm>
          <a:solidFill>
            <a:srgbClr val="C00000"/>
          </a:solidFill>
        </p:grpSpPr>
        <p:sp>
          <p:nvSpPr>
            <p:cNvPr id="45" name="Freeform 14"/>
            <p:cNvSpPr/>
            <p:nvPr/>
          </p:nvSpPr>
          <p:spPr bwMode="auto">
            <a:xfrm>
              <a:off x="7170738" y="4168775"/>
              <a:ext cx="785813" cy="354013"/>
            </a:xfrm>
            <a:custGeom>
              <a:avLst/>
              <a:gdLst>
                <a:gd name="T0" fmla="*/ 246 w 495"/>
                <a:gd name="T1" fmla="*/ 223 h 223"/>
                <a:gd name="T2" fmla="*/ 0 w 495"/>
                <a:gd name="T3" fmla="*/ 111 h 223"/>
                <a:gd name="T4" fmla="*/ 252 w 495"/>
                <a:gd name="T5" fmla="*/ 0 h 223"/>
                <a:gd name="T6" fmla="*/ 495 w 495"/>
                <a:gd name="T7" fmla="*/ 109 h 223"/>
                <a:gd name="T8" fmla="*/ 246 w 495"/>
                <a:gd name="T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23">
                  <a:moveTo>
                    <a:pt x="246" y="223"/>
                  </a:moveTo>
                  <a:lnTo>
                    <a:pt x="0" y="111"/>
                  </a:lnTo>
                  <a:lnTo>
                    <a:pt x="252" y="0"/>
                  </a:lnTo>
                  <a:lnTo>
                    <a:pt x="495" y="109"/>
                  </a:lnTo>
                  <a:lnTo>
                    <a:pt x="246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6" name="Rectangle 15"/>
            <p:cNvSpPr>
              <a:spLocks noChangeArrowheads="1"/>
            </p:cNvSpPr>
            <p:nvPr/>
          </p:nvSpPr>
          <p:spPr bwMode="auto">
            <a:xfrm>
              <a:off x="7924800" y="4335463"/>
              <a:ext cx="23813" cy="257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7" name="Oval 16"/>
            <p:cNvSpPr>
              <a:spLocks noChangeArrowheads="1"/>
            </p:cNvSpPr>
            <p:nvPr/>
          </p:nvSpPr>
          <p:spPr bwMode="auto">
            <a:xfrm>
              <a:off x="7897813" y="4564063"/>
              <a:ext cx="76200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8" name="Freeform 17"/>
            <p:cNvSpPr/>
            <p:nvPr/>
          </p:nvSpPr>
          <p:spPr bwMode="auto">
            <a:xfrm>
              <a:off x="7888288" y="4605338"/>
              <a:ext cx="55563" cy="171450"/>
            </a:xfrm>
            <a:custGeom>
              <a:avLst/>
              <a:gdLst>
                <a:gd name="T0" fmla="*/ 14 w 26"/>
                <a:gd name="T1" fmla="*/ 4 h 79"/>
                <a:gd name="T2" fmla="*/ 6 w 26"/>
                <a:gd name="T3" fmla="*/ 79 h 79"/>
                <a:gd name="T4" fmla="*/ 26 w 26"/>
                <a:gd name="T5" fmla="*/ 79 h 79"/>
                <a:gd name="T6" fmla="*/ 26 w 26"/>
                <a:gd name="T7" fmla="*/ 0 h 79"/>
                <a:gd name="T8" fmla="*/ 14 w 26"/>
                <a:gd name="T9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9">
                  <a:moveTo>
                    <a:pt x="14" y="4"/>
                  </a:moveTo>
                  <a:cubicBezTo>
                    <a:pt x="14" y="4"/>
                    <a:pt x="0" y="34"/>
                    <a:pt x="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14" y="7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49" name="Freeform 18"/>
            <p:cNvSpPr/>
            <p:nvPr/>
          </p:nvSpPr>
          <p:spPr bwMode="auto">
            <a:xfrm>
              <a:off x="7932738" y="4605338"/>
              <a:ext cx="55563" cy="171450"/>
            </a:xfrm>
            <a:custGeom>
              <a:avLst/>
              <a:gdLst>
                <a:gd name="T0" fmla="*/ 11 w 25"/>
                <a:gd name="T1" fmla="*/ 4 h 79"/>
                <a:gd name="T2" fmla="*/ 20 w 25"/>
                <a:gd name="T3" fmla="*/ 79 h 79"/>
                <a:gd name="T4" fmla="*/ 0 w 25"/>
                <a:gd name="T5" fmla="*/ 79 h 79"/>
                <a:gd name="T6" fmla="*/ 0 w 25"/>
                <a:gd name="T7" fmla="*/ 0 h 79"/>
                <a:gd name="T8" fmla="*/ 11 w 25"/>
                <a:gd name="T9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9">
                  <a:moveTo>
                    <a:pt x="11" y="4"/>
                  </a:moveTo>
                  <a:cubicBezTo>
                    <a:pt x="11" y="4"/>
                    <a:pt x="25" y="34"/>
                    <a:pt x="2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1" y="7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50" name="Freeform 19"/>
            <p:cNvSpPr/>
            <p:nvPr/>
          </p:nvSpPr>
          <p:spPr bwMode="auto">
            <a:xfrm>
              <a:off x="7327900" y="4449763"/>
              <a:ext cx="455613" cy="339725"/>
            </a:xfrm>
            <a:custGeom>
              <a:avLst/>
              <a:gdLst>
                <a:gd name="T0" fmla="*/ 209 w 209"/>
                <a:gd name="T1" fmla="*/ 0 h 156"/>
                <a:gd name="T2" fmla="*/ 104 w 209"/>
                <a:gd name="T3" fmla="*/ 49 h 156"/>
                <a:gd name="T4" fmla="*/ 0 w 209"/>
                <a:gd name="T5" fmla="*/ 0 h 156"/>
                <a:gd name="T6" fmla="*/ 0 w 209"/>
                <a:gd name="T7" fmla="*/ 120 h 156"/>
                <a:gd name="T8" fmla="*/ 102 w 209"/>
                <a:gd name="T9" fmla="*/ 156 h 156"/>
                <a:gd name="T10" fmla="*/ 102 w 209"/>
                <a:gd name="T11" fmla="*/ 156 h 156"/>
                <a:gd name="T12" fmla="*/ 104 w 209"/>
                <a:gd name="T13" fmla="*/ 156 h 156"/>
                <a:gd name="T14" fmla="*/ 107 w 209"/>
                <a:gd name="T15" fmla="*/ 156 h 156"/>
                <a:gd name="T16" fmla="*/ 107 w 209"/>
                <a:gd name="T17" fmla="*/ 156 h 156"/>
                <a:gd name="T18" fmla="*/ 209 w 209"/>
                <a:gd name="T19" fmla="*/ 120 h 156"/>
                <a:gd name="T20" fmla="*/ 209 w 209"/>
                <a:gd name="T21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9" h="156">
                  <a:moveTo>
                    <a:pt x="209" y="0"/>
                  </a:moveTo>
                  <a:cubicBezTo>
                    <a:pt x="209" y="1"/>
                    <a:pt x="121" y="41"/>
                    <a:pt x="104" y="49"/>
                  </a:cubicBezTo>
                  <a:cubicBezTo>
                    <a:pt x="87" y="41"/>
                    <a:pt x="0" y="1"/>
                    <a:pt x="0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28" y="150"/>
                    <a:pt x="84" y="155"/>
                    <a:pt x="102" y="156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2" y="156"/>
                    <a:pt x="103" y="156"/>
                    <a:pt x="104" y="156"/>
                  </a:cubicBezTo>
                  <a:cubicBezTo>
                    <a:pt x="106" y="156"/>
                    <a:pt x="107" y="156"/>
                    <a:pt x="107" y="156"/>
                  </a:cubicBezTo>
                  <a:cubicBezTo>
                    <a:pt x="107" y="156"/>
                    <a:pt x="107" y="156"/>
                    <a:pt x="107" y="156"/>
                  </a:cubicBezTo>
                  <a:cubicBezTo>
                    <a:pt x="125" y="155"/>
                    <a:pt x="181" y="150"/>
                    <a:pt x="209" y="120"/>
                  </a:cubicBezTo>
                  <a:lnTo>
                    <a:pt x="2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51" name="Freeform 20"/>
          <p:cNvSpPr>
            <a:spLocks noEditPoints="1"/>
          </p:cNvSpPr>
          <p:nvPr/>
        </p:nvSpPr>
        <p:spPr bwMode="auto">
          <a:xfrm>
            <a:off x="6988496" y="2142515"/>
            <a:ext cx="477838" cy="503238"/>
          </a:xfrm>
          <a:custGeom>
            <a:avLst/>
            <a:gdLst>
              <a:gd name="T0" fmla="*/ 168 w 219"/>
              <a:gd name="T1" fmla="*/ 224 h 231"/>
              <a:gd name="T2" fmla="*/ 197 w 219"/>
              <a:gd name="T3" fmla="*/ 212 h 231"/>
              <a:gd name="T4" fmla="*/ 168 w 219"/>
              <a:gd name="T5" fmla="*/ 132 h 231"/>
              <a:gd name="T6" fmla="*/ 168 w 219"/>
              <a:gd name="T7" fmla="*/ 150 h 231"/>
              <a:gd name="T8" fmla="*/ 192 w 219"/>
              <a:gd name="T9" fmla="*/ 190 h 231"/>
              <a:gd name="T10" fmla="*/ 168 w 219"/>
              <a:gd name="T11" fmla="*/ 209 h 231"/>
              <a:gd name="T12" fmla="*/ 168 w 219"/>
              <a:gd name="T13" fmla="*/ 224 h 231"/>
              <a:gd name="T14" fmla="*/ 168 w 219"/>
              <a:gd name="T15" fmla="*/ 203 h 231"/>
              <a:gd name="T16" fmla="*/ 168 w 219"/>
              <a:gd name="T17" fmla="*/ 157 h 231"/>
              <a:gd name="T18" fmla="*/ 181 w 219"/>
              <a:gd name="T19" fmla="*/ 187 h 231"/>
              <a:gd name="T20" fmla="*/ 168 w 219"/>
              <a:gd name="T21" fmla="*/ 203 h 231"/>
              <a:gd name="T22" fmla="*/ 146 w 219"/>
              <a:gd name="T23" fmla="*/ 112 h 231"/>
              <a:gd name="T24" fmla="*/ 141 w 219"/>
              <a:gd name="T25" fmla="*/ 98 h 231"/>
              <a:gd name="T26" fmla="*/ 141 w 219"/>
              <a:gd name="T27" fmla="*/ 44 h 231"/>
              <a:gd name="T28" fmla="*/ 146 w 219"/>
              <a:gd name="T29" fmla="*/ 37 h 231"/>
              <a:gd name="T30" fmla="*/ 148 w 219"/>
              <a:gd name="T31" fmla="*/ 37 h 231"/>
              <a:gd name="T32" fmla="*/ 148 w 219"/>
              <a:gd name="T33" fmla="*/ 14 h 231"/>
              <a:gd name="T34" fmla="*/ 146 w 219"/>
              <a:gd name="T35" fmla="*/ 14 h 231"/>
              <a:gd name="T36" fmla="*/ 146 w 219"/>
              <a:gd name="T37" fmla="*/ 13 h 231"/>
              <a:gd name="T38" fmla="*/ 114 w 219"/>
              <a:gd name="T39" fmla="*/ 0 h 231"/>
              <a:gd name="T40" fmla="*/ 81 w 219"/>
              <a:gd name="T41" fmla="*/ 13 h 231"/>
              <a:gd name="T42" fmla="*/ 81 w 219"/>
              <a:gd name="T43" fmla="*/ 14 h 231"/>
              <a:gd name="T44" fmla="*/ 80 w 219"/>
              <a:gd name="T45" fmla="*/ 14 h 231"/>
              <a:gd name="T46" fmla="*/ 80 w 219"/>
              <a:gd name="T47" fmla="*/ 37 h 231"/>
              <a:gd name="T48" fmla="*/ 81 w 219"/>
              <a:gd name="T49" fmla="*/ 37 h 231"/>
              <a:gd name="T50" fmla="*/ 90 w 219"/>
              <a:gd name="T51" fmla="*/ 45 h 231"/>
              <a:gd name="T52" fmla="*/ 90 w 219"/>
              <a:gd name="T53" fmla="*/ 98 h 231"/>
              <a:gd name="T54" fmla="*/ 83 w 219"/>
              <a:gd name="T55" fmla="*/ 112 h 231"/>
              <a:gd name="T56" fmla="*/ 31 w 219"/>
              <a:gd name="T57" fmla="*/ 212 h 231"/>
              <a:gd name="T58" fmla="*/ 114 w 219"/>
              <a:gd name="T59" fmla="*/ 230 h 231"/>
              <a:gd name="T60" fmla="*/ 168 w 219"/>
              <a:gd name="T61" fmla="*/ 224 h 231"/>
              <a:gd name="T62" fmla="*/ 168 w 219"/>
              <a:gd name="T63" fmla="*/ 209 h 231"/>
              <a:gd name="T64" fmla="*/ 144 w 219"/>
              <a:gd name="T65" fmla="*/ 212 h 231"/>
              <a:gd name="T66" fmla="*/ 144 w 219"/>
              <a:gd name="T67" fmla="*/ 212 h 231"/>
              <a:gd name="T68" fmla="*/ 168 w 219"/>
              <a:gd name="T69" fmla="*/ 203 h 231"/>
              <a:gd name="T70" fmla="*/ 168 w 219"/>
              <a:gd name="T71" fmla="*/ 157 h 231"/>
              <a:gd name="T72" fmla="*/ 149 w 219"/>
              <a:gd name="T73" fmla="*/ 134 h 231"/>
              <a:gd name="T74" fmla="*/ 168 w 219"/>
              <a:gd name="T75" fmla="*/ 150 h 231"/>
              <a:gd name="T76" fmla="*/ 168 w 219"/>
              <a:gd name="T77" fmla="*/ 132 h 231"/>
              <a:gd name="T78" fmla="*/ 146 w 219"/>
              <a:gd name="T79" fmla="*/ 11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19" h="231">
                <a:moveTo>
                  <a:pt x="168" y="224"/>
                </a:moveTo>
                <a:cubicBezTo>
                  <a:pt x="179" y="221"/>
                  <a:pt x="189" y="217"/>
                  <a:pt x="197" y="212"/>
                </a:cubicBezTo>
                <a:cubicBezTo>
                  <a:pt x="219" y="196"/>
                  <a:pt x="191" y="157"/>
                  <a:pt x="168" y="132"/>
                </a:cubicBezTo>
                <a:cubicBezTo>
                  <a:pt x="168" y="150"/>
                  <a:pt x="168" y="150"/>
                  <a:pt x="168" y="150"/>
                </a:cubicBezTo>
                <a:cubicBezTo>
                  <a:pt x="180" y="162"/>
                  <a:pt x="193" y="177"/>
                  <a:pt x="192" y="190"/>
                </a:cubicBezTo>
                <a:cubicBezTo>
                  <a:pt x="192" y="201"/>
                  <a:pt x="180" y="207"/>
                  <a:pt x="168" y="209"/>
                </a:cubicBezTo>
                <a:cubicBezTo>
                  <a:pt x="168" y="224"/>
                  <a:pt x="168" y="224"/>
                  <a:pt x="168" y="224"/>
                </a:cubicBezTo>
                <a:close/>
                <a:moveTo>
                  <a:pt x="168" y="203"/>
                </a:moveTo>
                <a:cubicBezTo>
                  <a:pt x="168" y="157"/>
                  <a:pt x="168" y="157"/>
                  <a:pt x="168" y="157"/>
                </a:cubicBezTo>
                <a:cubicBezTo>
                  <a:pt x="175" y="167"/>
                  <a:pt x="182" y="179"/>
                  <a:pt x="181" y="187"/>
                </a:cubicBezTo>
                <a:cubicBezTo>
                  <a:pt x="180" y="194"/>
                  <a:pt x="175" y="199"/>
                  <a:pt x="168" y="203"/>
                </a:cubicBezTo>
                <a:close/>
                <a:moveTo>
                  <a:pt x="146" y="112"/>
                </a:moveTo>
                <a:cubicBezTo>
                  <a:pt x="146" y="112"/>
                  <a:pt x="141" y="109"/>
                  <a:pt x="141" y="98"/>
                </a:cubicBezTo>
                <a:cubicBezTo>
                  <a:pt x="141" y="90"/>
                  <a:pt x="141" y="56"/>
                  <a:pt x="141" y="44"/>
                </a:cubicBezTo>
                <a:cubicBezTo>
                  <a:pt x="144" y="43"/>
                  <a:pt x="146" y="40"/>
                  <a:pt x="146" y="37"/>
                </a:cubicBezTo>
                <a:cubicBezTo>
                  <a:pt x="148" y="37"/>
                  <a:pt x="148" y="37"/>
                  <a:pt x="148" y="37"/>
                </a:cubicBezTo>
                <a:cubicBezTo>
                  <a:pt x="148" y="14"/>
                  <a:pt x="148" y="14"/>
                  <a:pt x="148" y="14"/>
                </a:cubicBezTo>
                <a:cubicBezTo>
                  <a:pt x="146" y="14"/>
                  <a:pt x="146" y="14"/>
                  <a:pt x="146" y="14"/>
                </a:cubicBezTo>
                <a:cubicBezTo>
                  <a:pt x="146" y="14"/>
                  <a:pt x="146" y="13"/>
                  <a:pt x="146" y="13"/>
                </a:cubicBezTo>
                <a:cubicBezTo>
                  <a:pt x="146" y="6"/>
                  <a:pt x="132" y="0"/>
                  <a:pt x="114" y="0"/>
                </a:cubicBezTo>
                <a:cubicBezTo>
                  <a:pt x="95" y="0"/>
                  <a:pt x="81" y="6"/>
                  <a:pt x="81" y="13"/>
                </a:cubicBezTo>
                <a:cubicBezTo>
                  <a:pt x="81" y="13"/>
                  <a:pt x="81" y="14"/>
                  <a:pt x="81" y="14"/>
                </a:cubicBezTo>
                <a:cubicBezTo>
                  <a:pt x="80" y="14"/>
                  <a:pt x="80" y="14"/>
                  <a:pt x="80" y="14"/>
                </a:cubicBezTo>
                <a:cubicBezTo>
                  <a:pt x="80" y="37"/>
                  <a:pt x="80" y="37"/>
                  <a:pt x="80" y="37"/>
                </a:cubicBezTo>
                <a:cubicBezTo>
                  <a:pt x="81" y="37"/>
                  <a:pt x="81" y="37"/>
                  <a:pt x="81" y="37"/>
                </a:cubicBezTo>
                <a:cubicBezTo>
                  <a:pt x="81" y="40"/>
                  <a:pt x="84" y="43"/>
                  <a:pt x="90" y="45"/>
                </a:cubicBezTo>
                <a:cubicBezTo>
                  <a:pt x="90" y="56"/>
                  <a:pt x="90" y="90"/>
                  <a:pt x="90" y="98"/>
                </a:cubicBezTo>
                <a:cubicBezTo>
                  <a:pt x="90" y="109"/>
                  <a:pt x="83" y="112"/>
                  <a:pt x="83" y="112"/>
                </a:cubicBezTo>
                <a:cubicBezTo>
                  <a:pt x="71" y="119"/>
                  <a:pt x="0" y="190"/>
                  <a:pt x="31" y="212"/>
                </a:cubicBezTo>
                <a:cubicBezTo>
                  <a:pt x="58" y="231"/>
                  <a:pt x="105" y="230"/>
                  <a:pt x="114" y="230"/>
                </a:cubicBezTo>
                <a:cubicBezTo>
                  <a:pt x="121" y="230"/>
                  <a:pt x="145" y="230"/>
                  <a:pt x="168" y="224"/>
                </a:cubicBezTo>
                <a:cubicBezTo>
                  <a:pt x="168" y="209"/>
                  <a:pt x="168" y="209"/>
                  <a:pt x="168" y="209"/>
                </a:cubicBezTo>
                <a:cubicBezTo>
                  <a:pt x="156" y="212"/>
                  <a:pt x="144" y="212"/>
                  <a:pt x="144" y="212"/>
                </a:cubicBezTo>
                <a:cubicBezTo>
                  <a:pt x="144" y="212"/>
                  <a:pt x="144" y="212"/>
                  <a:pt x="144" y="212"/>
                </a:cubicBezTo>
                <a:cubicBezTo>
                  <a:pt x="144" y="212"/>
                  <a:pt x="158" y="210"/>
                  <a:pt x="168" y="203"/>
                </a:cubicBezTo>
                <a:cubicBezTo>
                  <a:pt x="168" y="157"/>
                  <a:pt x="168" y="157"/>
                  <a:pt x="168" y="157"/>
                </a:cubicBezTo>
                <a:cubicBezTo>
                  <a:pt x="159" y="144"/>
                  <a:pt x="149" y="134"/>
                  <a:pt x="149" y="134"/>
                </a:cubicBezTo>
                <a:cubicBezTo>
                  <a:pt x="149" y="134"/>
                  <a:pt x="158" y="141"/>
                  <a:pt x="168" y="150"/>
                </a:cubicBezTo>
                <a:cubicBezTo>
                  <a:pt x="168" y="132"/>
                  <a:pt x="168" y="132"/>
                  <a:pt x="168" y="132"/>
                </a:cubicBezTo>
                <a:cubicBezTo>
                  <a:pt x="159" y="122"/>
                  <a:pt x="150" y="114"/>
                  <a:pt x="146" y="112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52" name="Oval 21"/>
          <p:cNvSpPr>
            <a:spLocks noChangeArrowheads="1"/>
          </p:cNvSpPr>
          <p:nvPr/>
        </p:nvSpPr>
        <p:spPr bwMode="auto">
          <a:xfrm>
            <a:off x="10038084" y="2025040"/>
            <a:ext cx="141288" cy="141288"/>
          </a:xfrm>
          <a:prstGeom prst="ellipse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53" name="Freeform 22"/>
          <p:cNvSpPr/>
          <p:nvPr/>
        </p:nvSpPr>
        <p:spPr bwMode="auto">
          <a:xfrm>
            <a:off x="10088884" y="2129815"/>
            <a:ext cx="222250" cy="463550"/>
          </a:xfrm>
          <a:custGeom>
            <a:avLst/>
            <a:gdLst>
              <a:gd name="T0" fmla="*/ 0 w 102"/>
              <a:gd name="T1" fmla="*/ 6 h 213"/>
              <a:gd name="T2" fmla="*/ 68 w 102"/>
              <a:gd name="T3" fmla="*/ 184 h 213"/>
              <a:gd name="T4" fmla="*/ 99 w 102"/>
              <a:gd name="T5" fmla="*/ 213 h 213"/>
              <a:gd name="T6" fmla="*/ 23 w 102"/>
              <a:gd name="T7" fmla="*/ 0 h 213"/>
              <a:gd name="T8" fmla="*/ 0 w 102"/>
              <a:gd name="T9" fmla="*/ 6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213">
                <a:moveTo>
                  <a:pt x="0" y="6"/>
                </a:moveTo>
                <a:cubicBezTo>
                  <a:pt x="0" y="7"/>
                  <a:pt x="68" y="184"/>
                  <a:pt x="68" y="184"/>
                </a:cubicBezTo>
                <a:cubicBezTo>
                  <a:pt x="68" y="184"/>
                  <a:pt x="96" y="213"/>
                  <a:pt x="99" y="213"/>
                </a:cubicBezTo>
                <a:cubicBezTo>
                  <a:pt x="102" y="213"/>
                  <a:pt x="23" y="0"/>
                  <a:pt x="23" y="0"/>
                </a:cubicBezTo>
                <a:lnTo>
                  <a:pt x="0" y="6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54" name="Freeform 23"/>
          <p:cNvSpPr/>
          <p:nvPr/>
        </p:nvSpPr>
        <p:spPr bwMode="auto">
          <a:xfrm>
            <a:off x="9893621" y="2129815"/>
            <a:ext cx="238125" cy="457200"/>
          </a:xfrm>
          <a:custGeom>
            <a:avLst/>
            <a:gdLst>
              <a:gd name="T0" fmla="*/ 149 w 150"/>
              <a:gd name="T1" fmla="*/ 14 h 288"/>
              <a:gd name="T2" fmla="*/ 40 w 150"/>
              <a:gd name="T3" fmla="*/ 248 h 288"/>
              <a:gd name="T4" fmla="*/ 0 w 150"/>
              <a:gd name="T5" fmla="*/ 288 h 288"/>
              <a:gd name="T6" fmla="*/ 11 w 150"/>
              <a:gd name="T7" fmla="*/ 233 h 288"/>
              <a:gd name="T8" fmla="*/ 117 w 150"/>
              <a:gd name="T9" fmla="*/ 0 h 288"/>
              <a:gd name="T10" fmla="*/ 150 w 150"/>
              <a:gd name="T11" fmla="*/ 11 h 288"/>
              <a:gd name="T12" fmla="*/ 149 w 150"/>
              <a:gd name="T13" fmla="*/ 1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0" h="288">
                <a:moveTo>
                  <a:pt x="149" y="14"/>
                </a:moveTo>
                <a:lnTo>
                  <a:pt x="40" y="248"/>
                </a:lnTo>
                <a:lnTo>
                  <a:pt x="0" y="288"/>
                </a:lnTo>
                <a:lnTo>
                  <a:pt x="11" y="233"/>
                </a:lnTo>
                <a:lnTo>
                  <a:pt x="117" y="0"/>
                </a:lnTo>
                <a:lnTo>
                  <a:pt x="150" y="11"/>
                </a:lnTo>
                <a:lnTo>
                  <a:pt x="149" y="14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55" name="Freeform 24"/>
          <p:cNvSpPr/>
          <p:nvPr/>
        </p:nvSpPr>
        <p:spPr bwMode="auto">
          <a:xfrm>
            <a:off x="10101584" y="1974240"/>
            <a:ext cx="25400" cy="79375"/>
          </a:xfrm>
          <a:custGeom>
            <a:avLst/>
            <a:gdLst>
              <a:gd name="T0" fmla="*/ 12 w 12"/>
              <a:gd name="T1" fmla="*/ 30 h 36"/>
              <a:gd name="T2" fmla="*/ 6 w 12"/>
              <a:gd name="T3" fmla="*/ 36 h 36"/>
              <a:gd name="T4" fmla="*/ 0 w 12"/>
              <a:gd name="T5" fmla="*/ 30 h 36"/>
              <a:gd name="T6" fmla="*/ 0 w 12"/>
              <a:gd name="T7" fmla="*/ 6 h 36"/>
              <a:gd name="T8" fmla="*/ 6 w 12"/>
              <a:gd name="T9" fmla="*/ 0 h 36"/>
              <a:gd name="T10" fmla="*/ 12 w 12"/>
              <a:gd name="T11" fmla="*/ 6 h 36"/>
              <a:gd name="T12" fmla="*/ 12 w 12"/>
              <a:gd name="T13" fmla="*/ 3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36">
                <a:moveTo>
                  <a:pt x="12" y="30"/>
                </a:moveTo>
                <a:cubicBezTo>
                  <a:pt x="12" y="33"/>
                  <a:pt x="10" y="36"/>
                  <a:pt x="6" y="36"/>
                </a:cubicBezTo>
                <a:cubicBezTo>
                  <a:pt x="3" y="36"/>
                  <a:pt x="0" y="33"/>
                  <a:pt x="0" y="30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0" y="0"/>
                  <a:pt x="12" y="3"/>
                  <a:pt x="12" y="6"/>
                </a:cubicBezTo>
                <a:lnTo>
                  <a:pt x="12" y="3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8" name="Freeform 25"/>
          <p:cNvSpPr>
            <a:spLocks noEditPoints="1"/>
          </p:cNvSpPr>
          <p:nvPr/>
        </p:nvSpPr>
        <p:spPr bwMode="auto">
          <a:xfrm>
            <a:off x="8964934" y="1632928"/>
            <a:ext cx="225425" cy="609600"/>
          </a:xfrm>
          <a:custGeom>
            <a:avLst/>
            <a:gdLst>
              <a:gd name="T0" fmla="*/ 51 w 103"/>
              <a:gd name="T1" fmla="*/ 280 h 280"/>
              <a:gd name="T2" fmla="*/ 103 w 103"/>
              <a:gd name="T3" fmla="*/ 140 h 280"/>
              <a:gd name="T4" fmla="*/ 51 w 103"/>
              <a:gd name="T5" fmla="*/ 0 h 280"/>
              <a:gd name="T6" fmla="*/ 51 w 103"/>
              <a:gd name="T7" fmla="*/ 22 h 280"/>
              <a:gd name="T8" fmla="*/ 94 w 103"/>
              <a:gd name="T9" fmla="*/ 140 h 280"/>
              <a:gd name="T10" fmla="*/ 51 w 103"/>
              <a:gd name="T11" fmla="*/ 257 h 280"/>
              <a:gd name="T12" fmla="*/ 51 w 103"/>
              <a:gd name="T13" fmla="*/ 280 h 280"/>
              <a:gd name="T14" fmla="*/ 51 w 103"/>
              <a:gd name="T15" fmla="*/ 0 h 280"/>
              <a:gd name="T16" fmla="*/ 0 w 103"/>
              <a:gd name="T17" fmla="*/ 140 h 280"/>
              <a:gd name="T18" fmla="*/ 51 w 103"/>
              <a:gd name="T19" fmla="*/ 280 h 280"/>
              <a:gd name="T20" fmla="*/ 51 w 103"/>
              <a:gd name="T21" fmla="*/ 280 h 280"/>
              <a:gd name="T22" fmla="*/ 51 w 103"/>
              <a:gd name="T23" fmla="*/ 257 h 280"/>
              <a:gd name="T24" fmla="*/ 51 w 103"/>
              <a:gd name="T25" fmla="*/ 257 h 280"/>
              <a:gd name="T26" fmla="*/ 51 w 103"/>
              <a:gd name="T27" fmla="*/ 257 h 280"/>
              <a:gd name="T28" fmla="*/ 8 w 103"/>
              <a:gd name="T29" fmla="*/ 140 h 280"/>
              <a:gd name="T30" fmla="*/ 51 w 103"/>
              <a:gd name="T31" fmla="*/ 22 h 280"/>
              <a:gd name="T32" fmla="*/ 51 w 103"/>
              <a:gd name="T33" fmla="*/ 22 h 280"/>
              <a:gd name="T34" fmla="*/ 51 w 103"/>
              <a:gd name="T35" fmla="*/ 0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3" h="280">
                <a:moveTo>
                  <a:pt x="51" y="280"/>
                </a:moveTo>
                <a:cubicBezTo>
                  <a:pt x="80" y="280"/>
                  <a:pt x="103" y="217"/>
                  <a:pt x="103" y="140"/>
                </a:cubicBezTo>
                <a:cubicBezTo>
                  <a:pt x="103" y="62"/>
                  <a:pt x="80" y="0"/>
                  <a:pt x="51" y="0"/>
                </a:cubicBezTo>
                <a:cubicBezTo>
                  <a:pt x="51" y="22"/>
                  <a:pt x="51" y="22"/>
                  <a:pt x="51" y="22"/>
                </a:cubicBezTo>
                <a:cubicBezTo>
                  <a:pt x="75" y="22"/>
                  <a:pt x="94" y="75"/>
                  <a:pt x="94" y="140"/>
                </a:cubicBezTo>
                <a:cubicBezTo>
                  <a:pt x="94" y="204"/>
                  <a:pt x="75" y="257"/>
                  <a:pt x="51" y="257"/>
                </a:cubicBezTo>
                <a:lnTo>
                  <a:pt x="51" y="280"/>
                </a:lnTo>
                <a:close/>
                <a:moveTo>
                  <a:pt x="51" y="0"/>
                </a:moveTo>
                <a:cubicBezTo>
                  <a:pt x="23" y="0"/>
                  <a:pt x="0" y="62"/>
                  <a:pt x="0" y="140"/>
                </a:cubicBezTo>
                <a:cubicBezTo>
                  <a:pt x="0" y="217"/>
                  <a:pt x="23" y="280"/>
                  <a:pt x="51" y="280"/>
                </a:cubicBezTo>
                <a:cubicBezTo>
                  <a:pt x="51" y="280"/>
                  <a:pt x="51" y="280"/>
                  <a:pt x="51" y="280"/>
                </a:cubicBezTo>
                <a:cubicBezTo>
                  <a:pt x="51" y="257"/>
                  <a:pt x="51" y="257"/>
                  <a:pt x="51" y="257"/>
                </a:cubicBezTo>
                <a:cubicBezTo>
                  <a:pt x="51" y="257"/>
                  <a:pt x="51" y="257"/>
                  <a:pt x="51" y="257"/>
                </a:cubicBezTo>
                <a:cubicBezTo>
                  <a:pt x="51" y="257"/>
                  <a:pt x="51" y="257"/>
                  <a:pt x="51" y="257"/>
                </a:cubicBezTo>
                <a:cubicBezTo>
                  <a:pt x="27" y="257"/>
                  <a:pt x="8" y="204"/>
                  <a:pt x="8" y="140"/>
                </a:cubicBezTo>
                <a:cubicBezTo>
                  <a:pt x="8" y="75"/>
                  <a:pt x="27" y="22"/>
                  <a:pt x="51" y="22"/>
                </a:cubicBezTo>
                <a:cubicBezTo>
                  <a:pt x="51" y="22"/>
                  <a:pt x="51" y="22"/>
                  <a:pt x="51" y="22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" name="Freeform 26"/>
          <p:cNvSpPr>
            <a:spLocks noEditPoints="1"/>
          </p:cNvSpPr>
          <p:nvPr/>
        </p:nvSpPr>
        <p:spPr bwMode="auto">
          <a:xfrm>
            <a:off x="8771259" y="1825015"/>
            <a:ext cx="611188" cy="223838"/>
          </a:xfrm>
          <a:custGeom>
            <a:avLst/>
            <a:gdLst>
              <a:gd name="T0" fmla="*/ 280 w 280"/>
              <a:gd name="T1" fmla="*/ 52 h 103"/>
              <a:gd name="T2" fmla="*/ 140 w 280"/>
              <a:gd name="T3" fmla="*/ 0 h 103"/>
              <a:gd name="T4" fmla="*/ 140 w 280"/>
              <a:gd name="T5" fmla="*/ 8 h 103"/>
              <a:gd name="T6" fmla="*/ 257 w 280"/>
              <a:gd name="T7" fmla="*/ 52 h 103"/>
              <a:gd name="T8" fmla="*/ 140 w 280"/>
              <a:gd name="T9" fmla="*/ 95 h 103"/>
              <a:gd name="T10" fmla="*/ 140 w 280"/>
              <a:gd name="T11" fmla="*/ 103 h 103"/>
              <a:gd name="T12" fmla="*/ 280 w 280"/>
              <a:gd name="T13" fmla="*/ 52 h 103"/>
              <a:gd name="T14" fmla="*/ 140 w 280"/>
              <a:gd name="T15" fmla="*/ 0 h 103"/>
              <a:gd name="T16" fmla="*/ 140 w 280"/>
              <a:gd name="T17" fmla="*/ 0 h 103"/>
              <a:gd name="T18" fmla="*/ 0 w 280"/>
              <a:gd name="T19" fmla="*/ 52 h 103"/>
              <a:gd name="T20" fmla="*/ 140 w 280"/>
              <a:gd name="T21" fmla="*/ 103 h 103"/>
              <a:gd name="T22" fmla="*/ 140 w 280"/>
              <a:gd name="T23" fmla="*/ 103 h 103"/>
              <a:gd name="T24" fmla="*/ 140 w 280"/>
              <a:gd name="T25" fmla="*/ 95 h 103"/>
              <a:gd name="T26" fmla="*/ 140 w 280"/>
              <a:gd name="T27" fmla="*/ 95 h 103"/>
              <a:gd name="T28" fmla="*/ 23 w 280"/>
              <a:gd name="T29" fmla="*/ 52 h 103"/>
              <a:gd name="T30" fmla="*/ 23 w 280"/>
              <a:gd name="T31" fmla="*/ 52 h 103"/>
              <a:gd name="T32" fmla="*/ 140 w 280"/>
              <a:gd name="T33" fmla="*/ 8 h 103"/>
              <a:gd name="T34" fmla="*/ 140 w 280"/>
              <a:gd name="T35" fmla="*/ 8 h 103"/>
              <a:gd name="T36" fmla="*/ 140 w 280"/>
              <a:gd name="T3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0" h="103">
                <a:moveTo>
                  <a:pt x="280" y="52"/>
                </a:moveTo>
                <a:cubicBezTo>
                  <a:pt x="280" y="23"/>
                  <a:pt x="217" y="0"/>
                  <a:pt x="140" y="0"/>
                </a:cubicBezTo>
                <a:cubicBezTo>
                  <a:pt x="140" y="8"/>
                  <a:pt x="140" y="8"/>
                  <a:pt x="140" y="8"/>
                </a:cubicBezTo>
                <a:cubicBezTo>
                  <a:pt x="205" y="8"/>
                  <a:pt x="257" y="28"/>
                  <a:pt x="257" y="52"/>
                </a:cubicBezTo>
                <a:cubicBezTo>
                  <a:pt x="257" y="75"/>
                  <a:pt x="205" y="95"/>
                  <a:pt x="140" y="95"/>
                </a:cubicBezTo>
                <a:cubicBezTo>
                  <a:pt x="140" y="103"/>
                  <a:pt x="140" y="103"/>
                  <a:pt x="140" y="103"/>
                </a:cubicBezTo>
                <a:cubicBezTo>
                  <a:pt x="217" y="103"/>
                  <a:pt x="280" y="80"/>
                  <a:pt x="280" y="52"/>
                </a:cubicBezTo>
                <a:close/>
                <a:moveTo>
                  <a:pt x="140" y="0"/>
                </a:moveTo>
                <a:cubicBezTo>
                  <a:pt x="140" y="0"/>
                  <a:pt x="140" y="0"/>
                  <a:pt x="140" y="0"/>
                </a:cubicBezTo>
                <a:cubicBezTo>
                  <a:pt x="63" y="0"/>
                  <a:pt x="0" y="23"/>
                  <a:pt x="0" y="52"/>
                </a:cubicBezTo>
                <a:cubicBezTo>
                  <a:pt x="0" y="80"/>
                  <a:pt x="63" y="103"/>
                  <a:pt x="140" y="103"/>
                </a:cubicBezTo>
                <a:cubicBezTo>
                  <a:pt x="140" y="103"/>
                  <a:pt x="140" y="103"/>
                  <a:pt x="140" y="103"/>
                </a:cubicBezTo>
                <a:cubicBezTo>
                  <a:pt x="140" y="95"/>
                  <a:pt x="140" y="95"/>
                  <a:pt x="140" y="95"/>
                </a:cubicBezTo>
                <a:cubicBezTo>
                  <a:pt x="140" y="95"/>
                  <a:pt x="140" y="95"/>
                  <a:pt x="140" y="95"/>
                </a:cubicBezTo>
                <a:cubicBezTo>
                  <a:pt x="75" y="95"/>
                  <a:pt x="23" y="75"/>
                  <a:pt x="23" y="52"/>
                </a:cubicBezTo>
                <a:cubicBezTo>
                  <a:pt x="23" y="52"/>
                  <a:pt x="23" y="52"/>
                  <a:pt x="23" y="52"/>
                </a:cubicBezTo>
                <a:cubicBezTo>
                  <a:pt x="23" y="28"/>
                  <a:pt x="75" y="8"/>
                  <a:pt x="140" y="8"/>
                </a:cubicBezTo>
                <a:cubicBezTo>
                  <a:pt x="140" y="8"/>
                  <a:pt x="140" y="8"/>
                  <a:pt x="140" y="8"/>
                </a:cubicBezTo>
                <a:lnTo>
                  <a:pt x="140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" name="Freeform 27"/>
          <p:cNvSpPr>
            <a:spLocks noEditPoints="1"/>
          </p:cNvSpPr>
          <p:nvPr/>
        </p:nvSpPr>
        <p:spPr bwMode="auto">
          <a:xfrm>
            <a:off x="8817296" y="1686903"/>
            <a:ext cx="519113" cy="498475"/>
          </a:xfrm>
          <a:custGeom>
            <a:avLst/>
            <a:gdLst>
              <a:gd name="T0" fmla="*/ 218 w 238"/>
              <a:gd name="T1" fmla="*/ 16 h 229"/>
              <a:gd name="T2" fmla="*/ 119 w 238"/>
              <a:gd name="T3" fmla="*/ 46 h 229"/>
              <a:gd name="T4" fmla="*/ 119 w 238"/>
              <a:gd name="T5" fmla="*/ 57 h 229"/>
              <a:gd name="T6" fmla="*/ 202 w 238"/>
              <a:gd name="T7" fmla="*/ 32 h 229"/>
              <a:gd name="T8" fmla="*/ 150 w 238"/>
              <a:gd name="T9" fmla="*/ 145 h 229"/>
              <a:gd name="T10" fmla="*/ 119 w 238"/>
              <a:gd name="T11" fmla="*/ 172 h 229"/>
              <a:gd name="T12" fmla="*/ 119 w 238"/>
              <a:gd name="T13" fmla="*/ 183 h 229"/>
              <a:gd name="T14" fmla="*/ 156 w 238"/>
              <a:gd name="T15" fmla="*/ 151 h 229"/>
              <a:gd name="T16" fmla="*/ 218 w 238"/>
              <a:gd name="T17" fmla="*/ 16 h 229"/>
              <a:gd name="T18" fmla="*/ 119 w 238"/>
              <a:gd name="T19" fmla="*/ 46 h 229"/>
              <a:gd name="T20" fmla="*/ 83 w 238"/>
              <a:gd name="T21" fmla="*/ 78 h 229"/>
              <a:gd name="T22" fmla="*/ 20 w 238"/>
              <a:gd name="T23" fmla="*/ 214 h 229"/>
              <a:gd name="T24" fmla="*/ 119 w 238"/>
              <a:gd name="T25" fmla="*/ 183 h 229"/>
              <a:gd name="T26" fmla="*/ 119 w 238"/>
              <a:gd name="T27" fmla="*/ 172 h 229"/>
              <a:gd name="T28" fmla="*/ 36 w 238"/>
              <a:gd name="T29" fmla="*/ 197 h 229"/>
              <a:gd name="T30" fmla="*/ 36 w 238"/>
              <a:gd name="T31" fmla="*/ 197 h 229"/>
              <a:gd name="T32" fmla="*/ 89 w 238"/>
              <a:gd name="T33" fmla="*/ 84 h 229"/>
              <a:gd name="T34" fmla="*/ 119 w 238"/>
              <a:gd name="T35" fmla="*/ 57 h 229"/>
              <a:gd name="T36" fmla="*/ 119 w 238"/>
              <a:gd name="T37" fmla="*/ 46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8" h="229">
                <a:moveTo>
                  <a:pt x="218" y="16"/>
                </a:moveTo>
                <a:cubicBezTo>
                  <a:pt x="202" y="0"/>
                  <a:pt x="162" y="13"/>
                  <a:pt x="119" y="46"/>
                </a:cubicBezTo>
                <a:cubicBezTo>
                  <a:pt x="119" y="57"/>
                  <a:pt x="119" y="57"/>
                  <a:pt x="119" y="57"/>
                </a:cubicBezTo>
                <a:cubicBezTo>
                  <a:pt x="155" y="30"/>
                  <a:pt x="189" y="19"/>
                  <a:pt x="202" y="32"/>
                </a:cubicBezTo>
                <a:cubicBezTo>
                  <a:pt x="219" y="49"/>
                  <a:pt x="195" y="99"/>
                  <a:pt x="150" y="145"/>
                </a:cubicBezTo>
                <a:cubicBezTo>
                  <a:pt x="140" y="155"/>
                  <a:pt x="129" y="164"/>
                  <a:pt x="119" y="172"/>
                </a:cubicBezTo>
                <a:cubicBezTo>
                  <a:pt x="119" y="183"/>
                  <a:pt x="119" y="183"/>
                  <a:pt x="119" y="183"/>
                </a:cubicBezTo>
                <a:cubicBezTo>
                  <a:pt x="131" y="174"/>
                  <a:pt x="144" y="163"/>
                  <a:pt x="156" y="151"/>
                </a:cubicBezTo>
                <a:cubicBezTo>
                  <a:pt x="210" y="96"/>
                  <a:pt x="238" y="36"/>
                  <a:pt x="218" y="16"/>
                </a:cubicBezTo>
                <a:close/>
                <a:moveTo>
                  <a:pt x="119" y="46"/>
                </a:moveTo>
                <a:cubicBezTo>
                  <a:pt x="107" y="55"/>
                  <a:pt x="95" y="66"/>
                  <a:pt x="83" y="78"/>
                </a:cubicBezTo>
                <a:cubicBezTo>
                  <a:pt x="28" y="133"/>
                  <a:pt x="0" y="193"/>
                  <a:pt x="20" y="214"/>
                </a:cubicBezTo>
                <a:cubicBezTo>
                  <a:pt x="36" y="229"/>
                  <a:pt x="76" y="216"/>
                  <a:pt x="119" y="183"/>
                </a:cubicBezTo>
                <a:cubicBezTo>
                  <a:pt x="119" y="172"/>
                  <a:pt x="119" y="172"/>
                  <a:pt x="119" y="172"/>
                </a:cubicBezTo>
                <a:cubicBezTo>
                  <a:pt x="83" y="199"/>
                  <a:pt x="49" y="211"/>
                  <a:pt x="36" y="197"/>
                </a:cubicBezTo>
                <a:cubicBezTo>
                  <a:pt x="36" y="197"/>
                  <a:pt x="36" y="197"/>
                  <a:pt x="36" y="197"/>
                </a:cubicBezTo>
                <a:cubicBezTo>
                  <a:pt x="19" y="181"/>
                  <a:pt x="43" y="130"/>
                  <a:pt x="89" y="84"/>
                </a:cubicBezTo>
                <a:cubicBezTo>
                  <a:pt x="99" y="74"/>
                  <a:pt x="109" y="65"/>
                  <a:pt x="119" y="57"/>
                </a:cubicBezTo>
                <a:lnTo>
                  <a:pt x="119" y="46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" name="Freeform 28"/>
          <p:cNvSpPr>
            <a:spLocks noEditPoints="1"/>
          </p:cNvSpPr>
          <p:nvPr/>
        </p:nvSpPr>
        <p:spPr bwMode="auto">
          <a:xfrm>
            <a:off x="8944296" y="1813903"/>
            <a:ext cx="519113" cy="498475"/>
          </a:xfrm>
          <a:custGeom>
            <a:avLst/>
            <a:gdLst>
              <a:gd name="T0" fmla="*/ 218 w 238"/>
              <a:gd name="T1" fmla="*/ 214 h 229"/>
              <a:gd name="T2" fmla="*/ 156 w 238"/>
              <a:gd name="T3" fmla="*/ 78 h 229"/>
              <a:gd name="T4" fmla="*/ 119 w 238"/>
              <a:gd name="T5" fmla="*/ 46 h 229"/>
              <a:gd name="T6" fmla="*/ 119 w 238"/>
              <a:gd name="T7" fmla="*/ 57 h 229"/>
              <a:gd name="T8" fmla="*/ 150 w 238"/>
              <a:gd name="T9" fmla="*/ 84 h 229"/>
              <a:gd name="T10" fmla="*/ 202 w 238"/>
              <a:gd name="T11" fmla="*/ 197 h 229"/>
              <a:gd name="T12" fmla="*/ 119 w 238"/>
              <a:gd name="T13" fmla="*/ 172 h 229"/>
              <a:gd name="T14" fmla="*/ 119 w 238"/>
              <a:gd name="T15" fmla="*/ 183 h 229"/>
              <a:gd name="T16" fmla="*/ 218 w 238"/>
              <a:gd name="T17" fmla="*/ 214 h 229"/>
              <a:gd name="T18" fmla="*/ 119 w 238"/>
              <a:gd name="T19" fmla="*/ 46 h 229"/>
              <a:gd name="T20" fmla="*/ 20 w 238"/>
              <a:gd name="T21" fmla="*/ 16 h 229"/>
              <a:gd name="T22" fmla="*/ 83 w 238"/>
              <a:gd name="T23" fmla="*/ 151 h 229"/>
              <a:gd name="T24" fmla="*/ 119 w 238"/>
              <a:gd name="T25" fmla="*/ 183 h 229"/>
              <a:gd name="T26" fmla="*/ 119 w 238"/>
              <a:gd name="T27" fmla="*/ 172 h 229"/>
              <a:gd name="T28" fmla="*/ 89 w 238"/>
              <a:gd name="T29" fmla="*/ 145 h 229"/>
              <a:gd name="T30" fmla="*/ 36 w 238"/>
              <a:gd name="T31" fmla="*/ 32 h 229"/>
              <a:gd name="T32" fmla="*/ 36 w 238"/>
              <a:gd name="T33" fmla="*/ 32 h 229"/>
              <a:gd name="T34" fmla="*/ 119 w 238"/>
              <a:gd name="T35" fmla="*/ 57 h 229"/>
              <a:gd name="T36" fmla="*/ 119 w 238"/>
              <a:gd name="T37" fmla="*/ 46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8" h="229">
                <a:moveTo>
                  <a:pt x="218" y="214"/>
                </a:moveTo>
                <a:cubicBezTo>
                  <a:pt x="238" y="193"/>
                  <a:pt x="210" y="133"/>
                  <a:pt x="156" y="78"/>
                </a:cubicBezTo>
                <a:cubicBezTo>
                  <a:pt x="144" y="66"/>
                  <a:pt x="131" y="55"/>
                  <a:pt x="119" y="46"/>
                </a:cubicBezTo>
                <a:cubicBezTo>
                  <a:pt x="119" y="57"/>
                  <a:pt x="119" y="57"/>
                  <a:pt x="119" y="57"/>
                </a:cubicBezTo>
                <a:cubicBezTo>
                  <a:pt x="129" y="65"/>
                  <a:pt x="140" y="74"/>
                  <a:pt x="150" y="84"/>
                </a:cubicBezTo>
                <a:cubicBezTo>
                  <a:pt x="195" y="130"/>
                  <a:pt x="219" y="181"/>
                  <a:pt x="202" y="197"/>
                </a:cubicBezTo>
                <a:cubicBezTo>
                  <a:pt x="189" y="211"/>
                  <a:pt x="155" y="199"/>
                  <a:pt x="119" y="172"/>
                </a:cubicBezTo>
                <a:cubicBezTo>
                  <a:pt x="119" y="183"/>
                  <a:pt x="119" y="183"/>
                  <a:pt x="119" y="183"/>
                </a:cubicBezTo>
                <a:cubicBezTo>
                  <a:pt x="162" y="216"/>
                  <a:pt x="202" y="229"/>
                  <a:pt x="218" y="214"/>
                </a:cubicBezTo>
                <a:close/>
                <a:moveTo>
                  <a:pt x="119" y="46"/>
                </a:moveTo>
                <a:cubicBezTo>
                  <a:pt x="76" y="13"/>
                  <a:pt x="36" y="0"/>
                  <a:pt x="20" y="16"/>
                </a:cubicBezTo>
                <a:cubicBezTo>
                  <a:pt x="0" y="36"/>
                  <a:pt x="28" y="96"/>
                  <a:pt x="83" y="151"/>
                </a:cubicBezTo>
                <a:cubicBezTo>
                  <a:pt x="95" y="163"/>
                  <a:pt x="107" y="174"/>
                  <a:pt x="119" y="183"/>
                </a:cubicBezTo>
                <a:cubicBezTo>
                  <a:pt x="119" y="172"/>
                  <a:pt x="119" y="172"/>
                  <a:pt x="119" y="172"/>
                </a:cubicBezTo>
                <a:cubicBezTo>
                  <a:pt x="109" y="164"/>
                  <a:pt x="99" y="155"/>
                  <a:pt x="89" y="145"/>
                </a:cubicBezTo>
                <a:cubicBezTo>
                  <a:pt x="43" y="99"/>
                  <a:pt x="19" y="49"/>
                  <a:pt x="36" y="32"/>
                </a:cubicBezTo>
                <a:cubicBezTo>
                  <a:pt x="36" y="32"/>
                  <a:pt x="36" y="32"/>
                  <a:pt x="36" y="32"/>
                </a:cubicBezTo>
                <a:cubicBezTo>
                  <a:pt x="49" y="19"/>
                  <a:pt x="83" y="30"/>
                  <a:pt x="119" y="57"/>
                </a:cubicBezTo>
                <a:lnTo>
                  <a:pt x="119" y="46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" name="Oval 29"/>
          <p:cNvSpPr>
            <a:spLocks noChangeArrowheads="1"/>
          </p:cNvSpPr>
          <p:nvPr/>
        </p:nvSpPr>
        <p:spPr bwMode="auto">
          <a:xfrm>
            <a:off x="9031609" y="1890103"/>
            <a:ext cx="93663" cy="93663"/>
          </a:xfrm>
          <a:prstGeom prst="ellipse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4" name="Freeform 30"/>
          <p:cNvSpPr>
            <a:spLocks noEditPoints="1"/>
          </p:cNvSpPr>
          <p:nvPr/>
        </p:nvSpPr>
        <p:spPr bwMode="auto">
          <a:xfrm>
            <a:off x="9750746" y="1459890"/>
            <a:ext cx="257175" cy="487363"/>
          </a:xfrm>
          <a:custGeom>
            <a:avLst/>
            <a:gdLst>
              <a:gd name="T0" fmla="*/ 67 w 162"/>
              <a:gd name="T1" fmla="*/ 307 h 307"/>
              <a:gd name="T2" fmla="*/ 162 w 162"/>
              <a:gd name="T3" fmla="*/ 307 h 307"/>
              <a:gd name="T4" fmla="*/ 67 w 162"/>
              <a:gd name="T5" fmla="*/ 127 h 307"/>
              <a:gd name="T6" fmla="*/ 67 w 162"/>
              <a:gd name="T7" fmla="*/ 193 h 307"/>
              <a:gd name="T8" fmla="*/ 110 w 162"/>
              <a:gd name="T9" fmla="*/ 267 h 307"/>
              <a:gd name="T10" fmla="*/ 67 w 162"/>
              <a:gd name="T11" fmla="*/ 267 h 307"/>
              <a:gd name="T12" fmla="*/ 67 w 162"/>
              <a:gd name="T13" fmla="*/ 307 h 307"/>
              <a:gd name="T14" fmla="*/ 0 w 162"/>
              <a:gd name="T15" fmla="*/ 0 h 307"/>
              <a:gd name="T16" fmla="*/ 0 w 162"/>
              <a:gd name="T17" fmla="*/ 307 h 307"/>
              <a:gd name="T18" fmla="*/ 67 w 162"/>
              <a:gd name="T19" fmla="*/ 307 h 307"/>
              <a:gd name="T20" fmla="*/ 67 w 162"/>
              <a:gd name="T21" fmla="*/ 267 h 307"/>
              <a:gd name="T22" fmla="*/ 24 w 162"/>
              <a:gd name="T23" fmla="*/ 267 h 307"/>
              <a:gd name="T24" fmla="*/ 24 w 162"/>
              <a:gd name="T25" fmla="*/ 120 h 307"/>
              <a:gd name="T26" fmla="*/ 24 w 162"/>
              <a:gd name="T27" fmla="*/ 120 h 307"/>
              <a:gd name="T28" fmla="*/ 67 w 162"/>
              <a:gd name="T29" fmla="*/ 193 h 307"/>
              <a:gd name="T30" fmla="*/ 67 w 162"/>
              <a:gd name="T31" fmla="*/ 127 h 307"/>
              <a:gd name="T32" fmla="*/ 0 w 162"/>
              <a:gd name="T33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2" h="307">
                <a:moveTo>
                  <a:pt x="67" y="307"/>
                </a:moveTo>
                <a:lnTo>
                  <a:pt x="162" y="307"/>
                </a:lnTo>
                <a:lnTo>
                  <a:pt x="67" y="127"/>
                </a:lnTo>
                <a:lnTo>
                  <a:pt x="67" y="193"/>
                </a:lnTo>
                <a:lnTo>
                  <a:pt x="110" y="267"/>
                </a:lnTo>
                <a:lnTo>
                  <a:pt x="67" y="267"/>
                </a:lnTo>
                <a:lnTo>
                  <a:pt x="67" y="307"/>
                </a:lnTo>
                <a:close/>
                <a:moveTo>
                  <a:pt x="0" y="0"/>
                </a:moveTo>
                <a:lnTo>
                  <a:pt x="0" y="307"/>
                </a:lnTo>
                <a:lnTo>
                  <a:pt x="67" y="307"/>
                </a:lnTo>
                <a:lnTo>
                  <a:pt x="67" y="267"/>
                </a:lnTo>
                <a:lnTo>
                  <a:pt x="24" y="267"/>
                </a:lnTo>
                <a:lnTo>
                  <a:pt x="24" y="120"/>
                </a:lnTo>
                <a:lnTo>
                  <a:pt x="24" y="120"/>
                </a:lnTo>
                <a:lnTo>
                  <a:pt x="67" y="193"/>
                </a:lnTo>
                <a:lnTo>
                  <a:pt x="67" y="127"/>
                </a:lnTo>
                <a:lnTo>
                  <a:pt x="0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2" name="Rectangle 31"/>
          <p:cNvSpPr>
            <a:spLocks noChangeArrowheads="1"/>
          </p:cNvSpPr>
          <p:nvPr/>
        </p:nvSpPr>
        <p:spPr bwMode="auto">
          <a:xfrm>
            <a:off x="9622159" y="1458303"/>
            <a:ext cx="65088" cy="474663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63" name="Freeform 32"/>
          <p:cNvSpPr>
            <a:spLocks noEditPoints="1"/>
          </p:cNvSpPr>
          <p:nvPr/>
        </p:nvSpPr>
        <p:spPr bwMode="auto">
          <a:xfrm>
            <a:off x="7513959" y="3849078"/>
            <a:ext cx="561975" cy="411163"/>
          </a:xfrm>
          <a:custGeom>
            <a:avLst/>
            <a:gdLst>
              <a:gd name="T0" fmla="*/ 213 w 258"/>
              <a:gd name="T1" fmla="*/ 31 h 189"/>
              <a:gd name="T2" fmla="*/ 204 w 258"/>
              <a:gd name="T3" fmla="*/ 69 h 189"/>
              <a:gd name="T4" fmla="*/ 228 w 258"/>
              <a:gd name="T5" fmla="*/ 109 h 189"/>
              <a:gd name="T6" fmla="*/ 204 w 258"/>
              <a:gd name="T7" fmla="*/ 146 h 189"/>
              <a:gd name="T8" fmla="*/ 204 w 258"/>
              <a:gd name="T9" fmla="*/ 27 h 189"/>
              <a:gd name="T10" fmla="*/ 91 w 258"/>
              <a:gd name="T11" fmla="*/ 14 h 189"/>
              <a:gd name="T12" fmla="*/ 97 w 258"/>
              <a:gd name="T13" fmla="*/ 15 h 189"/>
              <a:gd name="T14" fmla="*/ 91 w 258"/>
              <a:gd name="T15" fmla="*/ 42 h 189"/>
              <a:gd name="T16" fmla="*/ 91 w 258"/>
              <a:gd name="T17" fmla="*/ 162 h 189"/>
              <a:gd name="T18" fmla="*/ 166 w 258"/>
              <a:gd name="T19" fmla="*/ 145 h 189"/>
              <a:gd name="T20" fmla="*/ 204 w 258"/>
              <a:gd name="T21" fmla="*/ 125 h 189"/>
              <a:gd name="T22" fmla="*/ 191 w 258"/>
              <a:gd name="T23" fmla="*/ 122 h 189"/>
              <a:gd name="T24" fmla="*/ 204 w 258"/>
              <a:gd name="T25" fmla="*/ 69 h 189"/>
              <a:gd name="T26" fmla="*/ 91 w 258"/>
              <a:gd name="T27" fmla="*/ 6 h 189"/>
              <a:gd name="T28" fmla="*/ 78 w 258"/>
              <a:gd name="T29" fmla="*/ 24 h 189"/>
              <a:gd name="T30" fmla="*/ 91 w 258"/>
              <a:gd name="T31" fmla="*/ 14 h 189"/>
              <a:gd name="T32" fmla="*/ 78 w 258"/>
              <a:gd name="T33" fmla="*/ 188 h 189"/>
              <a:gd name="T34" fmla="*/ 91 w 258"/>
              <a:gd name="T35" fmla="*/ 162 h 189"/>
              <a:gd name="T36" fmla="*/ 78 w 258"/>
              <a:gd name="T37" fmla="*/ 176 h 189"/>
              <a:gd name="T38" fmla="*/ 91 w 258"/>
              <a:gd name="T39" fmla="*/ 42 h 189"/>
              <a:gd name="T40" fmla="*/ 80 w 258"/>
              <a:gd name="T41" fmla="*/ 134 h 189"/>
              <a:gd name="T42" fmla="*/ 78 w 258"/>
              <a:gd name="T43" fmla="*/ 64 h 189"/>
              <a:gd name="T44" fmla="*/ 78 w 258"/>
              <a:gd name="T45" fmla="*/ 33 h 189"/>
              <a:gd name="T46" fmla="*/ 91 w 258"/>
              <a:gd name="T47" fmla="*/ 42 h 189"/>
              <a:gd name="T48" fmla="*/ 60 w 258"/>
              <a:gd name="T49" fmla="*/ 18 h 189"/>
              <a:gd name="T50" fmla="*/ 68 w 258"/>
              <a:gd name="T51" fmla="*/ 42 h 189"/>
              <a:gd name="T52" fmla="*/ 78 w 258"/>
              <a:gd name="T53" fmla="*/ 33 h 189"/>
              <a:gd name="T54" fmla="*/ 78 w 258"/>
              <a:gd name="T55" fmla="*/ 9 h 189"/>
              <a:gd name="T56" fmla="*/ 78 w 258"/>
              <a:gd name="T57" fmla="*/ 188 h 189"/>
              <a:gd name="T58" fmla="*/ 60 w 258"/>
              <a:gd name="T59" fmla="*/ 176 h 189"/>
              <a:gd name="T60" fmla="*/ 78 w 258"/>
              <a:gd name="T61" fmla="*/ 64 h 189"/>
              <a:gd name="T62" fmla="*/ 60 w 258"/>
              <a:gd name="T63" fmla="*/ 134 h 189"/>
              <a:gd name="T64" fmla="*/ 70 w 258"/>
              <a:gd name="T65" fmla="*/ 116 h 189"/>
              <a:gd name="T66" fmla="*/ 60 w 258"/>
              <a:gd name="T67" fmla="*/ 87 h 189"/>
              <a:gd name="T68" fmla="*/ 76 w 258"/>
              <a:gd name="T69" fmla="*/ 68 h 189"/>
              <a:gd name="T70" fmla="*/ 60 w 258"/>
              <a:gd name="T71" fmla="*/ 18 h 189"/>
              <a:gd name="T72" fmla="*/ 60 w 258"/>
              <a:gd name="T73" fmla="*/ 187 h 189"/>
              <a:gd name="T74" fmla="*/ 59 w 258"/>
              <a:gd name="T75" fmla="*/ 175 h 189"/>
              <a:gd name="T76" fmla="*/ 49 w 258"/>
              <a:gd name="T77" fmla="*/ 144 h 189"/>
              <a:gd name="T78" fmla="*/ 60 w 258"/>
              <a:gd name="T79" fmla="*/ 125 h 189"/>
              <a:gd name="T80" fmla="*/ 41 w 258"/>
              <a:gd name="T81" fmla="*/ 125 h 189"/>
              <a:gd name="T82" fmla="*/ 60 w 258"/>
              <a:gd name="T83" fmla="*/ 87 h 189"/>
              <a:gd name="T84" fmla="*/ 51 w 258"/>
              <a:gd name="T85" fmla="*/ 76 h 189"/>
              <a:gd name="T86" fmla="*/ 43 w 258"/>
              <a:gd name="T87" fmla="*/ 51 h 189"/>
              <a:gd name="T88" fmla="*/ 60 w 258"/>
              <a:gd name="T89" fmla="*/ 18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8" h="189">
                <a:moveTo>
                  <a:pt x="253" y="104"/>
                </a:moveTo>
                <a:cubicBezTo>
                  <a:pt x="258" y="60"/>
                  <a:pt x="213" y="31"/>
                  <a:pt x="213" y="31"/>
                </a:cubicBezTo>
                <a:cubicBezTo>
                  <a:pt x="210" y="30"/>
                  <a:pt x="207" y="28"/>
                  <a:pt x="204" y="27"/>
                </a:cubicBezTo>
                <a:cubicBezTo>
                  <a:pt x="204" y="69"/>
                  <a:pt x="204" y="69"/>
                  <a:pt x="204" y="69"/>
                </a:cubicBezTo>
                <a:cubicBezTo>
                  <a:pt x="208" y="69"/>
                  <a:pt x="212" y="70"/>
                  <a:pt x="216" y="72"/>
                </a:cubicBezTo>
                <a:cubicBezTo>
                  <a:pt x="230" y="79"/>
                  <a:pt x="235" y="95"/>
                  <a:pt x="228" y="109"/>
                </a:cubicBezTo>
                <a:cubicBezTo>
                  <a:pt x="224" y="119"/>
                  <a:pt x="214" y="125"/>
                  <a:pt x="204" y="125"/>
                </a:cubicBezTo>
                <a:cubicBezTo>
                  <a:pt x="204" y="146"/>
                  <a:pt x="204" y="146"/>
                  <a:pt x="204" y="146"/>
                </a:cubicBezTo>
                <a:cubicBezTo>
                  <a:pt x="230" y="144"/>
                  <a:pt x="249" y="134"/>
                  <a:pt x="253" y="104"/>
                </a:cubicBezTo>
                <a:close/>
                <a:moveTo>
                  <a:pt x="204" y="27"/>
                </a:moveTo>
                <a:cubicBezTo>
                  <a:pt x="156" y="5"/>
                  <a:pt x="119" y="0"/>
                  <a:pt x="91" y="6"/>
                </a:cubicBezTo>
                <a:cubicBezTo>
                  <a:pt x="91" y="14"/>
                  <a:pt x="91" y="14"/>
                  <a:pt x="91" y="14"/>
                </a:cubicBezTo>
                <a:cubicBezTo>
                  <a:pt x="93" y="14"/>
                  <a:pt x="95" y="14"/>
                  <a:pt x="97" y="15"/>
                </a:cubicBezTo>
                <a:cubicBezTo>
                  <a:pt x="97" y="15"/>
                  <a:pt x="97" y="15"/>
                  <a:pt x="97" y="15"/>
                </a:cubicBezTo>
                <a:cubicBezTo>
                  <a:pt x="104" y="19"/>
                  <a:pt x="107" y="27"/>
                  <a:pt x="103" y="34"/>
                </a:cubicBezTo>
                <a:cubicBezTo>
                  <a:pt x="101" y="39"/>
                  <a:pt x="96" y="42"/>
                  <a:pt x="91" y="42"/>
                </a:cubicBezTo>
                <a:cubicBezTo>
                  <a:pt x="91" y="146"/>
                  <a:pt x="91" y="146"/>
                  <a:pt x="91" y="146"/>
                </a:cubicBezTo>
                <a:cubicBezTo>
                  <a:pt x="93" y="151"/>
                  <a:pt x="93" y="157"/>
                  <a:pt x="91" y="162"/>
                </a:cubicBezTo>
                <a:cubicBezTo>
                  <a:pt x="91" y="185"/>
                  <a:pt x="91" y="185"/>
                  <a:pt x="91" y="185"/>
                </a:cubicBezTo>
                <a:cubicBezTo>
                  <a:pt x="117" y="174"/>
                  <a:pt x="138" y="143"/>
                  <a:pt x="166" y="145"/>
                </a:cubicBezTo>
                <a:cubicBezTo>
                  <a:pt x="179" y="147"/>
                  <a:pt x="192" y="147"/>
                  <a:pt x="204" y="146"/>
                </a:cubicBezTo>
                <a:cubicBezTo>
                  <a:pt x="204" y="125"/>
                  <a:pt x="204" y="125"/>
                  <a:pt x="204" y="125"/>
                </a:cubicBezTo>
                <a:cubicBezTo>
                  <a:pt x="199" y="125"/>
                  <a:pt x="195" y="124"/>
                  <a:pt x="191" y="122"/>
                </a:cubicBezTo>
                <a:cubicBezTo>
                  <a:pt x="191" y="122"/>
                  <a:pt x="191" y="122"/>
                  <a:pt x="191" y="122"/>
                </a:cubicBezTo>
                <a:cubicBezTo>
                  <a:pt x="177" y="115"/>
                  <a:pt x="172" y="98"/>
                  <a:pt x="179" y="84"/>
                </a:cubicBezTo>
                <a:cubicBezTo>
                  <a:pt x="184" y="74"/>
                  <a:pt x="193" y="69"/>
                  <a:pt x="204" y="69"/>
                </a:cubicBezTo>
                <a:lnTo>
                  <a:pt x="204" y="27"/>
                </a:lnTo>
                <a:close/>
                <a:moveTo>
                  <a:pt x="91" y="6"/>
                </a:moveTo>
                <a:cubicBezTo>
                  <a:pt x="86" y="6"/>
                  <a:pt x="82" y="8"/>
                  <a:pt x="78" y="9"/>
                </a:cubicBezTo>
                <a:cubicBezTo>
                  <a:pt x="78" y="24"/>
                  <a:pt x="78" y="24"/>
                  <a:pt x="78" y="24"/>
                </a:cubicBezTo>
                <a:cubicBezTo>
                  <a:pt x="78" y="23"/>
                  <a:pt x="78" y="22"/>
                  <a:pt x="78" y="22"/>
                </a:cubicBezTo>
                <a:cubicBezTo>
                  <a:pt x="81" y="17"/>
                  <a:pt x="86" y="14"/>
                  <a:pt x="91" y="14"/>
                </a:cubicBezTo>
                <a:cubicBezTo>
                  <a:pt x="91" y="6"/>
                  <a:pt x="91" y="6"/>
                  <a:pt x="91" y="6"/>
                </a:cubicBezTo>
                <a:close/>
                <a:moveTo>
                  <a:pt x="78" y="188"/>
                </a:moveTo>
                <a:cubicBezTo>
                  <a:pt x="82" y="188"/>
                  <a:pt x="87" y="187"/>
                  <a:pt x="91" y="185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90" y="163"/>
                  <a:pt x="90" y="164"/>
                  <a:pt x="90" y="165"/>
                </a:cubicBezTo>
                <a:cubicBezTo>
                  <a:pt x="87" y="170"/>
                  <a:pt x="83" y="174"/>
                  <a:pt x="78" y="176"/>
                </a:cubicBezTo>
                <a:cubicBezTo>
                  <a:pt x="78" y="188"/>
                  <a:pt x="78" y="188"/>
                  <a:pt x="78" y="188"/>
                </a:cubicBezTo>
                <a:close/>
                <a:moveTo>
                  <a:pt x="91" y="42"/>
                </a:moveTo>
                <a:cubicBezTo>
                  <a:pt x="91" y="146"/>
                  <a:pt x="91" y="146"/>
                  <a:pt x="91" y="146"/>
                </a:cubicBezTo>
                <a:cubicBezTo>
                  <a:pt x="89" y="141"/>
                  <a:pt x="85" y="136"/>
                  <a:pt x="80" y="134"/>
                </a:cubicBezTo>
                <a:cubicBezTo>
                  <a:pt x="79" y="133"/>
                  <a:pt x="78" y="133"/>
                  <a:pt x="78" y="133"/>
                </a:cubicBezTo>
                <a:cubicBezTo>
                  <a:pt x="78" y="64"/>
                  <a:pt x="78" y="64"/>
                  <a:pt x="78" y="64"/>
                </a:cubicBezTo>
                <a:cubicBezTo>
                  <a:pt x="79" y="61"/>
                  <a:pt x="79" y="57"/>
                  <a:pt x="78" y="54"/>
                </a:cubicBezTo>
                <a:cubicBezTo>
                  <a:pt x="78" y="33"/>
                  <a:pt x="78" y="33"/>
                  <a:pt x="78" y="33"/>
                </a:cubicBezTo>
                <a:cubicBezTo>
                  <a:pt x="79" y="36"/>
                  <a:pt x="81" y="39"/>
                  <a:pt x="84" y="41"/>
                </a:cubicBezTo>
                <a:cubicBezTo>
                  <a:pt x="86" y="42"/>
                  <a:pt x="89" y="42"/>
                  <a:pt x="91" y="42"/>
                </a:cubicBezTo>
                <a:close/>
                <a:moveTo>
                  <a:pt x="78" y="9"/>
                </a:moveTo>
                <a:cubicBezTo>
                  <a:pt x="71" y="11"/>
                  <a:pt x="65" y="14"/>
                  <a:pt x="60" y="18"/>
                </a:cubicBezTo>
                <a:cubicBezTo>
                  <a:pt x="60" y="40"/>
                  <a:pt x="60" y="40"/>
                  <a:pt x="60" y="40"/>
                </a:cubicBezTo>
                <a:cubicBezTo>
                  <a:pt x="62" y="40"/>
                  <a:pt x="65" y="41"/>
                  <a:pt x="68" y="42"/>
                </a:cubicBezTo>
                <a:cubicBezTo>
                  <a:pt x="73" y="45"/>
                  <a:pt x="76" y="49"/>
                  <a:pt x="78" y="54"/>
                </a:cubicBezTo>
                <a:cubicBezTo>
                  <a:pt x="78" y="33"/>
                  <a:pt x="78" y="33"/>
                  <a:pt x="78" y="33"/>
                </a:cubicBezTo>
                <a:cubicBezTo>
                  <a:pt x="77" y="30"/>
                  <a:pt x="77" y="27"/>
                  <a:pt x="78" y="24"/>
                </a:cubicBezTo>
                <a:cubicBezTo>
                  <a:pt x="78" y="9"/>
                  <a:pt x="78" y="9"/>
                  <a:pt x="78" y="9"/>
                </a:cubicBezTo>
                <a:close/>
                <a:moveTo>
                  <a:pt x="60" y="187"/>
                </a:moveTo>
                <a:cubicBezTo>
                  <a:pt x="66" y="188"/>
                  <a:pt x="72" y="189"/>
                  <a:pt x="78" y="188"/>
                </a:cubicBezTo>
                <a:cubicBezTo>
                  <a:pt x="78" y="176"/>
                  <a:pt x="78" y="176"/>
                  <a:pt x="78" y="176"/>
                </a:cubicBezTo>
                <a:cubicBezTo>
                  <a:pt x="72" y="178"/>
                  <a:pt x="65" y="178"/>
                  <a:pt x="60" y="176"/>
                </a:cubicBezTo>
                <a:cubicBezTo>
                  <a:pt x="60" y="187"/>
                  <a:pt x="60" y="187"/>
                  <a:pt x="60" y="187"/>
                </a:cubicBezTo>
                <a:close/>
                <a:moveTo>
                  <a:pt x="78" y="64"/>
                </a:moveTo>
                <a:cubicBezTo>
                  <a:pt x="78" y="133"/>
                  <a:pt x="78" y="133"/>
                  <a:pt x="78" y="133"/>
                </a:cubicBezTo>
                <a:cubicBezTo>
                  <a:pt x="72" y="131"/>
                  <a:pt x="65" y="131"/>
                  <a:pt x="60" y="134"/>
                </a:cubicBezTo>
                <a:cubicBezTo>
                  <a:pt x="60" y="125"/>
                  <a:pt x="60" y="125"/>
                  <a:pt x="60" y="125"/>
                </a:cubicBezTo>
                <a:cubicBezTo>
                  <a:pt x="64" y="123"/>
                  <a:pt x="67" y="120"/>
                  <a:pt x="70" y="116"/>
                </a:cubicBezTo>
                <a:cubicBezTo>
                  <a:pt x="75" y="105"/>
                  <a:pt x="71" y="92"/>
                  <a:pt x="60" y="87"/>
                </a:cubicBezTo>
                <a:cubicBezTo>
                  <a:pt x="60" y="87"/>
                  <a:pt x="60" y="87"/>
                  <a:pt x="60" y="87"/>
                </a:cubicBezTo>
                <a:cubicBezTo>
                  <a:pt x="60" y="78"/>
                  <a:pt x="60" y="78"/>
                  <a:pt x="60" y="78"/>
                </a:cubicBezTo>
                <a:cubicBezTo>
                  <a:pt x="66" y="78"/>
                  <a:pt x="73" y="74"/>
                  <a:pt x="76" y="68"/>
                </a:cubicBezTo>
                <a:cubicBezTo>
                  <a:pt x="77" y="66"/>
                  <a:pt x="77" y="65"/>
                  <a:pt x="78" y="64"/>
                </a:cubicBezTo>
                <a:close/>
                <a:moveTo>
                  <a:pt x="60" y="18"/>
                </a:moveTo>
                <a:cubicBezTo>
                  <a:pt x="0" y="56"/>
                  <a:pt x="10" y="159"/>
                  <a:pt x="46" y="180"/>
                </a:cubicBezTo>
                <a:cubicBezTo>
                  <a:pt x="51" y="183"/>
                  <a:pt x="55" y="185"/>
                  <a:pt x="60" y="187"/>
                </a:cubicBezTo>
                <a:cubicBezTo>
                  <a:pt x="60" y="176"/>
                  <a:pt x="60" y="176"/>
                  <a:pt x="60" y="176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48" y="170"/>
                  <a:pt x="43" y="156"/>
                  <a:pt x="49" y="144"/>
                </a:cubicBezTo>
                <a:cubicBezTo>
                  <a:pt x="51" y="139"/>
                  <a:pt x="55" y="136"/>
                  <a:pt x="60" y="134"/>
                </a:cubicBezTo>
                <a:cubicBezTo>
                  <a:pt x="60" y="125"/>
                  <a:pt x="60" y="125"/>
                  <a:pt x="60" y="125"/>
                </a:cubicBezTo>
                <a:cubicBezTo>
                  <a:pt x="54" y="128"/>
                  <a:pt x="47" y="128"/>
                  <a:pt x="41" y="125"/>
                </a:cubicBezTo>
                <a:cubicBezTo>
                  <a:pt x="41" y="125"/>
                  <a:pt x="41" y="125"/>
                  <a:pt x="41" y="125"/>
                </a:cubicBezTo>
                <a:cubicBezTo>
                  <a:pt x="31" y="120"/>
                  <a:pt x="26" y="107"/>
                  <a:pt x="32" y="97"/>
                </a:cubicBezTo>
                <a:cubicBezTo>
                  <a:pt x="37" y="86"/>
                  <a:pt x="49" y="82"/>
                  <a:pt x="60" y="87"/>
                </a:cubicBezTo>
                <a:cubicBezTo>
                  <a:pt x="60" y="78"/>
                  <a:pt x="60" y="78"/>
                  <a:pt x="60" y="78"/>
                </a:cubicBezTo>
                <a:cubicBezTo>
                  <a:pt x="57" y="78"/>
                  <a:pt x="54" y="77"/>
                  <a:pt x="51" y="76"/>
                </a:cubicBezTo>
                <a:cubicBezTo>
                  <a:pt x="42" y="71"/>
                  <a:pt x="38" y="60"/>
                  <a:pt x="43" y="51"/>
                </a:cubicBezTo>
                <a:cubicBezTo>
                  <a:pt x="43" y="51"/>
                  <a:pt x="43" y="51"/>
                  <a:pt x="43" y="51"/>
                </a:cubicBezTo>
                <a:cubicBezTo>
                  <a:pt x="46" y="44"/>
                  <a:pt x="53" y="40"/>
                  <a:pt x="60" y="40"/>
                </a:cubicBezTo>
                <a:lnTo>
                  <a:pt x="60" y="18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grpSp>
        <p:nvGrpSpPr>
          <p:cNvPr id="15" name="Group 127"/>
          <p:cNvGrpSpPr/>
          <p:nvPr/>
        </p:nvGrpSpPr>
        <p:grpSpPr>
          <a:xfrm>
            <a:off x="9093521" y="4260240"/>
            <a:ext cx="508001" cy="654050"/>
            <a:chOff x="8610600" y="4127500"/>
            <a:chExt cx="508001" cy="654050"/>
          </a:xfrm>
          <a:solidFill>
            <a:srgbClr val="C00000"/>
          </a:solidFill>
        </p:grpSpPr>
        <p:sp>
          <p:nvSpPr>
            <p:cNvPr id="16" name="Freeform 33"/>
            <p:cNvSpPr/>
            <p:nvPr/>
          </p:nvSpPr>
          <p:spPr bwMode="auto">
            <a:xfrm>
              <a:off x="8618538" y="4127500"/>
              <a:ext cx="500063" cy="503238"/>
            </a:xfrm>
            <a:custGeom>
              <a:avLst/>
              <a:gdLst>
                <a:gd name="T0" fmla="*/ 169 w 230"/>
                <a:gd name="T1" fmla="*/ 12 h 231"/>
                <a:gd name="T2" fmla="*/ 215 w 230"/>
                <a:gd name="T3" fmla="*/ 103 h 231"/>
                <a:gd name="T4" fmla="*/ 102 w 230"/>
                <a:gd name="T5" fmla="*/ 216 h 231"/>
                <a:gd name="T6" fmla="*/ 12 w 230"/>
                <a:gd name="T7" fmla="*/ 171 h 231"/>
                <a:gd name="T8" fmla="*/ 0 w 230"/>
                <a:gd name="T9" fmla="*/ 181 h 231"/>
                <a:gd name="T10" fmla="*/ 102 w 230"/>
                <a:gd name="T11" fmla="*/ 231 h 231"/>
                <a:gd name="T12" fmla="*/ 230 w 230"/>
                <a:gd name="T13" fmla="*/ 103 h 231"/>
                <a:gd name="T14" fmla="*/ 178 w 230"/>
                <a:gd name="T15" fmla="*/ 0 h 231"/>
                <a:gd name="T16" fmla="*/ 169 w 230"/>
                <a:gd name="T17" fmla="*/ 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231">
                  <a:moveTo>
                    <a:pt x="169" y="12"/>
                  </a:moveTo>
                  <a:cubicBezTo>
                    <a:pt x="197" y="32"/>
                    <a:pt x="215" y="65"/>
                    <a:pt x="215" y="103"/>
                  </a:cubicBezTo>
                  <a:cubicBezTo>
                    <a:pt x="215" y="165"/>
                    <a:pt x="165" y="216"/>
                    <a:pt x="102" y="216"/>
                  </a:cubicBezTo>
                  <a:cubicBezTo>
                    <a:pt x="65" y="216"/>
                    <a:pt x="33" y="198"/>
                    <a:pt x="12" y="17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4" y="211"/>
                    <a:pt x="61" y="231"/>
                    <a:pt x="102" y="231"/>
                  </a:cubicBezTo>
                  <a:cubicBezTo>
                    <a:pt x="173" y="231"/>
                    <a:pt x="230" y="174"/>
                    <a:pt x="230" y="103"/>
                  </a:cubicBezTo>
                  <a:cubicBezTo>
                    <a:pt x="230" y="61"/>
                    <a:pt x="210" y="23"/>
                    <a:pt x="178" y="0"/>
                  </a:cubicBezTo>
                  <a:lnTo>
                    <a:pt x="16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6" name="Freeform 34"/>
            <p:cNvSpPr>
              <a:spLocks noEditPoints="1"/>
            </p:cNvSpPr>
            <p:nvPr/>
          </p:nvSpPr>
          <p:spPr bwMode="auto">
            <a:xfrm>
              <a:off x="8621713" y="4137025"/>
              <a:ext cx="442913" cy="441325"/>
            </a:xfrm>
            <a:custGeom>
              <a:avLst/>
              <a:gdLst>
                <a:gd name="T0" fmla="*/ 102 w 203"/>
                <a:gd name="T1" fmla="*/ 203 h 203"/>
                <a:gd name="T2" fmla="*/ 203 w 203"/>
                <a:gd name="T3" fmla="*/ 101 h 203"/>
                <a:gd name="T4" fmla="*/ 102 w 203"/>
                <a:gd name="T5" fmla="*/ 0 h 203"/>
                <a:gd name="T6" fmla="*/ 102 w 203"/>
                <a:gd name="T7" fmla="*/ 5 h 203"/>
                <a:gd name="T8" fmla="*/ 198 w 203"/>
                <a:gd name="T9" fmla="*/ 101 h 203"/>
                <a:gd name="T10" fmla="*/ 102 w 203"/>
                <a:gd name="T11" fmla="*/ 198 h 203"/>
                <a:gd name="T12" fmla="*/ 102 w 203"/>
                <a:gd name="T13" fmla="*/ 203 h 203"/>
                <a:gd name="T14" fmla="*/ 102 w 203"/>
                <a:gd name="T15" fmla="*/ 0 h 203"/>
                <a:gd name="T16" fmla="*/ 0 w 203"/>
                <a:gd name="T17" fmla="*/ 101 h 203"/>
                <a:gd name="T18" fmla="*/ 102 w 203"/>
                <a:gd name="T19" fmla="*/ 203 h 203"/>
                <a:gd name="T20" fmla="*/ 102 w 203"/>
                <a:gd name="T21" fmla="*/ 203 h 203"/>
                <a:gd name="T22" fmla="*/ 102 w 203"/>
                <a:gd name="T23" fmla="*/ 198 h 203"/>
                <a:gd name="T24" fmla="*/ 102 w 203"/>
                <a:gd name="T25" fmla="*/ 198 h 203"/>
                <a:gd name="T26" fmla="*/ 102 w 203"/>
                <a:gd name="T27" fmla="*/ 198 h 203"/>
                <a:gd name="T28" fmla="*/ 5 w 203"/>
                <a:gd name="T29" fmla="*/ 101 h 203"/>
                <a:gd name="T30" fmla="*/ 102 w 203"/>
                <a:gd name="T31" fmla="*/ 5 h 203"/>
                <a:gd name="T32" fmla="*/ 102 w 203"/>
                <a:gd name="T33" fmla="*/ 5 h 203"/>
                <a:gd name="T34" fmla="*/ 102 w 203"/>
                <a:gd name="T35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3" h="203">
                  <a:moveTo>
                    <a:pt x="102" y="203"/>
                  </a:moveTo>
                  <a:cubicBezTo>
                    <a:pt x="158" y="203"/>
                    <a:pt x="203" y="157"/>
                    <a:pt x="203" y="101"/>
                  </a:cubicBezTo>
                  <a:cubicBezTo>
                    <a:pt x="203" y="45"/>
                    <a:pt x="158" y="0"/>
                    <a:pt x="102" y="0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55" y="5"/>
                    <a:pt x="198" y="48"/>
                    <a:pt x="198" y="101"/>
                  </a:cubicBezTo>
                  <a:cubicBezTo>
                    <a:pt x="198" y="155"/>
                    <a:pt x="155" y="198"/>
                    <a:pt x="102" y="198"/>
                  </a:cubicBezTo>
                  <a:lnTo>
                    <a:pt x="102" y="203"/>
                  </a:lnTo>
                  <a:close/>
                  <a:moveTo>
                    <a:pt x="102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3"/>
                    <a:pt x="102" y="203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48" y="198"/>
                    <a:pt x="5" y="155"/>
                    <a:pt x="5" y="101"/>
                  </a:cubicBezTo>
                  <a:cubicBezTo>
                    <a:pt x="5" y="48"/>
                    <a:pt x="48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0"/>
                    <a:pt x="102" y="0"/>
                    <a:pt x="1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7" name="Freeform 35"/>
            <p:cNvSpPr/>
            <p:nvPr/>
          </p:nvSpPr>
          <p:spPr bwMode="auto">
            <a:xfrm>
              <a:off x="8610600" y="4144963"/>
              <a:ext cx="496888" cy="433388"/>
            </a:xfrm>
            <a:custGeom>
              <a:avLst/>
              <a:gdLst>
                <a:gd name="T0" fmla="*/ 65 w 228"/>
                <a:gd name="T1" fmla="*/ 15 h 199"/>
                <a:gd name="T2" fmla="*/ 61 w 228"/>
                <a:gd name="T3" fmla="*/ 23 h 199"/>
                <a:gd name="T4" fmla="*/ 57 w 228"/>
                <a:gd name="T5" fmla="*/ 29 h 199"/>
                <a:gd name="T6" fmla="*/ 54 w 228"/>
                <a:gd name="T7" fmla="*/ 26 h 199"/>
                <a:gd name="T8" fmla="*/ 52 w 228"/>
                <a:gd name="T9" fmla="*/ 32 h 199"/>
                <a:gd name="T10" fmla="*/ 42 w 228"/>
                <a:gd name="T11" fmla="*/ 34 h 199"/>
                <a:gd name="T12" fmla="*/ 36 w 228"/>
                <a:gd name="T13" fmla="*/ 41 h 199"/>
                <a:gd name="T14" fmla="*/ 27 w 228"/>
                <a:gd name="T15" fmla="*/ 53 h 199"/>
                <a:gd name="T16" fmla="*/ 21 w 228"/>
                <a:gd name="T17" fmla="*/ 61 h 199"/>
                <a:gd name="T18" fmla="*/ 27 w 228"/>
                <a:gd name="T19" fmla="*/ 67 h 199"/>
                <a:gd name="T20" fmla="*/ 27 w 228"/>
                <a:gd name="T21" fmla="*/ 70 h 199"/>
                <a:gd name="T22" fmla="*/ 22 w 228"/>
                <a:gd name="T23" fmla="*/ 65 h 199"/>
                <a:gd name="T24" fmla="*/ 18 w 228"/>
                <a:gd name="T25" fmla="*/ 60 h 199"/>
                <a:gd name="T26" fmla="*/ 16 w 228"/>
                <a:gd name="T27" fmla="*/ 69 h 199"/>
                <a:gd name="T28" fmla="*/ 17 w 228"/>
                <a:gd name="T29" fmla="*/ 83 h 199"/>
                <a:gd name="T30" fmla="*/ 24 w 228"/>
                <a:gd name="T31" fmla="*/ 80 h 199"/>
                <a:gd name="T32" fmla="*/ 32 w 228"/>
                <a:gd name="T33" fmla="*/ 88 h 199"/>
                <a:gd name="T34" fmla="*/ 41 w 228"/>
                <a:gd name="T35" fmla="*/ 98 h 199"/>
                <a:gd name="T36" fmla="*/ 50 w 228"/>
                <a:gd name="T37" fmla="*/ 105 h 199"/>
                <a:gd name="T38" fmla="*/ 61 w 228"/>
                <a:gd name="T39" fmla="*/ 117 h 199"/>
                <a:gd name="T40" fmla="*/ 58 w 228"/>
                <a:gd name="T41" fmla="*/ 134 h 199"/>
                <a:gd name="T42" fmla="*/ 49 w 228"/>
                <a:gd name="T43" fmla="*/ 155 h 199"/>
                <a:gd name="T44" fmla="*/ 52 w 228"/>
                <a:gd name="T45" fmla="*/ 170 h 199"/>
                <a:gd name="T46" fmla="*/ 46 w 228"/>
                <a:gd name="T47" fmla="*/ 171 h 199"/>
                <a:gd name="T48" fmla="*/ 32 w 228"/>
                <a:gd name="T49" fmla="*/ 148 h 199"/>
                <a:gd name="T50" fmla="*/ 16 w 228"/>
                <a:gd name="T51" fmla="*/ 113 h 199"/>
                <a:gd name="T52" fmla="*/ 11 w 228"/>
                <a:gd name="T53" fmla="*/ 87 h 199"/>
                <a:gd name="T54" fmla="*/ 73 w 228"/>
                <a:gd name="T55" fmla="*/ 183 h 199"/>
                <a:gd name="T56" fmla="*/ 89 w 228"/>
                <a:gd name="T57" fmla="*/ 181 h 199"/>
                <a:gd name="T58" fmla="*/ 110 w 228"/>
                <a:gd name="T59" fmla="*/ 178 h 199"/>
                <a:gd name="T60" fmla="*/ 108 w 228"/>
                <a:gd name="T61" fmla="*/ 187 h 199"/>
                <a:gd name="T62" fmla="*/ 121 w 228"/>
                <a:gd name="T63" fmla="*/ 186 h 199"/>
                <a:gd name="T64" fmla="*/ 139 w 228"/>
                <a:gd name="T65" fmla="*/ 184 h 199"/>
                <a:gd name="T66" fmla="*/ 137 w 228"/>
                <a:gd name="T67" fmla="*/ 3 h 199"/>
                <a:gd name="T68" fmla="*/ 197 w 228"/>
                <a:gd name="T69" fmla="*/ 64 h 199"/>
                <a:gd name="T70" fmla="*/ 189 w 228"/>
                <a:gd name="T71" fmla="*/ 58 h 199"/>
                <a:gd name="T72" fmla="*/ 181 w 228"/>
                <a:gd name="T73" fmla="*/ 74 h 199"/>
                <a:gd name="T74" fmla="*/ 170 w 228"/>
                <a:gd name="T75" fmla="*/ 59 h 199"/>
                <a:gd name="T76" fmla="*/ 174 w 228"/>
                <a:gd name="T77" fmla="*/ 75 h 199"/>
                <a:gd name="T78" fmla="*/ 186 w 228"/>
                <a:gd name="T79" fmla="*/ 79 h 199"/>
                <a:gd name="T80" fmla="*/ 181 w 228"/>
                <a:gd name="T81" fmla="*/ 100 h 199"/>
                <a:gd name="T82" fmla="*/ 175 w 228"/>
                <a:gd name="T83" fmla="*/ 122 h 199"/>
                <a:gd name="T84" fmla="*/ 168 w 228"/>
                <a:gd name="T85" fmla="*/ 137 h 199"/>
                <a:gd name="T86" fmla="*/ 147 w 228"/>
                <a:gd name="T87" fmla="*/ 154 h 199"/>
                <a:gd name="T88" fmla="*/ 141 w 228"/>
                <a:gd name="T89" fmla="*/ 139 h 199"/>
                <a:gd name="T90" fmla="*/ 142 w 228"/>
                <a:gd name="T91" fmla="*/ 121 h 199"/>
                <a:gd name="T92" fmla="*/ 135 w 228"/>
                <a:gd name="T93" fmla="*/ 101 h 199"/>
                <a:gd name="T94" fmla="*/ 125 w 228"/>
                <a:gd name="T95" fmla="*/ 89 h 199"/>
                <a:gd name="T96" fmla="*/ 99 w 228"/>
                <a:gd name="T97" fmla="*/ 90 h 199"/>
                <a:gd name="T98" fmla="*/ 89 w 228"/>
                <a:gd name="T99" fmla="*/ 76 h 199"/>
                <a:gd name="T100" fmla="*/ 100 w 228"/>
                <a:gd name="T101" fmla="*/ 49 h 199"/>
                <a:gd name="T102" fmla="*/ 119 w 228"/>
                <a:gd name="T103" fmla="*/ 41 h 199"/>
                <a:gd name="T104" fmla="*/ 130 w 228"/>
                <a:gd name="T105" fmla="*/ 46 h 199"/>
                <a:gd name="T106" fmla="*/ 146 w 228"/>
                <a:gd name="T107" fmla="*/ 46 h 199"/>
                <a:gd name="T108" fmla="*/ 162 w 228"/>
                <a:gd name="T109" fmla="*/ 44 h 199"/>
                <a:gd name="T110" fmla="*/ 147 w 228"/>
                <a:gd name="T111" fmla="*/ 37 h 199"/>
                <a:gd name="T112" fmla="*/ 146 w 228"/>
                <a:gd name="T113" fmla="*/ 32 h 199"/>
                <a:gd name="T114" fmla="*/ 127 w 228"/>
                <a:gd name="T115" fmla="*/ 32 h 199"/>
                <a:gd name="T116" fmla="*/ 111 w 228"/>
                <a:gd name="T117" fmla="*/ 37 h 199"/>
                <a:gd name="T118" fmla="*/ 107 w 228"/>
                <a:gd name="T119" fmla="*/ 21 h 199"/>
                <a:gd name="T120" fmla="*/ 96 w 228"/>
                <a:gd name="T121" fmla="*/ 11 h 199"/>
                <a:gd name="T122" fmla="*/ 109 w 228"/>
                <a:gd name="T123" fmla="*/ 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" h="199">
                  <a:moveTo>
                    <a:pt x="92" y="0"/>
                  </a:moveTo>
                  <a:cubicBezTo>
                    <a:pt x="92" y="0"/>
                    <a:pt x="58" y="5"/>
                    <a:pt x="35" y="31"/>
                  </a:cubicBezTo>
                  <a:cubicBezTo>
                    <a:pt x="35" y="31"/>
                    <a:pt x="53" y="13"/>
                    <a:pt x="64" y="13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5"/>
                    <a:pt x="65" y="15"/>
                  </a:cubicBezTo>
                  <a:cubicBezTo>
                    <a:pt x="65" y="16"/>
                    <a:pt x="64" y="17"/>
                    <a:pt x="64" y="18"/>
                  </a:cubicBezTo>
                  <a:cubicBezTo>
                    <a:pt x="64" y="18"/>
                    <a:pt x="64" y="20"/>
                    <a:pt x="64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1"/>
                    <a:pt x="62" y="22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61" y="24"/>
                    <a:pt x="61" y="25"/>
                    <a:pt x="61" y="25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58" y="29"/>
                    <a:pt x="57" y="29"/>
                  </a:cubicBezTo>
                  <a:cubicBezTo>
                    <a:pt x="56" y="29"/>
                    <a:pt x="56" y="27"/>
                    <a:pt x="56" y="27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5"/>
                  </a:cubicBezTo>
                  <a:cubicBezTo>
                    <a:pt x="57" y="25"/>
                    <a:pt x="57" y="24"/>
                    <a:pt x="56" y="24"/>
                  </a:cubicBezTo>
                  <a:cubicBezTo>
                    <a:pt x="55" y="24"/>
                    <a:pt x="54" y="26"/>
                    <a:pt x="54" y="26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1" y="29"/>
                    <a:pt x="51" y="29"/>
                  </a:cubicBezTo>
                  <a:cubicBezTo>
                    <a:pt x="52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1"/>
                  </a:cubicBezTo>
                  <a:cubicBezTo>
                    <a:pt x="53" y="31"/>
                    <a:pt x="52" y="32"/>
                    <a:pt x="52" y="32"/>
                  </a:cubicBezTo>
                  <a:cubicBezTo>
                    <a:pt x="52" y="32"/>
                    <a:pt x="52" y="33"/>
                    <a:pt x="51" y="33"/>
                  </a:cubicBezTo>
                  <a:cubicBezTo>
                    <a:pt x="50" y="32"/>
                    <a:pt x="49" y="32"/>
                    <a:pt x="48" y="32"/>
                  </a:cubicBezTo>
                  <a:cubicBezTo>
                    <a:pt x="47" y="32"/>
                    <a:pt x="46" y="31"/>
                    <a:pt x="46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2" y="34"/>
                    <a:pt x="42" y="34"/>
                  </a:cubicBezTo>
                  <a:cubicBezTo>
                    <a:pt x="42" y="34"/>
                    <a:pt x="41" y="35"/>
                    <a:pt x="41" y="35"/>
                  </a:cubicBezTo>
                  <a:cubicBezTo>
                    <a:pt x="41" y="35"/>
                    <a:pt x="41" y="37"/>
                    <a:pt x="41" y="37"/>
                  </a:cubicBezTo>
                  <a:cubicBezTo>
                    <a:pt x="41" y="37"/>
                    <a:pt x="40" y="38"/>
                    <a:pt x="38" y="38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1"/>
                    <a:pt x="34" y="42"/>
                    <a:pt x="34" y="43"/>
                  </a:cubicBezTo>
                  <a:cubicBezTo>
                    <a:pt x="33" y="44"/>
                    <a:pt x="30" y="46"/>
                    <a:pt x="30" y="46"/>
                  </a:cubicBezTo>
                  <a:cubicBezTo>
                    <a:pt x="30" y="46"/>
                    <a:pt x="29" y="47"/>
                    <a:pt x="28" y="48"/>
                  </a:cubicBezTo>
                  <a:cubicBezTo>
                    <a:pt x="28" y="49"/>
                    <a:pt x="28" y="50"/>
                    <a:pt x="28" y="51"/>
                  </a:cubicBezTo>
                  <a:cubicBezTo>
                    <a:pt x="28" y="51"/>
                    <a:pt x="27" y="52"/>
                    <a:pt x="27" y="53"/>
                  </a:cubicBezTo>
                  <a:cubicBezTo>
                    <a:pt x="27" y="54"/>
                    <a:pt x="26" y="55"/>
                    <a:pt x="26" y="56"/>
                  </a:cubicBezTo>
                  <a:cubicBezTo>
                    <a:pt x="25" y="56"/>
                    <a:pt x="25" y="57"/>
                    <a:pt x="24" y="57"/>
                  </a:cubicBezTo>
                  <a:cubicBezTo>
                    <a:pt x="24" y="57"/>
                    <a:pt x="22" y="58"/>
                    <a:pt x="21" y="58"/>
                  </a:cubicBezTo>
                  <a:cubicBezTo>
                    <a:pt x="20" y="59"/>
                    <a:pt x="20" y="60"/>
                    <a:pt x="20" y="60"/>
                  </a:cubicBezTo>
                  <a:cubicBezTo>
                    <a:pt x="20" y="60"/>
                    <a:pt x="21" y="61"/>
                    <a:pt x="21" y="61"/>
                  </a:cubicBezTo>
                  <a:cubicBezTo>
                    <a:pt x="22" y="61"/>
                    <a:pt x="23" y="62"/>
                    <a:pt x="23" y="62"/>
                  </a:cubicBezTo>
                  <a:cubicBezTo>
                    <a:pt x="23" y="62"/>
                    <a:pt x="23" y="63"/>
                    <a:pt x="23" y="64"/>
                  </a:cubicBezTo>
                  <a:cubicBezTo>
                    <a:pt x="23" y="64"/>
                    <a:pt x="22" y="66"/>
                    <a:pt x="23" y="66"/>
                  </a:cubicBezTo>
                  <a:cubicBezTo>
                    <a:pt x="24" y="66"/>
                    <a:pt x="25" y="66"/>
                    <a:pt x="25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7" y="71"/>
                    <a:pt x="27" y="71"/>
                    <a:pt x="27" y="70"/>
                  </a:cubicBezTo>
                  <a:cubicBezTo>
                    <a:pt x="27" y="69"/>
                    <a:pt x="27" y="69"/>
                    <a:pt x="26" y="68"/>
                  </a:cubicBezTo>
                  <a:cubicBezTo>
                    <a:pt x="25" y="68"/>
                    <a:pt x="24" y="69"/>
                    <a:pt x="24" y="69"/>
                  </a:cubicBezTo>
                  <a:cubicBezTo>
                    <a:pt x="24" y="69"/>
                    <a:pt x="23" y="69"/>
                    <a:pt x="23" y="68"/>
                  </a:cubicBezTo>
                  <a:cubicBezTo>
                    <a:pt x="22" y="67"/>
                    <a:pt x="22" y="68"/>
                    <a:pt x="22" y="67"/>
                  </a:cubicBezTo>
                  <a:cubicBezTo>
                    <a:pt x="22" y="66"/>
                    <a:pt x="23" y="66"/>
                    <a:pt x="22" y="65"/>
                  </a:cubicBezTo>
                  <a:cubicBezTo>
                    <a:pt x="22" y="65"/>
                    <a:pt x="21" y="64"/>
                    <a:pt x="21" y="64"/>
                  </a:cubicBezTo>
                  <a:cubicBezTo>
                    <a:pt x="20" y="64"/>
                    <a:pt x="21" y="65"/>
                    <a:pt x="20" y="64"/>
                  </a:cubicBezTo>
                  <a:cubicBezTo>
                    <a:pt x="20" y="63"/>
                    <a:pt x="19" y="63"/>
                    <a:pt x="19" y="63"/>
                  </a:cubicBezTo>
                  <a:cubicBezTo>
                    <a:pt x="19" y="63"/>
                    <a:pt x="18" y="63"/>
                    <a:pt x="18" y="62"/>
                  </a:cubicBezTo>
                  <a:cubicBezTo>
                    <a:pt x="18" y="62"/>
                    <a:pt x="18" y="61"/>
                    <a:pt x="18" y="60"/>
                  </a:cubicBezTo>
                  <a:cubicBezTo>
                    <a:pt x="18" y="60"/>
                    <a:pt x="19" y="59"/>
                    <a:pt x="19" y="58"/>
                  </a:cubicBezTo>
                  <a:cubicBezTo>
                    <a:pt x="19" y="58"/>
                    <a:pt x="19" y="55"/>
                    <a:pt x="19" y="55"/>
                  </a:cubicBezTo>
                  <a:cubicBezTo>
                    <a:pt x="19" y="55"/>
                    <a:pt x="16" y="61"/>
                    <a:pt x="15" y="66"/>
                  </a:cubicBezTo>
                  <a:cubicBezTo>
                    <a:pt x="15" y="66"/>
                    <a:pt x="16" y="65"/>
                    <a:pt x="16" y="66"/>
                  </a:cubicBezTo>
                  <a:cubicBezTo>
                    <a:pt x="16" y="67"/>
                    <a:pt x="17" y="68"/>
                    <a:pt x="16" y="69"/>
                  </a:cubicBezTo>
                  <a:cubicBezTo>
                    <a:pt x="16" y="69"/>
                    <a:pt x="16" y="69"/>
                    <a:pt x="16" y="72"/>
                  </a:cubicBezTo>
                  <a:cubicBezTo>
                    <a:pt x="16" y="74"/>
                    <a:pt x="17" y="75"/>
                    <a:pt x="17" y="76"/>
                  </a:cubicBezTo>
                  <a:cubicBezTo>
                    <a:pt x="16" y="76"/>
                    <a:pt x="16" y="77"/>
                    <a:pt x="16" y="78"/>
                  </a:cubicBezTo>
                  <a:cubicBezTo>
                    <a:pt x="16" y="79"/>
                    <a:pt x="16" y="82"/>
                    <a:pt x="17" y="82"/>
                  </a:cubicBezTo>
                  <a:cubicBezTo>
                    <a:pt x="17" y="82"/>
                    <a:pt x="17" y="83"/>
                    <a:pt x="17" y="83"/>
                  </a:cubicBezTo>
                  <a:cubicBezTo>
                    <a:pt x="18" y="84"/>
                    <a:pt x="17" y="85"/>
                    <a:pt x="18" y="84"/>
                  </a:cubicBezTo>
                  <a:cubicBezTo>
                    <a:pt x="19" y="82"/>
                    <a:pt x="20" y="81"/>
                    <a:pt x="20" y="81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79"/>
                    <a:pt x="22" y="79"/>
                  </a:cubicBezTo>
                  <a:cubicBezTo>
                    <a:pt x="23" y="79"/>
                    <a:pt x="24" y="79"/>
                    <a:pt x="24" y="80"/>
                  </a:cubicBezTo>
                  <a:cubicBezTo>
                    <a:pt x="25" y="80"/>
                    <a:pt x="23" y="82"/>
                    <a:pt x="24" y="82"/>
                  </a:cubicBezTo>
                  <a:cubicBezTo>
                    <a:pt x="25" y="82"/>
                    <a:pt x="27" y="81"/>
                    <a:pt x="28" y="81"/>
                  </a:cubicBezTo>
                  <a:cubicBezTo>
                    <a:pt x="29" y="81"/>
                    <a:pt x="29" y="82"/>
                    <a:pt x="30" y="83"/>
                  </a:cubicBezTo>
                  <a:cubicBezTo>
                    <a:pt x="30" y="84"/>
                    <a:pt x="30" y="85"/>
                    <a:pt x="31" y="86"/>
                  </a:cubicBezTo>
                  <a:cubicBezTo>
                    <a:pt x="32" y="86"/>
                    <a:pt x="31" y="87"/>
                    <a:pt x="32" y="88"/>
                  </a:cubicBezTo>
                  <a:cubicBezTo>
                    <a:pt x="32" y="89"/>
                    <a:pt x="34" y="90"/>
                    <a:pt x="35" y="90"/>
                  </a:cubicBezTo>
                  <a:cubicBezTo>
                    <a:pt x="35" y="90"/>
                    <a:pt x="37" y="90"/>
                    <a:pt x="38" y="90"/>
                  </a:cubicBezTo>
                  <a:cubicBezTo>
                    <a:pt x="39" y="91"/>
                    <a:pt x="38" y="92"/>
                    <a:pt x="39" y="92"/>
                  </a:cubicBezTo>
                  <a:cubicBezTo>
                    <a:pt x="40" y="92"/>
                    <a:pt x="41" y="95"/>
                    <a:pt x="41" y="95"/>
                  </a:cubicBezTo>
                  <a:cubicBezTo>
                    <a:pt x="41" y="95"/>
                    <a:pt x="41" y="97"/>
                    <a:pt x="41" y="98"/>
                  </a:cubicBezTo>
                  <a:cubicBezTo>
                    <a:pt x="41" y="98"/>
                    <a:pt x="41" y="99"/>
                    <a:pt x="42" y="100"/>
                  </a:cubicBezTo>
                  <a:cubicBezTo>
                    <a:pt x="42" y="100"/>
                    <a:pt x="44" y="100"/>
                    <a:pt x="44" y="100"/>
                  </a:cubicBezTo>
                  <a:cubicBezTo>
                    <a:pt x="44" y="100"/>
                    <a:pt x="43" y="102"/>
                    <a:pt x="45" y="102"/>
                  </a:cubicBezTo>
                  <a:cubicBezTo>
                    <a:pt x="47" y="103"/>
                    <a:pt x="48" y="103"/>
                    <a:pt x="49" y="104"/>
                  </a:cubicBezTo>
                  <a:cubicBezTo>
                    <a:pt x="49" y="104"/>
                    <a:pt x="48" y="105"/>
                    <a:pt x="50" y="105"/>
                  </a:cubicBezTo>
                  <a:cubicBezTo>
                    <a:pt x="52" y="105"/>
                    <a:pt x="54" y="105"/>
                    <a:pt x="55" y="106"/>
                  </a:cubicBezTo>
                  <a:cubicBezTo>
                    <a:pt x="56" y="106"/>
                    <a:pt x="55" y="107"/>
                    <a:pt x="57" y="109"/>
                  </a:cubicBezTo>
                  <a:cubicBezTo>
                    <a:pt x="60" y="110"/>
                    <a:pt x="60" y="111"/>
                    <a:pt x="61" y="111"/>
                  </a:cubicBezTo>
                  <a:cubicBezTo>
                    <a:pt x="62" y="111"/>
                    <a:pt x="63" y="111"/>
                    <a:pt x="63" y="113"/>
                  </a:cubicBezTo>
                  <a:cubicBezTo>
                    <a:pt x="62" y="115"/>
                    <a:pt x="62" y="116"/>
                    <a:pt x="61" y="117"/>
                  </a:cubicBezTo>
                  <a:cubicBezTo>
                    <a:pt x="60" y="118"/>
                    <a:pt x="59" y="120"/>
                    <a:pt x="58" y="121"/>
                  </a:cubicBezTo>
                  <a:cubicBezTo>
                    <a:pt x="58" y="122"/>
                    <a:pt x="57" y="123"/>
                    <a:pt x="58" y="124"/>
                  </a:cubicBezTo>
                  <a:cubicBezTo>
                    <a:pt x="58" y="126"/>
                    <a:pt x="59" y="127"/>
                    <a:pt x="59" y="128"/>
                  </a:cubicBezTo>
                  <a:cubicBezTo>
                    <a:pt x="59" y="129"/>
                    <a:pt x="59" y="131"/>
                    <a:pt x="59" y="132"/>
                  </a:cubicBezTo>
                  <a:cubicBezTo>
                    <a:pt x="58" y="133"/>
                    <a:pt x="58" y="134"/>
                    <a:pt x="58" y="134"/>
                  </a:cubicBezTo>
                  <a:cubicBezTo>
                    <a:pt x="58" y="134"/>
                    <a:pt x="59" y="136"/>
                    <a:pt x="58" y="137"/>
                  </a:cubicBezTo>
                  <a:cubicBezTo>
                    <a:pt x="57" y="138"/>
                    <a:pt x="55" y="140"/>
                    <a:pt x="54" y="140"/>
                  </a:cubicBezTo>
                  <a:cubicBezTo>
                    <a:pt x="53" y="140"/>
                    <a:pt x="51" y="142"/>
                    <a:pt x="51" y="142"/>
                  </a:cubicBezTo>
                  <a:cubicBezTo>
                    <a:pt x="51" y="142"/>
                    <a:pt x="51" y="146"/>
                    <a:pt x="51" y="147"/>
                  </a:cubicBezTo>
                  <a:cubicBezTo>
                    <a:pt x="51" y="147"/>
                    <a:pt x="47" y="154"/>
                    <a:pt x="49" y="155"/>
                  </a:cubicBezTo>
                  <a:cubicBezTo>
                    <a:pt x="50" y="156"/>
                    <a:pt x="50" y="158"/>
                    <a:pt x="50" y="159"/>
                  </a:cubicBezTo>
                  <a:cubicBezTo>
                    <a:pt x="49" y="160"/>
                    <a:pt x="49" y="160"/>
                    <a:pt x="49" y="160"/>
                  </a:cubicBezTo>
                  <a:cubicBezTo>
                    <a:pt x="48" y="161"/>
                    <a:pt x="46" y="161"/>
                    <a:pt x="47" y="163"/>
                  </a:cubicBezTo>
                  <a:cubicBezTo>
                    <a:pt x="49" y="165"/>
                    <a:pt x="50" y="165"/>
                    <a:pt x="50" y="167"/>
                  </a:cubicBezTo>
                  <a:cubicBezTo>
                    <a:pt x="51" y="168"/>
                    <a:pt x="51" y="168"/>
                    <a:pt x="52" y="170"/>
                  </a:cubicBezTo>
                  <a:cubicBezTo>
                    <a:pt x="53" y="171"/>
                    <a:pt x="53" y="172"/>
                    <a:pt x="54" y="173"/>
                  </a:cubicBezTo>
                  <a:cubicBezTo>
                    <a:pt x="55" y="174"/>
                    <a:pt x="56" y="175"/>
                    <a:pt x="56" y="176"/>
                  </a:cubicBezTo>
                  <a:cubicBezTo>
                    <a:pt x="56" y="177"/>
                    <a:pt x="59" y="179"/>
                    <a:pt x="56" y="177"/>
                  </a:cubicBezTo>
                  <a:cubicBezTo>
                    <a:pt x="53" y="175"/>
                    <a:pt x="56" y="177"/>
                    <a:pt x="52" y="174"/>
                  </a:cubicBezTo>
                  <a:cubicBezTo>
                    <a:pt x="49" y="171"/>
                    <a:pt x="48" y="173"/>
                    <a:pt x="46" y="171"/>
                  </a:cubicBezTo>
                  <a:cubicBezTo>
                    <a:pt x="45" y="169"/>
                    <a:pt x="47" y="175"/>
                    <a:pt x="44" y="168"/>
                  </a:cubicBezTo>
                  <a:cubicBezTo>
                    <a:pt x="41" y="160"/>
                    <a:pt x="40" y="161"/>
                    <a:pt x="39" y="159"/>
                  </a:cubicBezTo>
                  <a:cubicBezTo>
                    <a:pt x="39" y="157"/>
                    <a:pt x="39" y="159"/>
                    <a:pt x="37" y="155"/>
                  </a:cubicBezTo>
                  <a:cubicBezTo>
                    <a:pt x="35" y="151"/>
                    <a:pt x="37" y="154"/>
                    <a:pt x="35" y="151"/>
                  </a:cubicBezTo>
                  <a:cubicBezTo>
                    <a:pt x="33" y="149"/>
                    <a:pt x="33" y="152"/>
                    <a:pt x="32" y="148"/>
                  </a:cubicBezTo>
                  <a:cubicBezTo>
                    <a:pt x="31" y="143"/>
                    <a:pt x="31" y="146"/>
                    <a:pt x="30" y="141"/>
                  </a:cubicBezTo>
                  <a:cubicBezTo>
                    <a:pt x="28" y="136"/>
                    <a:pt x="31" y="136"/>
                    <a:pt x="28" y="133"/>
                  </a:cubicBezTo>
                  <a:cubicBezTo>
                    <a:pt x="25" y="131"/>
                    <a:pt x="25" y="132"/>
                    <a:pt x="24" y="131"/>
                  </a:cubicBezTo>
                  <a:cubicBezTo>
                    <a:pt x="23" y="129"/>
                    <a:pt x="25" y="130"/>
                    <a:pt x="22" y="126"/>
                  </a:cubicBezTo>
                  <a:cubicBezTo>
                    <a:pt x="20" y="122"/>
                    <a:pt x="16" y="120"/>
                    <a:pt x="16" y="113"/>
                  </a:cubicBezTo>
                  <a:cubicBezTo>
                    <a:pt x="16" y="105"/>
                    <a:pt x="16" y="104"/>
                    <a:pt x="16" y="104"/>
                  </a:cubicBezTo>
                  <a:cubicBezTo>
                    <a:pt x="16" y="104"/>
                    <a:pt x="13" y="101"/>
                    <a:pt x="14" y="97"/>
                  </a:cubicBezTo>
                  <a:cubicBezTo>
                    <a:pt x="15" y="92"/>
                    <a:pt x="16" y="94"/>
                    <a:pt x="15" y="92"/>
                  </a:cubicBezTo>
                  <a:cubicBezTo>
                    <a:pt x="15" y="91"/>
                    <a:pt x="14" y="91"/>
                    <a:pt x="13" y="89"/>
                  </a:cubicBezTo>
                  <a:cubicBezTo>
                    <a:pt x="12" y="88"/>
                    <a:pt x="12" y="88"/>
                    <a:pt x="11" y="87"/>
                  </a:cubicBezTo>
                  <a:cubicBezTo>
                    <a:pt x="11" y="86"/>
                    <a:pt x="11" y="83"/>
                    <a:pt x="11" y="83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0" y="182"/>
                    <a:pt x="97" y="197"/>
                  </a:cubicBezTo>
                  <a:cubicBezTo>
                    <a:pt x="97" y="197"/>
                    <a:pt x="75" y="192"/>
                    <a:pt x="73" y="187"/>
                  </a:cubicBezTo>
                  <a:cubicBezTo>
                    <a:pt x="73" y="187"/>
                    <a:pt x="72" y="183"/>
                    <a:pt x="73" y="183"/>
                  </a:cubicBezTo>
                  <a:cubicBezTo>
                    <a:pt x="74" y="183"/>
                    <a:pt x="76" y="184"/>
                    <a:pt x="77" y="183"/>
                  </a:cubicBezTo>
                  <a:cubicBezTo>
                    <a:pt x="79" y="181"/>
                    <a:pt x="80" y="180"/>
                    <a:pt x="80" y="180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0" y="182"/>
                    <a:pt x="79" y="182"/>
                    <a:pt x="83" y="181"/>
                  </a:cubicBezTo>
                  <a:cubicBezTo>
                    <a:pt x="88" y="181"/>
                    <a:pt x="88" y="181"/>
                    <a:pt x="89" y="181"/>
                  </a:cubicBezTo>
                  <a:cubicBezTo>
                    <a:pt x="91" y="180"/>
                    <a:pt x="93" y="176"/>
                    <a:pt x="94" y="178"/>
                  </a:cubicBezTo>
                  <a:cubicBezTo>
                    <a:pt x="95" y="181"/>
                    <a:pt x="93" y="180"/>
                    <a:pt x="95" y="181"/>
                  </a:cubicBezTo>
                  <a:cubicBezTo>
                    <a:pt x="97" y="181"/>
                    <a:pt x="101" y="180"/>
                    <a:pt x="101" y="180"/>
                  </a:cubicBezTo>
                  <a:cubicBezTo>
                    <a:pt x="101" y="180"/>
                    <a:pt x="108" y="181"/>
                    <a:pt x="108" y="180"/>
                  </a:cubicBezTo>
                  <a:cubicBezTo>
                    <a:pt x="109" y="179"/>
                    <a:pt x="109" y="178"/>
                    <a:pt x="110" y="178"/>
                  </a:cubicBezTo>
                  <a:cubicBezTo>
                    <a:pt x="111" y="178"/>
                    <a:pt x="112" y="180"/>
                    <a:pt x="112" y="180"/>
                  </a:cubicBezTo>
                  <a:cubicBezTo>
                    <a:pt x="108" y="182"/>
                    <a:pt x="108" y="182"/>
                    <a:pt x="108" y="182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5" y="185"/>
                    <a:pt x="103" y="185"/>
                    <a:pt x="105" y="186"/>
                  </a:cubicBezTo>
                  <a:cubicBezTo>
                    <a:pt x="106" y="187"/>
                    <a:pt x="107" y="187"/>
                    <a:pt x="108" y="187"/>
                  </a:cubicBezTo>
                  <a:cubicBezTo>
                    <a:pt x="110" y="187"/>
                    <a:pt x="114" y="190"/>
                    <a:pt x="115" y="188"/>
                  </a:cubicBezTo>
                  <a:cubicBezTo>
                    <a:pt x="116" y="186"/>
                    <a:pt x="116" y="186"/>
                    <a:pt x="117" y="185"/>
                  </a:cubicBezTo>
                  <a:cubicBezTo>
                    <a:pt x="117" y="184"/>
                    <a:pt x="117" y="182"/>
                    <a:pt x="119" y="182"/>
                  </a:cubicBezTo>
                  <a:cubicBezTo>
                    <a:pt x="120" y="182"/>
                    <a:pt x="122" y="183"/>
                    <a:pt x="122" y="183"/>
                  </a:cubicBezTo>
                  <a:cubicBezTo>
                    <a:pt x="121" y="186"/>
                    <a:pt x="121" y="186"/>
                    <a:pt x="121" y="186"/>
                  </a:cubicBezTo>
                  <a:cubicBezTo>
                    <a:pt x="121" y="186"/>
                    <a:pt x="123" y="186"/>
                    <a:pt x="125" y="186"/>
                  </a:cubicBezTo>
                  <a:cubicBezTo>
                    <a:pt x="126" y="186"/>
                    <a:pt x="126" y="188"/>
                    <a:pt x="128" y="186"/>
                  </a:cubicBezTo>
                  <a:cubicBezTo>
                    <a:pt x="129" y="184"/>
                    <a:pt x="129" y="184"/>
                    <a:pt x="131" y="184"/>
                  </a:cubicBezTo>
                  <a:cubicBezTo>
                    <a:pt x="133" y="184"/>
                    <a:pt x="135" y="183"/>
                    <a:pt x="136" y="183"/>
                  </a:cubicBezTo>
                  <a:cubicBezTo>
                    <a:pt x="136" y="184"/>
                    <a:pt x="138" y="184"/>
                    <a:pt x="139" y="184"/>
                  </a:cubicBezTo>
                  <a:cubicBezTo>
                    <a:pt x="139" y="184"/>
                    <a:pt x="143" y="186"/>
                    <a:pt x="143" y="186"/>
                  </a:cubicBezTo>
                  <a:cubicBezTo>
                    <a:pt x="144" y="185"/>
                    <a:pt x="148" y="186"/>
                    <a:pt x="148" y="186"/>
                  </a:cubicBezTo>
                  <a:cubicBezTo>
                    <a:pt x="148" y="186"/>
                    <a:pt x="137" y="196"/>
                    <a:pt x="113" y="197"/>
                  </a:cubicBezTo>
                  <a:cubicBezTo>
                    <a:pt x="113" y="197"/>
                    <a:pt x="167" y="199"/>
                    <a:pt x="197" y="146"/>
                  </a:cubicBezTo>
                  <a:cubicBezTo>
                    <a:pt x="228" y="94"/>
                    <a:pt x="206" y="26"/>
                    <a:pt x="137" y="3"/>
                  </a:cubicBezTo>
                  <a:cubicBezTo>
                    <a:pt x="137" y="3"/>
                    <a:pt x="189" y="22"/>
                    <a:pt x="203" y="71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1" y="71"/>
                    <a:pt x="201" y="72"/>
                    <a:pt x="200" y="69"/>
                  </a:cubicBezTo>
                  <a:cubicBezTo>
                    <a:pt x="199" y="67"/>
                    <a:pt x="199" y="68"/>
                    <a:pt x="199" y="66"/>
                  </a:cubicBezTo>
                  <a:cubicBezTo>
                    <a:pt x="198" y="64"/>
                    <a:pt x="198" y="65"/>
                    <a:pt x="197" y="64"/>
                  </a:cubicBezTo>
                  <a:cubicBezTo>
                    <a:pt x="195" y="62"/>
                    <a:pt x="195" y="62"/>
                    <a:pt x="194" y="61"/>
                  </a:cubicBezTo>
                  <a:cubicBezTo>
                    <a:pt x="193" y="61"/>
                    <a:pt x="192" y="58"/>
                    <a:pt x="192" y="57"/>
                  </a:cubicBezTo>
                  <a:cubicBezTo>
                    <a:pt x="191" y="56"/>
                    <a:pt x="189" y="55"/>
                    <a:pt x="188" y="55"/>
                  </a:cubicBezTo>
                  <a:cubicBezTo>
                    <a:pt x="187" y="55"/>
                    <a:pt x="188" y="54"/>
                    <a:pt x="187" y="55"/>
                  </a:cubicBezTo>
                  <a:cubicBezTo>
                    <a:pt x="187" y="56"/>
                    <a:pt x="189" y="58"/>
                    <a:pt x="189" y="58"/>
                  </a:cubicBezTo>
                  <a:cubicBezTo>
                    <a:pt x="189" y="62"/>
                    <a:pt x="189" y="62"/>
                    <a:pt x="189" y="62"/>
                  </a:cubicBezTo>
                  <a:cubicBezTo>
                    <a:pt x="189" y="62"/>
                    <a:pt x="190" y="65"/>
                    <a:pt x="190" y="66"/>
                  </a:cubicBezTo>
                  <a:cubicBezTo>
                    <a:pt x="190" y="67"/>
                    <a:pt x="189" y="70"/>
                    <a:pt x="189" y="70"/>
                  </a:cubicBezTo>
                  <a:cubicBezTo>
                    <a:pt x="189" y="70"/>
                    <a:pt x="188" y="72"/>
                    <a:pt x="187" y="73"/>
                  </a:cubicBezTo>
                  <a:cubicBezTo>
                    <a:pt x="186" y="73"/>
                    <a:pt x="181" y="74"/>
                    <a:pt x="181" y="74"/>
                  </a:cubicBezTo>
                  <a:cubicBezTo>
                    <a:pt x="181" y="74"/>
                    <a:pt x="179" y="72"/>
                    <a:pt x="179" y="71"/>
                  </a:cubicBezTo>
                  <a:cubicBezTo>
                    <a:pt x="178" y="69"/>
                    <a:pt x="175" y="69"/>
                    <a:pt x="174" y="68"/>
                  </a:cubicBezTo>
                  <a:cubicBezTo>
                    <a:pt x="174" y="67"/>
                    <a:pt x="175" y="66"/>
                    <a:pt x="173" y="64"/>
                  </a:cubicBezTo>
                  <a:cubicBezTo>
                    <a:pt x="172" y="62"/>
                    <a:pt x="173" y="63"/>
                    <a:pt x="172" y="61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70" y="59"/>
                    <a:pt x="166" y="58"/>
                    <a:pt x="167" y="60"/>
                  </a:cubicBezTo>
                  <a:cubicBezTo>
                    <a:pt x="168" y="63"/>
                    <a:pt x="167" y="65"/>
                    <a:pt x="168" y="65"/>
                  </a:cubicBezTo>
                  <a:cubicBezTo>
                    <a:pt x="169" y="66"/>
                    <a:pt x="170" y="65"/>
                    <a:pt x="171" y="67"/>
                  </a:cubicBezTo>
                  <a:cubicBezTo>
                    <a:pt x="172" y="69"/>
                    <a:pt x="172" y="70"/>
                    <a:pt x="172" y="71"/>
                  </a:cubicBezTo>
                  <a:cubicBezTo>
                    <a:pt x="173" y="71"/>
                    <a:pt x="173" y="74"/>
                    <a:pt x="174" y="75"/>
                  </a:cubicBezTo>
                  <a:cubicBezTo>
                    <a:pt x="175" y="75"/>
                    <a:pt x="178" y="75"/>
                    <a:pt x="178" y="76"/>
                  </a:cubicBezTo>
                  <a:cubicBezTo>
                    <a:pt x="177" y="77"/>
                    <a:pt x="176" y="78"/>
                    <a:pt x="178" y="79"/>
                  </a:cubicBezTo>
                  <a:cubicBezTo>
                    <a:pt x="179" y="79"/>
                    <a:pt x="179" y="80"/>
                    <a:pt x="180" y="80"/>
                  </a:cubicBezTo>
                  <a:cubicBezTo>
                    <a:pt x="181" y="80"/>
                    <a:pt x="181" y="80"/>
                    <a:pt x="182" y="79"/>
                  </a:cubicBezTo>
                  <a:cubicBezTo>
                    <a:pt x="184" y="79"/>
                    <a:pt x="186" y="79"/>
                    <a:pt x="186" y="79"/>
                  </a:cubicBezTo>
                  <a:cubicBezTo>
                    <a:pt x="186" y="79"/>
                    <a:pt x="188" y="80"/>
                    <a:pt x="188" y="81"/>
                  </a:cubicBezTo>
                  <a:cubicBezTo>
                    <a:pt x="188" y="82"/>
                    <a:pt x="187" y="86"/>
                    <a:pt x="187" y="86"/>
                  </a:cubicBezTo>
                  <a:cubicBezTo>
                    <a:pt x="185" y="90"/>
                    <a:pt x="185" y="90"/>
                    <a:pt x="185" y="90"/>
                  </a:cubicBezTo>
                  <a:cubicBezTo>
                    <a:pt x="185" y="90"/>
                    <a:pt x="185" y="97"/>
                    <a:pt x="184" y="97"/>
                  </a:cubicBezTo>
                  <a:cubicBezTo>
                    <a:pt x="183" y="97"/>
                    <a:pt x="182" y="100"/>
                    <a:pt x="181" y="100"/>
                  </a:cubicBezTo>
                  <a:cubicBezTo>
                    <a:pt x="180" y="101"/>
                    <a:pt x="180" y="105"/>
                    <a:pt x="180" y="105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78" y="108"/>
                    <a:pt x="178" y="111"/>
                    <a:pt x="178" y="112"/>
                  </a:cubicBezTo>
                  <a:cubicBezTo>
                    <a:pt x="178" y="113"/>
                    <a:pt x="179" y="117"/>
                    <a:pt x="178" y="119"/>
                  </a:cubicBezTo>
                  <a:cubicBezTo>
                    <a:pt x="178" y="121"/>
                    <a:pt x="175" y="122"/>
                    <a:pt x="175" y="122"/>
                  </a:cubicBezTo>
                  <a:cubicBezTo>
                    <a:pt x="175" y="122"/>
                    <a:pt x="179" y="126"/>
                    <a:pt x="177" y="126"/>
                  </a:cubicBezTo>
                  <a:cubicBezTo>
                    <a:pt x="175" y="127"/>
                    <a:pt x="173" y="129"/>
                    <a:pt x="173" y="130"/>
                  </a:cubicBezTo>
                  <a:cubicBezTo>
                    <a:pt x="172" y="131"/>
                    <a:pt x="172" y="132"/>
                    <a:pt x="171" y="132"/>
                  </a:cubicBezTo>
                  <a:cubicBezTo>
                    <a:pt x="170" y="133"/>
                    <a:pt x="168" y="133"/>
                    <a:pt x="168" y="134"/>
                  </a:cubicBezTo>
                  <a:cubicBezTo>
                    <a:pt x="168" y="134"/>
                    <a:pt x="168" y="137"/>
                    <a:pt x="168" y="137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60" y="146"/>
                    <a:pt x="160" y="149"/>
                    <a:pt x="159" y="149"/>
                  </a:cubicBezTo>
                  <a:cubicBezTo>
                    <a:pt x="158" y="149"/>
                    <a:pt x="153" y="151"/>
                    <a:pt x="152" y="152"/>
                  </a:cubicBezTo>
                  <a:cubicBezTo>
                    <a:pt x="152" y="152"/>
                    <a:pt x="148" y="154"/>
                    <a:pt x="147" y="154"/>
                  </a:cubicBezTo>
                  <a:cubicBezTo>
                    <a:pt x="146" y="154"/>
                    <a:pt x="148" y="157"/>
                    <a:pt x="146" y="154"/>
                  </a:cubicBezTo>
                  <a:cubicBezTo>
                    <a:pt x="144" y="151"/>
                    <a:pt x="145" y="153"/>
                    <a:pt x="144" y="149"/>
                  </a:cubicBezTo>
                  <a:cubicBezTo>
                    <a:pt x="142" y="145"/>
                    <a:pt x="142" y="148"/>
                    <a:pt x="142" y="145"/>
                  </a:cubicBezTo>
                  <a:cubicBezTo>
                    <a:pt x="142" y="143"/>
                    <a:pt x="142" y="145"/>
                    <a:pt x="142" y="143"/>
                  </a:cubicBezTo>
                  <a:cubicBezTo>
                    <a:pt x="142" y="140"/>
                    <a:pt x="143" y="142"/>
                    <a:pt x="141" y="139"/>
                  </a:cubicBezTo>
                  <a:cubicBezTo>
                    <a:pt x="140" y="136"/>
                    <a:pt x="140" y="137"/>
                    <a:pt x="138" y="135"/>
                  </a:cubicBezTo>
                  <a:cubicBezTo>
                    <a:pt x="136" y="133"/>
                    <a:pt x="135" y="135"/>
                    <a:pt x="136" y="132"/>
                  </a:cubicBezTo>
                  <a:cubicBezTo>
                    <a:pt x="137" y="129"/>
                    <a:pt x="137" y="132"/>
                    <a:pt x="137" y="129"/>
                  </a:cubicBezTo>
                  <a:cubicBezTo>
                    <a:pt x="138" y="126"/>
                    <a:pt x="137" y="125"/>
                    <a:pt x="139" y="124"/>
                  </a:cubicBezTo>
                  <a:cubicBezTo>
                    <a:pt x="141" y="123"/>
                    <a:pt x="142" y="122"/>
                    <a:pt x="142" y="121"/>
                  </a:cubicBezTo>
                  <a:cubicBezTo>
                    <a:pt x="142" y="119"/>
                    <a:pt x="142" y="118"/>
                    <a:pt x="142" y="117"/>
                  </a:cubicBezTo>
                  <a:cubicBezTo>
                    <a:pt x="141" y="116"/>
                    <a:pt x="139" y="114"/>
                    <a:pt x="139" y="113"/>
                  </a:cubicBezTo>
                  <a:cubicBezTo>
                    <a:pt x="139" y="112"/>
                    <a:pt x="139" y="113"/>
                    <a:pt x="137" y="111"/>
                  </a:cubicBezTo>
                  <a:cubicBezTo>
                    <a:pt x="136" y="109"/>
                    <a:pt x="135" y="108"/>
                    <a:pt x="135" y="108"/>
                  </a:cubicBezTo>
                  <a:cubicBezTo>
                    <a:pt x="135" y="108"/>
                    <a:pt x="135" y="103"/>
                    <a:pt x="135" y="101"/>
                  </a:cubicBezTo>
                  <a:cubicBezTo>
                    <a:pt x="135" y="99"/>
                    <a:pt x="134" y="102"/>
                    <a:pt x="135" y="99"/>
                  </a:cubicBezTo>
                  <a:cubicBezTo>
                    <a:pt x="135" y="96"/>
                    <a:pt x="135" y="94"/>
                    <a:pt x="135" y="94"/>
                  </a:cubicBezTo>
                  <a:cubicBezTo>
                    <a:pt x="135" y="94"/>
                    <a:pt x="132" y="92"/>
                    <a:pt x="131" y="92"/>
                  </a:cubicBezTo>
                  <a:cubicBezTo>
                    <a:pt x="129" y="92"/>
                    <a:pt x="129" y="94"/>
                    <a:pt x="127" y="93"/>
                  </a:cubicBezTo>
                  <a:cubicBezTo>
                    <a:pt x="125" y="91"/>
                    <a:pt x="126" y="90"/>
                    <a:pt x="125" y="89"/>
                  </a:cubicBezTo>
                  <a:cubicBezTo>
                    <a:pt x="124" y="89"/>
                    <a:pt x="123" y="89"/>
                    <a:pt x="122" y="90"/>
                  </a:cubicBezTo>
                  <a:cubicBezTo>
                    <a:pt x="121" y="91"/>
                    <a:pt x="118" y="91"/>
                    <a:pt x="116" y="91"/>
                  </a:cubicBezTo>
                  <a:cubicBezTo>
                    <a:pt x="114" y="92"/>
                    <a:pt x="113" y="92"/>
                    <a:pt x="110" y="92"/>
                  </a:cubicBezTo>
                  <a:cubicBezTo>
                    <a:pt x="108" y="92"/>
                    <a:pt x="104" y="93"/>
                    <a:pt x="102" y="92"/>
                  </a:cubicBezTo>
                  <a:cubicBezTo>
                    <a:pt x="100" y="91"/>
                    <a:pt x="100" y="92"/>
                    <a:pt x="99" y="90"/>
                  </a:cubicBezTo>
                  <a:cubicBezTo>
                    <a:pt x="98" y="88"/>
                    <a:pt x="99" y="88"/>
                    <a:pt x="97" y="87"/>
                  </a:cubicBezTo>
                  <a:cubicBezTo>
                    <a:pt x="95" y="86"/>
                    <a:pt x="94" y="87"/>
                    <a:pt x="94" y="85"/>
                  </a:cubicBezTo>
                  <a:cubicBezTo>
                    <a:pt x="94" y="82"/>
                    <a:pt x="95" y="83"/>
                    <a:pt x="93" y="81"/>
                  </a:cubicBezTo>
                  <a:cubicBezTo>
                    <a:pt x="92" y="79"/>
                    <a:pt x="94" y="82"/>
                    <a:pt x="92" y="79"/>
                  </a:cubicBezTo>
                  <a:cubicBezTo>
                    <a:pt x="89" y="76"/>
                    <a:pt x="88" y="79"/>
                    <a:pt x="89" y="76"/>
                  </a:cubicBezTo>
                  <a:cubicBezTo>
                    <a:pt x="90" y="74"/>
                    <a:pt x="91" y="75"/>
                    <a:pt x="91" y="73"/>
                  </a:cubicBezTo>
                  <a:cubicBezTo>
                    <a:pt x="91" y="70"/>
                    <a:pt x="95" y="74"/>
                    <a:pt x="92" y="68"/>
                  </a:cubicBezTo>
                  <a:cubicBezTo>
                    <a:pt x="90" y="63"/>
                    <a:pt x="89" y="64"/>
                    <a:pt x="92" y="60"/>
                  </a:cubicBezTo>
                  <a:cubicBezTo>
                    <a:pt x="94" y="55"/>
                    <a:pt x="97" y="54"/>
                    <a:pt x="98" y="53"/>
                  </a:cubicBezTo>
                  <a:cubicBezTo>
                    <a:pt x="98" y="52"/>
                    <a:pt x="99" y="50"/>
                    <a:pt x="100" y="49"/>
                  </a:cubicBezTo>
                  <a:cubicBezTo>
                    <a:pt x="101" y="48"/>
                    <a:pt x="100" y="48"/>
                    <a:pt x="102" y="48"/>
                  </a:cubicBezTo>
                  <a:cubicBezTo>
                    <a:pt x="104" y="48"/>
                    <a:pt x="107" y="47"/>
                    <a:pt x="108" y="46"/>
                  </a:cubicBezTo>
                  <a:cubicBezTo>
                    <a:pt x="109" y="45"/>
                    <a:pt x="111" y="42"/>
                    <a:pt x="112" y="42"/>
                  </a:cubicBezTo>
                  <a:cubicBezTo>
                    <a:pt x="113" y="42"/>
                    <a:pt x="113" y="42"/>
                    <a:pt x="115" y="42"/>
                  </a:cubicBezTo>
                  <a:cubicBezTo>
                    <a:pt x="117" y="41"/>
                    <a:pt x="117" y="41"/>
                    <a:pt x="119" y="41"/>
                  </a:cubicBezTo>
                  <a:cubicBezTo>
                    <a:pt x="120" y="41"/>
                    <a:pt x="117" y="42"/>
                    <a:pt x="121" y="41"/>
                  </a:cubicBezTo>
                  <a:cubicBezTo>
                    <a:pt x="125" y="40"/>
                    <a:pt x="124" y="40"/>
                    <a:pt x="125" y="40"/>
                  </a:cubicBezTo>
                  <a:cubicBezTo>
                    <a:pt x="126" y="40"/>
                    <a:pt x="126" y="41"/>
                    <a:pt x="127" y="41"/>
                  </a:cubicBezTo>
                  <a:cubicBezTo>
                    <a:pt x="129" y="41"/>
                    <a:pt x="129" y="38"/>
                    <a:pt x="129" y="41"/>
                  </a:cubicBezTo>
                  <a:cubicBezTo>
                    <a:pt x="129" y="45"/>
                    <a:pt x="128" y="46"/>
                    <a:pt x="130" y="46"/>
                  </a:cubicBezTo>
                  <a:cubicBezTo>
                    <a:pt x="133" y="47"/>
                    <a:pt x="130" y="47"/>
                    <a:pt x="133" y="47"/>
                  </a:cubicBezTo>
                  <a:cubicBezTo>
                    <a:pt x="136" y="47"/>
                    <a:pt x="135" y="47"/>
                    <a:pt x="137" y="48"/>
                  </a:cubicBezTo>
                  <a:cubicBezTo>
                    <a:pt x="138" y="48"/>
                    <a:pt x="139" y="49"/>
                    <a:pt x="141" y="49"/>
                  </a:cubicBezTo>
                  <a:cubicBezTo>
                    <a:pt x="143" y="49"/>
                    <a:pt x="140" y="52"/>
                    <a:pt x="143" y="49"/>
                  </a:cubicBezTo>
                  <a:cubicBezTo>
                    <a:pt x="146" y="46"/>
                    <a:pt x="141" y="46"/>
                    <a:pt x="146" y="46"/>
                  </a:cubicBezTo>
                  <a:cubicBezTo>
                    <a:pt x="151" y="47"/>
                    <a:pt x="152" y="48"/>
                    <a:pt x="153" y="48"/>
                  </a:cubicBezTo>
                  <a:cubicBezTo>
                    <a:pt x="154" y="47"/>
                    <a:pt x="154" y="48"/>
                    <a:pt x="156" y="47"/>
                  </a:cubicBezTo>
                  <a:cubicBezTo>
                    <a:pt x="159" y="46"/>
                    <a:pt x="159" y="46"/>
                    <a:pt x="160" y="46"/>
                  </a:cubicBezTo>
                  <a:cubicBezTo>
                    <a:pt x="161" y="47"/>
                    <a:pt x="161" y="49"/>
                    <a:pt x="162" y="47"/>
                  </a:cubicBezTo>
                  <a:cubicBezTo>
                    <a:pt x="163" y="45"/>
                    <a:pt x="165" y="45"/>
                    <a:pt x="162" y="44"/>
                  </a:cubicBezTo>
                  <a:cubicBezTo>
                    <a:pt x="159" y="42"/>
                    <a:pt x="158" y="44"/>
                    <a:pt x="158" y="42"/>
                  </a:cubicBezTo>
                  <a:cubicBezTo>
                    <a:pt x="157" y="40"/>
                    <a:pt x="160" y="41"/>
                    <a:pt x="157" y="40"/>
                  </a:cubicBezTo>
                  <a:cubicBezTo>
                    <a:pt x="154" y="40"/>
                    <a:pt x="155" y="40"/>
                    <a:pt x="153" y="39"/>
                  </a:cubicBezTo>
                  <a:cubicBezTo>
                    <a:pt x="151" y="38"/>
                    <a:pt x="149" y="41"/>
                    <a:pt x="148" y="39"/>
                  </a:cubicBezTo>
                  <a:cubicBezTo>
                    <a:pt x="147" y="37"/>
                    <a:pt x="143" y="41"/>
                    <a:pt x="147" y="37"/>
                  </a:cubicBezTo>
                  <a:cubicBezTo>
                    <a:pt x="151" y="34"/>
                    <a:pt x="149" y="32"/>
                    <a:pt x="152" y="33"/>
                  </a:cubicBezTo>
                  <a:cubicBezTo>
                    <a:pt x="155" y="34"/>
                    <a:pt x="154" y="36"/>
                    <a:pt x="155" y="35"/>
                  </a:cubicBezTo>
                  <a:cubicBezTo>
                    <a:pt x="157" y="33"/>
                    <a:pt x="160" y="32"/>
                    <a:pt x="157" y="30"/>
                  </a:cubicBezTo>
                  <a:cubicBezTo>
                    <a:pt x="154" y="28"/>
                    <a:pt x="156" y="29"/>
                    <a:pt x="153" y="28"/>
                  </a:cubicBezTo>
                  <a:cubicBezTo>
                    <a:pt x="150" y="26"/>
                    <a:pt x="147" y="33"/>
                    <a:pt x="146" y="32"/>
                  </a:cubicBezTo>
                  <a:cubicBezTo>
                    <a:pt x="145" y="31"/>
                    <a:pt x="144" y="30"/>
                    <a:pt x="143" y="31"/>
                  </a:cubicBezTo>
                  <a:cubicBezTo>
                    <a:pt x="142" y="31"/>
                    <a:pt x="142" y="34"/>
                    <a:pt x="142" y="36"/>
                  </a:cubicBezTo>
                  <a:cubicBezTo>
                    <a:pt x="142" y="38"/>
                    <a:pt x="143" y="38"/>
                    <a:pt x="140" y="37"/>
                  </a:cubicBezTo>
                  <a:cubicBezTo>
                    <a:pt x="137" y="35"/>
                    <a:pt x="144" y="36"/>
                    <a:pt x="137" y="33"/>
                  </a:cubicBezTo>
                  <a:cubicBezTo>
                    <a:pt x="130" y="31"/>
                    <a:pt x="128" y="31"/>
                    <a:pt x="127" y="32"/>
                  </a:cubicBezTo>
                  <a:cubicBezTo>
                    <a:pt x="126" y="33"/>
                    <a:pt x="125" y="33"/>
                    <a:pt x="124" y="34"/>
                  </a:cubicBezTo>
                  <a:cubicBezTo>
                    <a:pt x="123" y="35"/>
                    <a:pt x="126" y="36"/>
                    <a:pt x="123" y="35"/>
                  </a:cubicBezTo>
                  <a:cubicBezTo>
                    <a:pt x="120" y="33"/>
                    <a:pt x="118" y="35"/>
                    <a:pt x="118" y="35"/>
                  </a:cubicBezTo>
                  <a:cubicBezTo>
                    <a:pt x="118" y="35"/>
                    <a:pt x="117" y="35"/>
                    <a:pt x="116" y="36"/>
                  </a:cubicBezTo>
                  <a:cubicBezTo>
                    <a:pt x="114" y="37"/>
                    <a:pt x="112" y="38"/>
                    <a:pt x="111" y="37"/>
                  </a:cubicBezTo>
                  <a:cubicBezTo>
                    <a:pt x="109" y="37"/>
                    <a:pt x="106" y="38"/>
                    <a:pt x="109" y="34"/>
                  </a:cubicBezTo>
                  <a:cubicBezTo>
                    <a:pt x="111" y="31"/>
                    <a:pt x="109" y="33"/>
                    <a:pt x="113" y="31"/>
                  </a:cubicBezTo>
                  <a:cubicBezTo>
                    <a:pt x="117" y="30"/>
                    <a:pt x="123" y="29"/>
                    <a:pt x="118" y="28"/>
                  </a:cubicBezTo>
                  <a:cubicBezTo>
                    <a:pt x="113" y="27"/>
                    <a:pt x="121" y="27"/>
                    <a:pt x="114" y="24"/>
                  </a:cubicBezTo>
                  <a:cubicBezTo>
                    <a:pt x="107" y="21"/>
                    <a:pt x="107" y="25"/>
                    <a:pt x="107" y="21"/>
                  </a:cubicBezTo>
                  <a:cubicBezTo>
                    <a:pt x="108" y="16"/>
                    <a:pt x="107" y="16"/>
                    <a:pt x="106" y="16"/>
                  </a:cubicBezTo>
                  <a:cubicBezTo>
                    <a:pt x="104" y="16"/>
                    <a:pt x="100" y="17"/>
                    <a:pt x="98" y="18"/>
                  </a:cubicBezTo>
                  <a:cubicBezTo>
                    <a:pt x="97" y="18"/>
                    <a:pt x="99" y="19"/>
                    <a:pt x="96" y="17"/>
                  </a:cubicBezTo>
                  <a:cubicBezTo>
                    <a:pt x="92" y="15"/>
                    <a:pt x="91" y="18"/>
                    <a:pt x="92" y="15"/>
                  </a:cubicBezTo>
                  <a:cubicBezTo>
                    <a:pt x="94" y="13"/>
                    <a:pt x="94" y="12"/>
                    <a:pt x="96" y="11"/>
                  </a:cubicBezTo>
                  <a:cubicBezTo>
                    <a:pt x="98" y="9"/>
                    <a:pt x="97" y="3"/>
                    <a:pt x="102" y="5"/>
                  </a:cubicBezTo>
                  <a:cubicBezTo>
                    <a:pt x="106" y="8"/>
                    <a:pt x="105" y="7"/>
                    <a:pt x="108" y="7"/>
                  </a:cubicBezTo>
                  <a:cubicBezTo>
                    <a:pt x="112" y="7"/>
                    <a:pt x="114" y="7"/>
                    <a:pt x="114" y="6"/>
                  </a:cubicBezTo>
                  <a:cubicBezTo>
                    <a:pt x="114" y="5"/>
                    <a:pt x="109" y="3"/>
                    <a:pt x="109" y="3"/>
                  </a:cubicBezTo>
                  <a:cubicBezTo>
                    <a:pt x="109" y="3"/>
                    <a:pt x="108" y="4"/>
                    <a:pt x="109" y="3"/>
                  </a:cubicBezTo>
                  <a:cubicBezTo>
                    <a:pt x="109" y="2"/>
                    <a:pt x="110" y="1"/>
                    <a:pt x="110" y="1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96" y="0"/>
                    <a:pt x="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7" name="Freeform 36"/>
            <p:cNvSpPr/>
            <p:nvPr/>
          </p:nvSpPr>
          <p:spPr bwMode="auto">
            <a:xfrm>
              <a:off x="8729663" y="4613275"/>
              <a:ext cx="141288" cy="168275"/>
            </a:xfrm>
            <a:custGeom>
              <a:avLst/>
              <a:gdLst>
                <a:gd name="T0" fmla="*/ 45 w 65"/>
                <a:gd name="T1" fmla="*/ 5 h 77"/>
                <a:gd name="T2" fmla="*/ 45 w 65"/>
                <a:gd name="T3" fmla="*/ 28 h 77"/>
                <a:gd name="T4" fmla="*/ 25 w 65"/>
                <a:gd name="T5" fmla="*/ 45 h 77"/>
                <a:gd name="T6" fmla="*/ 1 w 65"/>
                <a:gd name="T7" fmla="*/ 64 h 77"/>
                <a:gd name="T8" fmla="*/ 65 w 65"/>
                <a:gd name="T9" fmla="*/ 77 h 77"/>
                <a:gd name="T10" fmla="*/ 65 w 65"/>
                <a:gd name="T11" fmla="*/ 0 h 77"/>
                <a:gd name="T12" fmla="*/ 45 w 65"/>
                <a:gd name="T13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7">
                  <a:moveTo>
                    <a:pt x="45" y="5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39" y="40"/>
                    <a:pt x="25" y="45"/>
                  </a:cubicBezTo>
                  <a:cubicBezTo>
                    <a:pt x="12" y="49"/>
                    <a:pt x="0" y="56"/>
                    <a:pt x="1" y="64"/>
                  </a:cubicBezTo>
                  <a:cubicBezTo>
                    <a:pt x="2" y="71"/>
                    <a:pt x="18" y="77"/>
                    <a:pt x="65" y="77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4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69" name="Freeform 37"/>
            <p:cNvSpPr/>
            <p:nvPr/>
          </p:nvSpPr>
          <p:spPr bwMode="auto">
            <a:xfrm>
              <a:off x="8855075" y="4613275"/>
              <a:ext cx="134938" cy="168275"/>
            </a:xfrm>
            <a:custGeom>
              <a:avLst/>
              <a:gdLst>
                <a:gd name="T0" fmla="*/ 14 w 62"/>
                <a:gd name="T1" fmla="*/ 5 h 77"/>
                <a:gd name="T2" fmla="*/ 14 w 62"/>
                <a:gd name="T3" fmla="*/ 28 h 77"/>
                <a:gd name="T4" fmla="*/ 32 w 62"/>
                <a:gd name="T5" fmla="*/ 45 h 77"/>
                <a:gd name="T6" fmla="*/ 61 w 62"/>
                <a:gd name="T7" fmla="*/ 64 h 77"/>
                <a:gd name="T8" fmla="*/ 0 w 62"/>
                <a:gd name="T9" fmla="*/ 77 h 77"/>
                <a:gd name="T10" fmla="*/ 0 w 62"/>
                <a:gd name="T11" fmla="*/ 0 h 77"/>
                <a:gd name="T12" fmla="*/ 14 w 62"/>
                <a:gd name="T13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77">
                  <a:moveTo>
                    <a:pt x="14" y="5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9" y="40"/>
                    <a:pt x="32" y="45"/>
                  </a:cubicBezTo>
                  <a:cubicBezTo>
                    <a:pt x="46" y="49"/>
                    <a:pt x="62" y="56"/>
                    <a:pt x="61" y="64"/>
                  </a:cubicBezTo>
                  <a:cubicBezTo>
                    <a:pt x="60" y="71"/>
                    <a:pt x="34" y="77"/>
                    <a:pt x="0" y="7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0" name="Freeform 38"/>
            <p:cNvSpPr/>
            <p:nvPr/>
          </p:nvSpPr>
          <p:spPr bwMode="auto">
            <a:xfrm>
              <a:off x="8618538" y="4127500"/>
              <a:ext cx="500063" cy="503238"/>
            </a:xfrm>
            <a:custGeom>
              <a:avLst/>
              <a:gdLst>
                <a:gd name="T0" fmla="*/ 169 w 230"/>
                <a:gd name="T1" fmla="*/ 12 h 231"/>
                <a:gd name="T2" fmla="*/ 215 w 230"/>
                <a:gd name="T3" fmla="*/ 103 h 231"/>
                <a:gd name="T4" fmla="*/ 102 w 230"/>
                <a:gd name="T5" fmla="*/ 216 h 231"/>
                <a:gd name="T6" fmla="*/ 12 w 230"/>
                <a:gd name="T7" fmla="*/ 171 h 231"/>
                <a:gd name="T8" fmla="*/ 0 w 230"/>
                <a:gd name="T9" fmla="*/ 181 h 231"/>
                <a:gd name="T10" fmla="*/ 102 w 230"/>
                <a:gd name="T11" fmla="*/ 231 h 231"/>
                <a:gd name="T12" fmla="*/ 230 w 230"/>
                <a:gd name="T13" fmla="*/ 103 h 231"/>
                <a:gd name="T14" fmla="*/ 178 w 230"/>
                <a:gd name="T15" fmla="*/ 0 h 231"/>
                <a:gd name="T16" fmla="*/ 169 w 230"/>
                <a:gd name="T17" fmla="*/ 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231">
                  <a:moveTo>
                    <a:pt x="169" y="12"/>
                  </a:moveTo>
                  <a:cubicBezTo>
                    <a:pt x="197" y="32"/>
                    <a:pt x="215" y="65"/>
                    <a:pt x="215" y="103"/>
                  </a:cubicBezTo>
                  <a:cubicBezTo>
                    <a:pt x="215" y="165"/>
                    <a:pt x="165" y="216"/>
                    <a:pt x="102" y="216"/>
                  </a:cubicBezTo>
                  <a:cubicBezTo>
                    <a:pt x="65" y="216"/>
                    <a:pt x="33" y="198"/>
                    <a:pt x="12" y="171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4" y="211"/>
                    <a:pt x="61" y="231"/>
                    <a:pt x="102" y="231"/>
                  </a:cubicBezTo>
                  <a:cubicBezTo>
                    <a:pt x="173" y="231"/>
                    <a:pt x="230" y="174"/>
                    <a:pt x="230" y="103"/>
                  </a:cubicBezTo>
                  <a:cubicBezTo>
                    <a:pt x="230" y="61"/>
                    <a:pt x="210" y="23"/>
                    <a:pt x="178" y="0"/>
                  </a:cubicBezTo>
                  <a:lnTo>
                    <a:pt x="16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1" name="Freeform 39"/>
            <p:cNvSpPr>
              <a:spLocks noEditPoints="1"/>
            </p:cNvSpPr>
            <p:nvPr/>
          </p:nvSpPr>
          <p:spPr bwMode="auto">
            <a:xfrm>
              <a:off x="8621713" y="4137025"/>
              <a:ext cx="442913" cy="441325"/>
            </a:xfrm>
            <a:custGeom>
              <a:avLst/>
              <a:gdLst>
                <a:gd name="T0" fmla="*/ 102 w 203"/>
                <a:gd name="T1" fmla="*/ 203 h 203"/>
                <a:gd name="T2" fmla="*/ 203 w 203"/>
                <a:gd name="T3" fmla="*/ 101 h 203"/>
                <a:gd name="T4" fmla="*/ 102 w 203"/>
                <a:gd name="T5" fmla="*/ 0 h 203"/>
                <a:gd name="T6" fmla="*/ 102 w 203"/>
                <a:gd name="T7" fmla="*/ 5 h 203"/>
                <a:gd name="T8" fmla="*/ 198 w 203"/>
                <a:gd name="T9" fmla="*/ 101 h 203"/>
                <a:gd name="T10" fmla="*/ 102 w 203"/>
                <a:gd name="T11" fmla="*/ 198 h 203"/>
                <a:gd name="T12" fmla="*/ 102 w 203"/>
                <a:gd name="T13" fmla="*/ 203 h 203"/>
                <a:gd name="T14" fmla="*/ 102 w 203"/>
                <a:gd name="T15" fmla="*/ 0 h 203"/>
                <a:gd name="T16" fmla="*/ 0 w 203"/>
                <a:gd name="T17" fmla="*/ 101 h 203"/>
                <a:gd name="T18" fmla="*/ 102 w 203"/>
                <a:gd name="T19" fmla="*/ 203 h 203"/>
                <a:gd name="T20" fmla="*/ 102 w 203"/>
                <a:gd name="T21" fmla="*/ 203 h 203"/>
                <a:gd name="T22" fmla="*/ 102 w 203"/>
                <a:gd name="T23" fmla="*/ 198 h 203"/>
                <a:gd name="T24" fmla="*/ 102 w 203"/>
                <a:gd name="T25" fmla="*/ 198 h 203"/>
                <a:gd name="T26" fmla="*/ 102 w 203"/>
                <a:gd name="T27" fmla="*/ 198 h 203"/>
                <a:gd name="T28" fmla="*/ 5 w 203"/>
                <a:gd name="T29" fmla="*/ 101 h 203"/>
                <a:gd name="T30" fmla="*/ 102 w 203"/>
                <a:gd name="T31" fmla="*/ 5 h 203"/>
                <a:gd name="T32" fmla="*/ 102 w 203"/>
                <a:gd name="T33" fmla="*/ 5 h 203"/>
                <a:gd name="T34" fmla="*/ 102 w 203"/>
                <a:gd name="T35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3" h="203">
                  <a:moveTo>
                    <a:pt x="102" y="203"/>
                  </a:moveTo>
                  <a:cubicBezTo>
                    <a:pt x="158" y="203"/>
                    <a:pt x="203" y="157"/>
                    <a:pt x="203" y="101"/>
                  </a:cubicBezTo>
                  <a:cubicBezTo>
                    <a:pt x="203" y="45"/>
                    <a:pt x="158" y="0"/>
                    <a:pt x="102" y="0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55" y="5"/>
                    <a:pt x="198" y="48"/>
                    <a:pt x="198" y="101"/>
                  </a:cubicBezTo>
                  <a:cubicBezTo>
                    <a:pt x="198" y="155"/>
                    <a:pt x="155" y="198"/>
                    <a:pt x="102" y="198"/>
                  </a:cubicBezTo>
                  <a:lnTo>
                    <a:pt x="102" y="203"/>
                  </a:lnTo>
                  <a:close/>
                  <a:moveTo>
                    <a:pt x="102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3"/>
                    <a:pt x="102" y="203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48" y="198"/>
                    <a:pt x="5" y="155"/>
                    <a:pt x="5" y="101"/>
                  </a:cubicBezTo>
                  <a:cubicBezTo>
                    <a:pt x="5" y="48"/>
                    <a:pt x="48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0"/>
                    <a:pt x="102" y="0"/>
                    <a:pt x="1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72" name="Freeform 40"/>
            <p:cNvSpPr/>
            <p:nvPr/>
          </p:nvSpPr>
          <p:spPr bwMode="auto">
            <a:xfrm>
              <a:off x="8610600" y="4144963"/>
              <a:ext cx="496888" cy="433388"/>
            </a:xfrm>
            <a:custGeom>
              <a:avLst/>
              <a:gdLst>
                <a:gd name="T0" fmla="*/ 65 w 228"/>
                <a:gd name="T1" fmla="*/ 15 h 199"/>
                <a:gd name="T2" fmla="*/ 61 w 228"/>
                <a:gd name="T3" fmla="*/ 23 h 199"/>
                <a:gd name="T4" fmla="*/ 57 w 228"/>
                <a:gd name="T5" fmla="*/ 29 h 199"/>
                <a:gd name="T6" fmla="*/ 54 w 228"/>
                <a:gd name="T7" fmla="*/ 26 h 199"/>
                <a:gd name="T8" fmla="*/ 52 w 228"/>
                <a:gd name="T9" fmla="*/ 32 h 199"/>
                <a:gd name="T10" fmla="*/ 42 w 228"/>
                <a:gd name="T11" fmla="*/ 34 h 199"/>
                <a:gd name="T12" fmla="*/ 36 w 228"/>
                <a:gd name="T13" fmla="*/ 41 h 199"/>
                <a:gd name="T14" fmla="*/ 27 w 228"/>
                <a:gd name="T15" fmla="*/ 53 h 199"/>
                <a:gd name="T16" fmla="*/ 21 w 228"/>
                <a:gd name="T17" fmla="*/ 61 h 199"/>
                <a:gd name="T18" fmla="*/ 27 w 228"/>
                <a:gd name="T19" fmla="*/ 67 h 199"/>
                <a:gd name="T20" fmla="*/ 27 w 228"/>
                <a:gd name="T21" fmla="*/ 70 h 199"/>
                <a:gd name="T22" fmla="*/ 22 w 228"/>
                <a:gd name="T23" fmla="*/ 65 h 199"/>
                <a:gd name="T24" fmla="*/ 18 w 228"/>
                <a:gd name="T25" fmla="*/ 60 h 199"/>
                <a:gd name="T26" fmla="*/ 16 w 228"/>
                <a:gd name="T27" fmla="*/ 69 h 199"/>
                <a:gd name="T28" fmla="*/ 17 w 228"/>
                <a:gd name="T29" fmla="*/ 83 h 199"/>
                <a:gd name="T30" fmla="*/ 24 w 228"/>
                <a:gd name="T31" fmla="*/ 80 h 199"/>
                <a:gd name="T32" fmla="*/ 32 w 228"/>
                <a:gd name="T33" fmla="*/ 88 h 199"/>
                <a:gd name="T34" fmla="*/ 41 w 228"/>
                <a:gd name="T35" fmla="*/ 98 h 199"/>
                <a:gd name="T36" fmla="*/ 50 w 228"/>
                <a:gd name="T37" fmla="*/ 105 h 199"/>
                <a:gd name="T38" fmla="*/ 61 w 228"/>
                <a:gd name="T39" fmla="*/ 117 h 199"/>
                <a:gd name="T40" fmla="*/ 58 w 228"/>
                <a:gd name="T41" fmla="*/ 134 h 199"/>
                <a:gd name="T42" fmla="*/ 49 w 228"/>
                <a:gd name="T43" fmla="*/ 155 h 199"/>
                <a:gd name="T44" fmla="*/ 52 w 228"/>
                <a:gd name="T45" fmla="*/ 170 h 199"/>
                <a:gd name="T46" fmla="*/ 46 w 228"/>
                <a:gd name="T47" fmla="*/ 171 h 199"/>
                <a:gd name="T48" fmla="*/ 32 w 228"/>
                <a:gd name="T49" fmla="*/ 148 h 199"/>
                <a:gd name="T50" fmla="*/ 16 w 228"/>
                <a:gd name="T51" fmla="*/ 113 h 199"/>
                <a:gd name="T52" fmla="*/ 11 w 228"/>
                <a:gd name="T53" fmla="*/ 87 h 199"/>
                <a:gd name="T54" fmla="*/ 73 w 228"/>
                <a:gd name="T55" fmla="*/ 183 h 199"/>
                <a:gd name="T56" fmla="*/ 89 w 228"/>
                <a:gd name="T57" fmla="*/ 181 h 199"/>
                <a:gd name="T58" fmla="*/ 110 w 228"/>
                <a:gd name="T59" fmla="*/ 178 h 199"/>
                <a:gd name="T60" fmla="*/ 108 w 228"/>
                <a:gd name="T61" fmla="*/ 187 h 199"/>
                <a:gd name="T62" fmla="*/ 121 w 228"/>
                <a:gd name="T63" fmla="*/ 186 h 199"/>
                <a:gd name="T64" fmla="*/ 139 w 228"/>
                <a:gd name="T65" fmla="*/ 184 h 199"/>
                <a:gd name="T66" fmla="*/ 137 w 228"/>
                <a:gd name="T67" fmla="*/ 3 h 199"/>
                <a:gd name="T68" fmla="*/ 197 w 228"/>
                <a:gd name="T69" fmla="*/ 64 h 199"/>
                <a:gd name="T70" fmla="*/ 189 w 228"/>
                <a:gd name="T71" fmla="*/ 58 h 199"/>
                <a:gd name="T72" fmla="*/ 181 w 228"/>
                <a:gd name="T73" fmla="*/ 74 h 199"/>
                <a:gd name="T74" fmla="*/ 170 w 228"/>
                <a:gd name="T75" fmla="*/ 59 h 199"/>
                <a:gd name="T76" fmla="*/ 174 w 228"/>
                <a:gd name="T77" fmla="*/ 75 h 199"/>
                <a:gd name="T78" fmla="*/ 186 w 228"/>
                <a:gd name="T79" fmla="*/ 79 h 199"/>
                <a:gd name="T80" fmla="*/ 181 w 228"/>
                <a:gd name="T81" fmla="*/ 100 h 199"/>
                <a:gd name="T82" fmla="*/ 175 w 228"/>
                <a:gd name="T83" fmla="*/ 122 h 199"/>
                <a:gd name="T84" fmla="*/ 168 w 228"/>
                <a:gd name="T85" fmla="*/ 137 h 199"/>
                <a:gd name="T86" fmla="*/ 147 w 228"/>
                <a:gd name="T87" fmla="*/ 154 h 199"/>
                <a:gd name="T88" fmla="*/ 141 w 228"/>
                <a:gd name="T89" fmla="*/ 139 h 199"/>
                <a:gd name="T90" fmla="*/ 142 w 228"/>
                <a:gd name="T91" fmla="*/ 121 h 199"/>
                <a:gd name="T92" fmla="*/ 135 w 228"/>
                <a:gd name="T93" fmla="*/ 101 h 199"/>
                <a:gd name="T94" fmla="*/ 125 w 228"/>
                <a:gd name="T95" fmla="*/ 89 h 199"/>
                <a:gd name="T96" fmla="*/ 99 w 228"/>
                <a:gd name="T97" fmla="*/ 90 h 199"/>
                <a:gd name="T98" fmla="*/ 89 w 228"/>
                <a:gd name="T99" fmla="*/ 76 h 199"/>
                <a:gd name="T100" fmla="*/ 100 w 228"/>
                <a:gd name="T101" fmla="*/ 49 h 199"/>
                <a:gd name="T102" fmla="*/ 119 w 228"/>
                <a:gd name="T103" fmla="*/ 41 h 199"/>
                <a:gd name="T104" fmla="*/ 130 w 228"/>
                <a:gd name="T105" fmla="*/ 46 h 199"/>
                <a:gd name="T106" fmla="*/ 146 w 228"/>
                <a:gd name="T107" fmla="*/ 46 h 199"/>
                <a:gd name="T108" fmla="*/ 162 w 228"/>
                <a:gd name="T109" fmla="*/ 44 h 199"/>
                <a:gd name="T110" fmla="*/ 147 w 228"/>
                <a:gd name="T111" fmla="*/ 37 h 199"/>
                <a:gd name="T112" fmla="*/ 146 w 228"/>
                <a:gd name="T113" fmla="*/ 32 h 199"/>
                <a:gd name="T114" fmla="*/ 127 w 228"/>
                <a:gd name="T115" fmla="*/ 32 h 199"/>
                <a:gd name="T116" fmla="*/ 111 w 228"/>
                <a:gd name="T117" fmla="*/ 37 h 199"/>
                <a:gd name="T118" fmla="*/ 107 w 228"/>
                <a:gd name="T119" fmla="*/ 21 h 199"/>
                <a:gd name="T120" fmla="*/ 96 w 228"/>
                <a:gd name="T121" fmla="*/ 11 h 199"/>
                <a:gd name="T122" fmla="*/ 109 w 228"/>
                <a:gd name="T123" fmla="*/ 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" h="199">
                  <a:moveTo>
                    <a:pt x="92" y="0"/>
                  </a:moveTo>
                  <a:cubicBezTo>
                    <a:pt x="92" y="0"/>
                    <a:pt x="58" y="5"/>
                    <a:pt x="35" y="31"/>
                  </a:cubicBezTo>
                  <a:cubicBezTo>
                    <a:pt x="35" y="31"/>
                    <a:pt x="53" y="13"/>
                    <a:pt x="64" y="13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5"/>
                    <a:pt x="65" y="15"/>
                  </a:cubicBezTo>
                  <a:cubicBezTo>
                    <a:pt x="65" y="16"/>
                    <a:pt x="64" y="17"/>
                    <a:pt x="64" y="18"/>
                  </a:cubicBezTo>
                  <a:cubicBezTo>
                    <a:pt x="64" y="18"/>
                    <a:pt x="64" y="20"/>
                    <a:pt x="64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1"/>
                    <a:pt x="62" y="22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61" y="24"/>
                    <a:pt x="61" y="25"/>
                    <a:pt x="61" y="25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58" y="29"/>
                    <a:pt x="57" y="29"/>
                  </a:cubicBezTo>
                  <a:cubicBezTo>
                    <a:pt x="56" y="29"/>
                    <a:pt x="56" y="27"/>
                    <a:pt x="56" y="27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5"/>
                  </a:cubicBezTo>
                  <a:cubicBezTo>
                    <a:pt x="57" y="25"/>
                    <a:pt x="57" y="24"/>
                    <a:pt x="56" y="24"/>
                  </a:cubicBezTo>
                  <a:cubicBezTo>
                    <a:pt x="55" y="24"/>
                    <a:pt x="54" y="26"/>
                    <a:pt x="54" y="26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1" y="29"/>
                    <a:pt x="51" y="29"/>
                  </a:cubicBezTo>
                  <a:cubicBezTo>
                    <a:pt x="52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1"/>
                  </a:cubicBezTo>
                  <a:cubicBezTo>
                    <a:pt x="53" y="31"/>
                    <a:pt x="52" y="32"/>
                    <a:pt x="52" y="32"/>
                  </a:cubicBezTo>
                  <a:cubicBezTo>
                    <a:pt x="52" y="32"/>
                    <a:pt x="52" y="33"/>
                    <a:pt x="51" y="33"/>
                  </a:cubicBezTo>
                  <a:cubicBezTo>
                    <a:pt x="50" y="32"/>
                    <a:pt x="49" y="32"/>
                    <a:pt x="48" y="32"/>
                  </a:cubicBezTo>
                  <a:cubicBezTo>
                    <a:pt x="47" y="32"/>
                    <a:pt x="46" y="31"/>
                    <a:pt x="46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2" y="34"/>
                    <a:pt x="42" y="34"/>
                  </a:cubicBezTo>
                  <a:cubicBezTo>
                    <a:pt x="42" y="34"/>
                    <a:pt x="41" y="35"/>
                    <a:pt x="41" y="35"/>
                  </a:cubicBezTo>
                  <a:cubicBezTo>
                    <a:pt x="41" y="35"/>
                    <a:pt x="41" y="37"/>
                    <a:pt x="41" y="37"/>
                  </a:cubicBezTo>
                  <a:cubicBezTo>
                    <a:pt x="41" y="37"/>
                    <a:pt x="40" y="38"/>
                    <a:pt x="38" y="38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1"/>
                    <a:pt x="34" y="42"/>
                    <a:pt x="34" y="43"/>
                  </a:cubicBezTo>
                  <a:cubicBezTo>
                    <a:pt x="33" y="44"/>
                    <a:pt x="30" y="46"/>
                    <a:pt x="30" y="46"/>
                  </a:cubicBezTo>
                  <a:cubicBezTo>
                    <a:pt x="30" y="46"/>
                    <a:pt x="29" y="47"/>
                    <a:pt x="28" y="48"/>
                  </a:cubicBezTo>
                  <a:cubicBezTo>
                    <a:pt x="28" y="49"/>
                    <a:pt x="28" y="50"/>
                    <a:pt x="28" y="51"/>
                  </a:cubicBezTo>
                  <a:cubicBezTo>
                    <a:pt x="28" y="51"/>
                    <a:pt x="27" y="52"/>
                    <a:pt x="27" y="53"/>
                  </a:cubicBezTo>
                  <a:cubicBezTo>
                    <a:pt x="27" y="54"/>
                    <a:pt x="26" y="55"/>
                    <a:pt x="26" y="56"/>
                  </a:cubicBezTo>
                  <a:cubicBezTo>
                    <a:pt x="25" y="56"/>
                    <a:pt x="25" y="57"/>
                    <a:pt x="24" y="57"/>
                  </a:cubicBezTo>
                  <a:cubicBezTo>
                    <a:pt x="24" y="57"/>
                    <a:pt x="22" y="58"/>
                    <a:pt x="21" y="58"/>
                  </a:cubicBezTo>
                  <a:cubicBezTo>
                    <a:pt x="20" y="59"/>
                    <a:pt x="20" y="60"/>
                    <a:pt x="20" y="60"/>
                  </a:cubicBezTo>
                  <a:cubicBezTo>
                    <a:pt x="20" y="60"/>
                    <a:pt x="21" y="61"/>
                    <a:pt x="21" y="61"/>
                  </a:cubicBezTo>
                  <a:cubicBezTo>
                    <a:pt x="22" y="61"/>
                    <a:pt x="23" y="62"/>
                    <a:pt x="23" y="62"/>
                  </a:cubicBezTo>
                  <a:cubicBezTo>
                    <a:pt x="23" y="62"/>
                    <a:pt x="23" y="63"/>
                    <a:pt x="23" y="64"/>
                  </a:cubicBezTo>
                  <a:cubicBezTo>
                    <a:pt x="23" y="64"/>
                    <a:pt x="22" y="66"/>
                    <a:pt x="23" y="66"/>
                  </a:cubicBezTo>
                  <a:cubicBezTo>
                    <a:pt x="24" y="66"/>
                    <a:pt x="25" y="66"/>
                    <a:pt x="25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7" y="71"/>
                    <a:pt x="27" y="71"/>
                    <a:pt x="27" y="70"/>
                  </a:cubicBezTo>
                  <a:cubicBezTo>
                    <a:pt x="27" y="69"/>
                    <a:pt x="27" y="69"/>
                    <a:pt x="26" y="68"/>
                  </a:cubicBezTo>
                  <a:cubicBezTo>
                    <a:pt x="25" y="68"/>
                    <a:pt x="24" y="69"/>
                    <a:pt x="24" y="69"/>
                  </a:cubicBezTo>
                  <a:cubicBezTo>
                    <a:pt x="24" y="69"/>
                    <a:pt x="23" y="69"/>
                    <a:pt x="23" y="68"/>
                  </a:cubicBezTo>
                  <a:cubicBezTo>
                    <a:pt x="22" y="67"/>
                    <a:pt x="22" y="68"/>
                    <a:pt x="22" y="67"/>
                  </a:cubicBezTo>
                  <a:cubicBezTo>
                    <a:pt x="22" y="66"/>
                    <a:pt x="23" y="66"/>
                    <a:pt x="22" y="65"/>
                  </a:cubicBezTo>
                  <a:cubicBezTo>
                    <a:pt x="22" y="65"/>
                    <a:pt x="21" y="64"/>
                    <a:pt x="21" y="64"/>
                  </a:cubicBezTo>
                  <a:cubicBezTo>
                    <a:pt x="20" y="64"/>
                    <a:pt x="21" y="65"/>
                    <a:pt x="20" y="64"/>
                  </a:cubicBezTo>
                  <a:cubicBezTo>
                    <a:pt x="20" y="63"/>
                    <a:pt x="19" y="63"/>
                    <a:pt x="19" y="63"/>
                  </a:cubicBezTo>
                  <a:cubicBezTo>
                    <a:pt x="19" y="63"/>
                    <a:pt x="18" y="63"/>
                    <a:pt x="18" y="62"/>
                  </a:cubicBezTo>
                  <a:cubicBezTo>
                    <a:pt x="18" y="62"/>
                    <a:pt x="18" y="61"/>
                    <a:pt x="18" y="60"/>
                  </a:cubicBezTo>
                  <a:cubicBezTo>
                    <a:pt x="18" y="60"/>
                    <a:pt x="19" y="59"/>
                    <a:pt x="19" y="58"/>
                  </a:cubicBezTo>
                  <a:cubicBezTo>
                    <a:pt x="19" y="58"/>
                    <a:pt x="19" y="55"/>
                    <a:pt x="19" y="55"/>
                  </a:cubicBezTo>
                  <a:cubicBezTo>
                    <a:pt x="19" y="55"/>
                    <a:pt x="16" y="61"/>
                    <a:pt x="15" y="66"/>
                  </a:cubicBezTo>
                  <a:cubicBezTo>
                    <a:pt x="15" y="66"/>
                    <a:pt x="16" y="65"/>
                    <a:pt x="16" y="66"/>
                  </a:cubicBezTo>
                  <a:cubicBezTo>
                    <a:pt x="16" y="67"/>
                    <a:pt x="17" y="68"/>
                    <a:pt x="16" y="69"/>
                  </a:cubicBezTo>
                  <a:cubicBezTo>
                    <a:pt x="16" y="69"/>
                    <a:pt x="16" y="69"/>
                    <a:pt x="16" y="72"/>
                  </a:cubicBezTo>
                  <a:cubicBezTo>
                    <a:pt x="16" y="74"/>
                    <a:pt x="17" y="75"/>
                    <a:pt x="17" y="76"/>
                  </a:cubicBezTo>
                  <a:cubicBezTo>
                    <a:pt x="16" y="76"/>
                    <a:pt x="16" y="77"/>
                    <a:pt x="16" y="78"/>
                  </a:cubicBezTo>
                  <a:cubicBezTo>
                    <a:pt x="16" y="79"/>
                    <a:pt x="16" y="82"/>
                    <a:pt x="17" y="82"/>
                  </a:cubicBezTo>
                  <a:cubicBezTo>
                    <a:pt x="17" y="82"/>
                    <a:pt x="17" y="83"/>
                    <a:pt x="17" y="83"/>
                  </a:cubicBezTo>
                  <a:cubicBezTo>
                    <a:pt x="18" y="84"/>
                    <a:pt x="17" y="85"/>
                    <a:pt x="18" y="84"/>
                  </a:cubicBezTo>
                  <a:cubicBezTo>
                    <a:pt x="19" y="82"/>
                    <a:pt x="20" y="81"/>
                    <a:pt x="20" y="81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79"/>
                    <a:pt x="22" y="79"/>
                  </a:cubicBezTo>
                  <a:cubicBezTo>
                    <a:pt x="23" y="79"/>
                    <a:pt x="24" y="79"/>
                    <a:pt x="24" y="80"/>
                  </a:cubicBezTo>
                  <a:cubicBezTo>
                    <a:pt x="25" y="80"/>
                    <a:pt x="23" y="82"/>
                    <a:pt x="24" y="82"/>
                  </a:cubicBezTo>
                  <a:cubicBezTo>
                    <a:pt x="25" y="82"/>
                    <a:pt x="27" y="81"/>
                    <a:pt x="28" y="81"/>
                  </a:cubicBezTo>
                  <a:cubicBezTo>
                    <a:pt x="29" y="81"/>
                    <a:pt x="29" y="82"/>
                    <a:pt x="30" y="83"/>
                  </a:cubicBezTo>
                  <a:cubicBezTo>
                    <a:pt x="30" y="84"/>
                    <a:pt x="30" y="85"/>
                    <a:pt x="31" y="86"/>
                  </a:cubicBezTo>
                  <a:cubicBezTo>
                    <a:pt x="32" y="86"/>
                    <a:pt x="31" y="87"/>
                    <a:pt x="32" y="88"/>
                  </a:cubicBezTo>
                  <a:cubicBezTo>
                    <a:pt x="32" y="89"/>
                    <a:pt x="34" y="90"/>
                    <a:pt x="35" y="90"/>
                  </a:cubicBezTo>
                  <a:cubicBezTo>
                    <a:pt x="35" y="90"/>
                    <a:pt x="37" y="90"/>
                    <a:pt x="38" y="90"/>
                  </a:cubicBezTo>
                  <a:cubicBezTo>
                    <a:pt x="39" y="91"/>
                    <a:pt x="38" y="92"/>
                    <a:pt x="39" y="92"/>
                  </a:cubicBezTo>
                  <a:cubicBezTo>
                    <a:pt x="40" y="92"/>
                    <a:pt x="41" y="95"/>
                    <a:pt x="41" y="95"/>
                  </a:cubicBezTo>
                  <a:cubicBezTo>
                    <a:pt x="41" y="95"/>
                    <a:pt x="41" y="97"/>
                    <a:pt x="41" y="98"/>
                  </a:cubicBezTo>
                  <a:cubicBezTo>
                    <a:pt x="41" y="98"/>
                    <a:pt x="41" y="99"/>
                    <a:pt x="42" y="100"/>
                  </a:cubicBezTo>
                  <a:cubicBezTo>
                    <a:pt x="42" y="100"/>
                    <a:pt x="44" y="100"/>
                    <a:pt x="44" y="100"/>
                  </a:cubicBezTo>
                  <a:cubicBezTo>
                    <a:pt x="44" y="100"/>
                    <a:pt x="43" y="102"/>
                    <a:pt x="45" y="102"/>
                  </a:cubicBezTo>
                  <a:cubicBezTo>
                    <a:pt x="47" y="103"/>
                    <a:pt x="48" y="103"/>
                    <a:pt x="49" y="104"/>
                  </a:cubicBezTo>
                  <a:cubicBezTo>
                    <a:pt x="49" y="104"/>
                    <a:pt x="48" y="105"/>
                    <a:pt x="50" y="105"/>
                  </a:cubicBezTo>
                  <a:cubicBezTo>
                    <a:pt x="52" y="105"/>
                    <a:pt x="54" y="105"/>
                    <a:pt x="55" y="106"/>
                  </a:cubicBezTo>
                  <a:cubicBezTo>
                    <a:pt x="56" y="106"/>
                    <a:pt x="55" y="107"/>
                    <a:pt x="57" y="109"/>
                  </a:cubicBezTo>
                  <a:cubicBezTo>
                    <a:pt x="60" y="110"/>
                    <a:pt x="60" y="111"/>
                    <a:pt x="61" y="111"/>
                  </a:cubicBezTo>
                  <a:cubicBezTo>
                    <a:pt x="62" y="111"/>
                    <a:pt x="63" y="111"/>
                    <a:pt x="63" y="113"/>
                  </a:cubicBezTo>
                  <a:cubicBezTo>
                    <a:pt x="62" y="115"/>
                    <a:pt x="62" y="116"/>
                    <a:pt x="61" y="117"/>
                  </a:cubicBezTo>
                  <a:cubicBezTo>
                    <a:pt x="60" y="118"/>
                    <a:pt x="59" y="120"/>
                    <a:pt x="58" y="121"/>
                  </a:cubicBezTo>
                  <a:cubicBezTo>
                    <a:pt x="58" y="122"/>
                    <a:pt x="57" y="123"/>
                    <a:pt x="58" y="124"/>
                  </a:cubicBezTo>
                  <a:cubicBezTo>
                    <a:pt x="58" y="126"/>
                    <a:pt x="59" y="127"/>
                    <a:pt x="59" y="128"/>
                  </a:cubicBezTo>
                  <a:cubicBezTo>
                    <a:pt x="59" y="129"/>
                    <a:pt x="59" y="131"/>
                    <a:pt x="59" y="132"/>
                  </a:cubicBezTo>
                  <a:cubicBezTo>
                    <a:pt x="58" y="133"/>
                    <a:pt x="58" y="134"/>
                    <a:pt x="58" y="134"/>
                  </a:cubicBezTo>
                  <a:cubicBezTo>
                    <a:pt x="58" y="134"/>
                    <a:pt x="59" y="136"/>
                    <a:pt x="58" y="137"/>
                  </a:cubicBezTo>
                  <a:cubicBezTo>
                    <a:pt x="57" y="138"/>
                    <a:pt x="55" y="140"/>
                    <a:pt x="54" y="140"/>
                  </a:cubicBezTo>
                  <a:cubicBezTo>
                    <a:pt x="53" y="140"/>
                    <a:pt x="51" y="142"/>
                    <a:pt x="51" y="142"/>
                  </a:cubicBezTo>
                  <a:cubicBezTo>
                    <a:pt x="51" y="142"/>
                    <a:pt x="51" y="146"/>
                    <a:pt x="51" y="147"/>
                  </a:cubicBezTo>
                  <a:cubicBezTo>
                    <a:pt x="51" y="147"/>
                    <a:pt x="47" y="154"/>
                    <a:pt x="49" y="155"/>
                  </a:cubicBezTo>
                  <a:cubicBezTo>
                    <a:pt x="50" y="156"/>
                    <a:pt x="50" y="158"/>
                    <a:pt x="50" y="159"/>
                  </a:cubicBezTo>
                  <a:cubicBezTo>
                    <a:pt x="49" y="160"/>
                    <a:pt x="49" y="160"/>
                    <a:pt x="49" y="160"/>
                  </a:cubicBezTo>
                  <a:cubicBezTo>
                    <a:pt x="48" y="161"/>
                    <a:pt x="46" y="161"/>
                    <a:pt x="47" y="163"/>
                  </a:cubicBezTo>
                  <a:cubicBezTo>
                    <a:pt x="49" y="165"/>
                    <a:pt x="50" y="165"/>
                    <a:pt x="50" y="167"/>
                  </a:cubicBezTo>
                  <a:cubicBezTo>
                    <a:pt x="51" y="168"/>
                    <a:pt x="51" y="168"/>
                    <a:pt x="52" y="170"/>
                  </a:cubicBezTo>
                  <a:cubicBezTo>
                    <a:pt x="53" y="171"/>
                    <a:pt x="53" y="172"/>
                    <a:pt x="54" y="173"/>
                  </a:cubicBezTo>
                  <a:cubicBezTo>
                    <a:pt x="55" y="174"/>
                    <a:pt x="56" y="175"/>
                    <a:pt x="56" y="176"/>
                  </a:cubicBezTo>
                  <a:cubicBezTo>
                    <a:pt x="56" y="177"/>
                    <a:pt x="59" y="179"/>
                    <a:pt x="56" y="177"/>
                  </a:cubicBezTo>
                  <a:cubicBezTo>
                    <a:pt x="53" y="175"/>
                    <a:pt x="56" y="177"/>
                    <a:pt x="52" y="174"/>
                  </a:cubicBezTo>
                  <a:cubicBezTo>
                    <a:pt x="49" y="171"/>
                    <a:pt x="48" y="173"/>
                    <a:pt x="46" y="171"/>
                  </a:cubicBezTo>
                  <a:cubicBezTo>
                    <a:pt x="45" y="169"/>
                    <a:pt x="47" y="175"/>
                    <a:pt x="44" y="168"/>
                  </a:cubicBezTo>
                  <a:cubicBezTo>
                    <a:pt x="41" y="160"/>
                    <a:pt x="40" y="161"/>
                    <a:pt x="39" y="159"/>
                  </a:cubicBezTo>
                  <a:cubicBezTo>
                    <a:pt x="39" y="157"/>
                    <a:pt x="39" y="159"/>
                    <a:pt x="37" y="155"/>
                  </a:cubicBezTo>
                  <a:cubicBezTo>
                    <a:pt x="35" y="151"/>
                    <a:pt x="37" y="154"/>
                    <a:pt x="35" y="151"/>
                  </a:cubicBezTo>
                  <a:cubicBezTo>
                    <a:pt x="33" y="149"/>
                    <a:pt x="33" y="152"/>
                    <a:pt x="32" y="148"/>
                  </a:cubicBezTo>
                  <a:cubicBezTo>
                    <a:pt x="31" y="143"/>
                    <a:pt x="31" y="146"/>
                    <a:pt x="30" y="141"/>
                  </a:cubicBezTo>
                  <a:cubicBezTo>
                    <a:pt x="28" y="136"/>
                    <a:pt x="31" y="136"/>
                    <a:pt x="28" y="133"/>
                  </a:cubicBezTo>
                  <a:cubicBezTo>
                    <a:pt x="25" y="131"/>
                    <a:pt x="25" y="132"/>
                    <a:pt x="24" y="131"/>
                  </a:cubicBezTo>
                  <a:cubicBezTo>
                    <a:pt x="23" y="129"/>
                    <a:pt x="25" y="130"/>
                    <a:pt x="22" y="126"/>
                  </a:cubicBezTo>
                  <a:cubicBezTo>
                    <a:pt x="20" y="122"/>
                    <a:pt x="16" y="120"/>
                    <a:pt x="16" y="113"/>
                  </a:cubicBezTo>
                  <a:cubicBezTo>
                    <a:pt x="16" y="105"/>
                    <a:pt x="16" y="104"/>
                    <a:pt x="16" y="104"/>
                  </a:cubicBezTo>
                  <a:cubicBezTo>
                    <a:pt x="16" y="104"/>
                    <a:pt x="13" y="101"/>
                    <a:pt x="14" y="97"/>
                  </a:cubicBezTo>
                  <a:cubicBezTo>
                    <a:pt x="15" y="92"/>
                    <a:pt x="16" y="94"/>
                    <a:pt x="15" y="92"/>
                  </a:cubicBezTo>
                  <a:cubicBezTo>
                    <a:pt x="15" y="91"/>
                    <a:pt x="14" y="91"/>
                    <a:pt x="13" y="89"/>
                  </a:cubicBezTo>
                  <a:cubicBezTo>
                    <a:pt x="12" y="88"/>
                    <a:pt x="12" y="88"/>
                    <a:pt x="11" y="87"/>
                  </a:cubicBezTo>
                  <a:cubicBezTo>
                    <a:pt x="11" y="86"/>
                    <a:pt x="11" y="83"/>
                    <a:pt x="11" y="83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0" y="182"/>
                    <a:pt x="97" y="197"/>
                  </a:cubicBezTo>
                  <a:cubicBezTo>
                    <a:pt x="97" y="197"/>
                    <a:pt x="75" y="192"/>
                    <a:pt x="73" y="187"/>
                  </a:cubicBezTo>
                  <a:cubicBezTo>
                    <a:pt x="73" y="187"/>
                    <a:pt x="72" y="183"/>
                    <a:pt x="73" y="183"/>
                  </a:cubicBezTo>
                  <a:cubicBezTo>
                    <a:pt x="74" y="183"/>
                    <a:pt x="76" y="184"/>
                    <a:pt x="77" y="183"/>
                  </a:cubicBezTo>
                  <a:cubicBezTo>
                    <a:pt x="79" y="181"/>
                    <a:pt x="80" y="180"/>
                    <a:pt x="80" y="180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0" y="182"/>
                    <a:pt x="79" y="182"/>
                    <a:pt x="83" y="181"/>
                  </a:cubicBezTo>
                  <a:cubicBezTo>
                    <a:pt x="88" y="181"/>
                    <a:pt x="88" y="181"/>
                    <a:pt x="89" y="181"/>
                  </a:cubicBezTo>
                  <a:cubicBezTo>
                    <a:pt x="91" y="180"/>
                    <a:pt x="93" y="176"/>
                    <a:pt x="94" y="178"/>
                  </a:cubicBezTo>
                  <a:cubicBezTo>
                    <a:pt x="95" y="181"/>
                    <a:pt x="93" y="180"/>
                    <a:pt x="95" y="181"/>
                  </a:cubicBezTo>
                  <a:cubicBezTo>
                    <a:pt x="97" y="181"/>
                    <a:pt x="101" y="180"/>
                    <a:pt x="101" y="180"/>
                  </a:cubicBezTo>
                  <a:cubicBezTo>
                    <a:pt x="101" y="180"/>
                    <a:pt x="108" y="181"/>
                    <a:pt x="108" y="180"/>
                  </a:cubicBezTo>
                  <a:cubicBezTo>
                    <a:pt x="109" y="179"/>
                    <a:pt x="109" y="178"/>
                    <a:pt x="110" y="178"/>
                  </a:cubicBezTo>
                  <a:cubicBezTo>
                    <a:pt x="111" y="178"/>
                    <a:pt x="112" y="180"/>
                    <a:pt x="112" y="180"/>
                  </a:cubicBezTo>
                  <a:cubicBezTo>
                    <a:pt x="108" y="182"/>
                    <a:pt x="108" y="182"/>
                    <a:pt x="108" y="182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5" y="185"/>
                    <a:pt x="103" y="185"/>
                    <a:pt x="105" y="186"/>
                  </a:cubicBezTo>
                  <a:cubicBezTo>
                    <a:pt x="106" y="187"/>
                    <a:pt x="107" y="187"/>
                    <a:pt x="108" y="187"/>
                  </a:cubicBezTo>
                  <a:cubicBezTo>
                    <a:pt x="110" y="187"/>
                    <a:pt x="114" y="190"/>
                    <a:pt x="115" y="188"/>
                  </a:cubicBezTo>
                  <a:cubicBezTo>
                    <a:pt x="116" y="186"/>
                    <a:pt x="116" y="186"/>
                    <a:pt x="117" y="185"/>
                  </a:cubicBezTo>
                  <a:cubicBezTo>
                    <a:pt x="117" y="184"/>
                    <a:pt x="117" y="182"/>
                    <a:pt x="119" y="182"/>
                  </a:cubicBezTo>
                  <a:cubicBezTo>
                    <a:pt x="120" y="182"/>
                    <a:pt x="122" y="183"/>
                    <a:pt x="122" y="183"/>
                  </a:cubicBezTo>
                  <a:cubicBezTo>
                    <a:pt x="121" y="186"/>
                    <a:pt x="121" y="186"/>
                    <a:pt x="121" y="186"/>
                  </a:cubicBezTo>
                  <a:cubicBezTo>
                    <a:pt x="121" y="186"/>
                    <a:pt x="123" y="186"/>
                    <a:pt x="125" y="186"/>
                  </a:cubicBezTo>
                  <a:cubicBezTo>
                    <a:pt x="126" y="186"/>
                    <a:pt x="126" y="188"/>
                    <a:pt x="128" y="186"/>
                  </a:cubicBezTo>
                  <a:cubicBezTo>
                    <a:pt x="129" y="184"/>
                    <a:pt x="129" y="184"/>
                    <a:pt x="131" y="184"/>
                  </a:cubicBezTo>
                  <a:cubicBezTo>
                    <a:pt x="133" y="184"/>
                    <a:pt x="135" y="183"/>
                    <a:pt x="136" y="183"/>
                  </a:cubicBezTo>
                  <a:cubicBezTo>
                    <a:pt x="136" y="184"/>
                    <a:pt x="138" y="184"/>
                    <a:pt x="139" y="184"/>
                  </a:cubicBezTo>
                  <a:cubicBezTo>
                    <a:pt x="139" y="184"/>
                    <a:pt x="143" y="186"/>
                    <a:pt x="143" y="186"/>
                  </a:cubicBezTo>
                  <a:cubicBezTo>
                    <a:pt x="144" y="185"/>
                    <a:pt x="148" y="186"/>
                    <a:pt x="148" y="186"/>
                  </a:cubicBezTo>
                  <a:cubicBezTo>
                    <a:pt x="148" y="186"/>
                    <a:pt x="137" y="196"/>
                    <a:pt x="113" y="197"/>
                  </a:cubicBezTo>
                  <a:cubicBezTo>
                    <a:pt x="113" y="197"/>
                    <a:pt x="167" y="199"/>
                    <a:pt x="197" y="146"/>
                  </a:cubicBezTo>
                  <a:cubicBezTo>
                    <a:pt x="228" y="94"/>
                    <a:pt x="206" y="26"/>
                    <a:pt x="137" y="3"/>
                  </a:cubicBezTo>
                  <a:cubicBezTo>
                    <a:pt x="137" y="3"/>
                    <a:pt x="189" y="22"/>
                    <a:pt x="203" y="71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1" y="71"/>
                    <a:pt x="201" y="72"/>
                    <a:pt x="200" y="69"/>
                  </a:cubicBezTo>
                  <a:cubicBezTo>
                    <a:pt x="199" y="67"/>
                    <a:pt x="199" y="68"/>
                    <a:pt x="199" y="66"/>
                  </a:cubicBezTo>
                  <a:cubicBezTo>
                    <a:pt x="198" y="64"/>
                    <a:pt x="198" y="65"/>
                    <a:pt x="197" y="64"/>
                  </a:cubicBezTo>
                  <a:cubicBezTo>
                    <a:pt x="195" y="62"/>
                    <a:pt x="195" y="62"/>
                    <a:pt x="194" y="61"/>
                  </a:cubicBezTo>
                  <a:cubicBezTo>
                    <a:pt x="193" y="61"/>
                    <a:pt x="192" y="58"/>
                    <a:pt x="192" y="57"/>
                  </a:cubicBezTo>
                  <a:cubicBezTo>
                    <a:pt x="191" y="56"/>
                    <a:pt x="189" y="55"/>
                    <a:pt x="188" y="55"/>
                  </a:cubicBezTo>
                  <a:cubicBezTo>
                    <a:pt x="187" y="55"/>
                    <a:pt x="188" y="54"/>
                    <a:pt x="187" y="55"/>
                  </a:cubicBezTo>
                  <a:cubicBezTo>
                    <a:pt x="187" y="56"/>
                    <a:pt x="189" y="58"/>
                    <a:pt x="189" y="58"/>
                  </a:cubicBezTo>
                  <a:cubicBezTo>
                    <a:pt x="189" y="62"/>
                    <a:pt x="189" y="62"/>
                    <a:pt x="189" y="62"/>
                  </a:cubicBezTo>
                  <a:cubicBezTo>
                    <a:pt x="189" y="62"/>
                    <a:pt x="190" y="65"/>
                    <a:pt x="190" y="66"/>
                  </a:cubicBezTo>
                  <a:cubicBezTo>
                    <a:pt x="190" y="67"/>
                    <a:pt x="189" y="70"/>
                    <a:pt x="189" y="70"/>
                  </a:cubicBezTo>
                  <a:cubicBezTo>
                    <a:pt x="189" y="70"/>
                    <a:pt x="188" y="72"/>
                    <a:pt x="187" y="73"/>
                  </a:cubicBezTo>
                  <a:cubicBezTo>
                    <a:pt x="186" y="73"/>
                    <a:pt x="181" y="74"/>
                    <a:pt x="181" y="74"/>
                  </a:cubicBezTo>
                  <a:cubicBezTo>
                    <a:pt x="181" y="74"/>
                    <a:pt x="179" y="72"/>
                    <a:pt x="179" y="71"/>
                  </a:cubicBezTo>
                  <a:cubicBezTo>
                    <a:pt x="178" y="69"/>
                    <a:pt x="175" y="69"/>
                    <a:pt x="174" y="68"/>
                  </a:cubicBezTo>
                  <a:cubicBezTo>
                    <a:pt x="174" y="67"/>
                    <a:pt x="175" y="66"/>
                    <a:pt x="173" y="64"/>
                  </a:cubicBezTo>
                  <a:cubicBezTo>
                    <a:pt x="172" y="62"/>
                    <a:pt x="173" y="63"/>
                    <a:pt x="172" y="61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70" y="59"/>
                    <a:pt x="166" y="58"/>
                    <a:pt x="167" y="60"/>
                  </a:cubicBezTo>
                  <a:cubicBezTo>
                    <a:pt x="168" y="63"/>
                    <a:pt x="167" y="65"/>
                    <a:pt x="168" y="65"/>
                  </a:cubicBezTo>
                  <a:cubicBezTo>
                    <a:pt x="169" y="66"/>
                    <a:pt x="170" y="65"/>
                    <a:pt x="171" y="67"/>
                  </a:cubicBezTo>
                  <a:cubicBezTo>
                    <a:pt x="172" y="69"/>
                    <a:pt x="172" y="70"/>
                    <a:pt x="172" y="71"/>
                  </a:cubicBezTo>
                  <a:cubicBezTo>
                    <a:pt x="173" y="71"/>
                    <a:pt x="173" y="74"/>
                    <a:pt x="174" y="75"/>
                  </a:cubicBezTo>
                  <a:cubicBezTo>
                    <a:pt x="175" y="75"/>
                    <a:pt x="178" y="75"/>
                    <a:pt x="178" y="76"/>
                  </a:cubicBezTo>
                  <a:cubicBezTo>
                    <a:pt x="177" y="77"/>
                    <a:pt x="176" y="78"/>
                    <a:pt x="178" y="79"/>
                  </a:cubicBezTo>
                  <a:cubicBezTo>
                    <a:pt x="179" y="79"/>
                    <a:pt x="179" y="80"/>
                    <a:pt x="180" y="80"/>
                  </a:cubicBezTo>
                  <a:cubicBezTo>
                    <a:pt x="181" y="80"/>
                    <a:pt x="181" y="80"/>
                    <a:pt x="182" y="79"/>
                  </a:cubicBezTo>
                  <a:cubicBezTo>
                    <a:pt x="184" y="79"/>
                    <a:pt x="186" y="79"/>
                    <a:pt x="186" y="79"/>
                  </a:cubicBezTo>
                  <a:cubicBezTo>
                    <a:pt x="186" y="79"/>
                    <a:pt x="188" y="80"/>
                    <a:pt x="188" y="81"/>
                  </a:cubicBezTo>
                  <a:cubicBezTo>
                    <a:pt x="188" y="82"/>
                    <a:pt x="187" y="86"/>
                    <a:pt x="187" y="86"/>
                  </a:cubicBezTo>
                  <a:cubicBezTo>
                    <a:pt x="185" y="90"/>
                    <a:pt x="185" y="90"/>
                    <a:pt x="185" y="90"/>
                  </a:cubicBezTo>
                  <a:cubicBezTo>
                    <a:pt x="185" y="90"/>
                    <a:pt x="185" y="97"/>
                    <a:pt x="184" y="97"/>
                  </a:cubicBezTo>
                  <a:cubicBezTo>
                    <a:pt x="183" y="97"/>
                    <a:pt x="182" y="100"/>
                    <a:pt x="181" y="100"/>
                  </a:cubicBezTo>
                  <a:cubicBezTo>
                    <a:pt x="180" y="101"/>
                    <a:pt x="180" y="105"/>
                    <a:pt x="180" y="105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78" y="108"/>
                    <a:pt x="178" y="111"/>
                    <a:pt x="178" y="112"/>
                  </a:cubicBezTo>
                  <a:cubicBezTo>
                    <a:pt x="178" y="113"/>
                    <a:pt x="179" y="117"/>
                    <a:pt x="178" y="119"/>
                  </a:cubicBezTo>
                  <a:cubicBezTo>
                    <a:pt x="178" y="121"/>
                    <a:pt x="175" y="122"/>
                    <a:pt x="175" y="122"/>
                  </a:cubicBezTo>
                  <a:cubicBezTo>
                    <a:pt x="175" y="122"/>
                    <a:pt x="179" y="126"/>
                    <a:pt x="177" y="126"/>
                  </a:cubicBezTo>
                  <a:cubicBezTo>
                    <a:pt x="175" y="127"/>
                    <a:pt x="173" y="129"/>
                    <a:pt x="173" y="130"/>
                  </a:cubicBezTo>
                  <a:cubicBezTo>
                    <a:pt x="172" y="131"/>
                    <a:pt x="172" y="132"/>
                    <a:pt x="171" y="132"/>
                  </a:cubicBezTo>
                  <a:cubicBezTo>
                    <a:pt x="170" y="133"/>
                    <a:pt x="168" y="133"/>
                    <a:pt x="168" y="134"/>
                  </a:cubicBezTo>
                  <a:cubicBezTo>
                    <a:pt x="168" y="134"/>
                    <a:pt x="168" y="137"/>
                    <a:pt x="168" y="137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60" y="146"/>
                    <a:pt x="160" y="149"/>
                    <a:pt x="159" y="149"/>
                  </a:cubicBezTo>
                  <a:cubicBezTo>
                    <a:pt x="158" y="149"/>
                    <a:pt x="153" y="151"/>
                    <a:pt x="152" y="152"/>
                  </a:cubicBezTo>
                  <a:cubicBezTo>
                    <a:pt x="152" y="152"/>
                    <a:pt x="148" y="154"/>
                    <a:pt x="147" y="154"/>
                  </a:cubicBezTo>
                  <a:cubicBezTo>
                    <a:pt x="146" y="154"/>
                    <a:pt x="148" y="157"/>
                    <a:pt x="146" y="154"/>
                  </a:cubicBezTo>
                  <a:cubicBezTo>
                    <a:pt x="144" y="151"/>
                    <a:pt x="145" y="153"/>
                    <a:pt x="144" y="149"/>
                  </a:cubicBezTo>
                  <a:cubicBezTo>
                    <a:pt x="142" y="145"/>
                    <a:pt x="142" y="148"/>
                    <a:pt x="142" y="145"/>
                  </a:cubicBezTo>
                  <a:cubicBezTo>
                    <a:pt x="142" y="143"/>
                    <a:pt x="142" y="145"/>
                    <a:pt x="142" y="143"/>
                  </a:cubicBezTo>
                  <a:cubicBezTo>
                    <a:pt x="142" y="140"/>
                    <a:pt x="143" y="142"/>
                    <a:pt x="141" y="139"/>
                  </a:cubicBezTo>
                  <a:cubicBezTo>
                    <a:pt x="140" y="136"/>
                    <a:pt x="140" y="137"/>
                    <a:pt x="138" y="135"/>
                  </a:cubicBezTo>
                  <a:cubicBezTo>
                    <a:pt x="136" y="133"/>
                    <a:pt x="135" y="135"/>
                    <a:pt x="136" y="132"/>
                  </a:cubicBezTo>
                  <a:cubicBezTo>
                    <a:pt x="137" y="129"/>
                    <a:pt x="137" y="132"/>
                    <a:pt x="137" y="129"/>
                  </a:cubicBezTo>
                  <a:cubicBezTo>
                    <a:pt x="138" y="126"/>
                    <a:pt x="137" y="125"/>
                    <a:pt x="139" y="124"/>
                  </a:cubicBezTo>
                  <a:cubicBezTo>
                    <a:pt x="141" y="123"/>
                    <a:pt x="142" y="122"/>
                    <a:pt x="142" y="121"/>
                  </a:cubicBezTo>
                  <a:cubicBezTo>
                    <a:pt x="142" y="119"/>
                    <a:pt x="142" y="118"/>
                    <a:pt x="142" y="117"/>
                  </a:cubicBezTo>
                  <a:cubicBezTo>
                    <a:pt x="141" y="116"/>
                    <a:pt x="139" y="114"/>
                    <a:pt x="139" y="113"/>
                  </a:cubicBezTo>
                  <a:cubicBezTo>
                    <a:pt x="139" y="112"/>
                    <a:pt x="139" y="113"/>
                    <a:pt x="137" y="111"/>
                  </a:cubicBezTo>
                  <a:cubicBezTo>
                    <a:pt x="136" y="109"/>
                    <a:pt x="135" y="108"/>
                    <a:pt x="135" y="108"/>
                  </a:cubicBezTo>
                  <a:cubicBezTo>
                    <a:pt x="135" y="108"/>
                    <a:pt x="135" y="103"/>
                    <a:pt x="135" y="101"/>
                  </a:cubicBezTo>
                  <a:cubicBezTo>
                    <a:pt x="135" y="99"/>
                    <a:pt x="134" y="102"/>
                    <a:pt x="135" y="99"/>
                  </a:cubicBezTo>
                  <a:cubicBezTo>
                    <a:pt x="135" y="96"/>
                    <a:pt x="135" y="94"/>
                    <a:pt x="135" y="94"/>
                  </a:cubicBezTo>
                  <a:cubicBezTo>
                    <a:pt x="135" y="94"/>
                    <a:pt x="132" y="92"/>
                    <a:pt x="131" y="92"/>
                  </a:cubicBezTo>
                  <a:cubicBezTo>
                    <a:pt x="129" y="92"/>
                    <a:pt x="129" y="94"/>
                    <a:pt x="127" y="93"/>
                  </a:cubicBezTo>
                  <a:cubicBezTo>
                    <a:pt x="125" y="91"/>
                    <a:pt x="126" y="90"/>
                    <a:pt x="125" y="89"/>
                  </a:cubicBezTo>
                  <a:cubicBezTo>
                    <a:pt x="124" y="89"/>
                    <a:pt x="123" y="89"/>
                    <a:pt x="122" y="90"/>
                  </a:cubicBezTo>
                  <a:cubicBezTo>
                    <a:pt x="121" y="91"/>
                    <a:pt x="118" y="91"/>
                    <a:pt x="116" y="91"/>
                  </a:cubicBezTo>
                  <a:cubicBezTo>
                    <a:pt x="114" y="92"/>
                    <a:pt x="113" y="92"/>
                    <a:pt x="110" y="92"/>
                  </a:cubicBezTo>
                  <a:cubicBezTo>
                    <a:pt x="108" y="92"/>
                    <a:pt x="104" y="93"/>
                    <a:pt x="102" y="92"/>
                  </a:cubicBezTo>
                  <a:cubicBezTo>
                    <a:pt x="100" y="91"/>
                    <a:pt x="100" y="92"/>
                    <a:pt x="99" y="90"/>
                  </a:cubicBezTo>
                  <a:cubicBezTo>
                    <a:pt x="98" y="88"/>
                    <a:pt x="99" y="88"/>
                    <a:pt x="97" y="87"/>
                  </a:cubicBezTo>
                  <a:cubicBezTo>
                    <a:pt x="95" y="86"/>
                    <a:pt x="94" y="87"/>
                    <a:pt x="94" y="85"/>
                  </a:cubicBezTo>
                  <a:cubicBezTo>
                    <a:pt x="94" y="82"/>
                    <a:pt x="95" y="83"/>
                    <a:pt x="93" y="81"/>
                  </a:cubicBezTo>
                  <a:cubicBezTo>
                    <a:pt x="92" y="79"/>
                    <a:pt x="94" y="82"/>
                    <a:pt x="92" y="79"/>
                  </a:cubicBezTo>
                  <a:cubicBezTo>
                    <a:pt x="89" y="76"/>
                    <a:pt x="88" y="79"/>
                    <a:pt x="89" y="76"/>
                  </a:cubicBezTo>
                  <a:cubicBezTo>
                    <a:pt x="90" y="74"/>
                    <a:pt x="91" y="75"/>
                    <a:pt x="91" y="73"/>
                  </a:cubicBezTo>
                  <a:cubicBezTo>
                    <a:pt x="91" y="70"/>
                    <a:pt x="95" y="74"/>
                    <a:pt x="92" y="68"/>
                  </a:cubicBezTo>
                  <a:cubicBezTo>
                    <a:pt x="90" y="63"/>
                    <a:pt x="89" y="64"/>
                    <a:pt x="92" y="60"/>
                  </a:cubicBezTo>
                  <a:cubicBezTo>
                    <a:pt x="94" y="55"/>
                    <a:pt x="97" y="54"/>
                    <a:pt x="98" y="53"/>
                  </a:cubicBezTo>
                  <a:cubicBezTo>
                    <a:pt x="98" y="52"/>
                    <a:pt x="99" y="50"/>
                    <a:pt x="100" y="49"/>
                  </a:cubicBezTo>
                  <a:cubicBezTo>
                    <a:pt x="101" y="48"/>
                    <a:pt x="100" y="48"/>
                    <a:pt x="102" y="48"/>
                  </a:cubicBezTo>
                  <a:cubicBezTo>
                    <a:pt x="104" y="48"/>
                    <a:pt x="107" y="47"/>
                    <a:pt x="108" y="46"/>
                  </a:cubicBezTo>
                  <a:cubicBezTo>
                    <a:pt x="109" y="45"/>
                    <a:pt x="111" y="42"/>
                    <a:pt x="112" y="42"/>
                  </a:cubicBezTo>
                  <a:cubicBezTo>
                    <a:pt x="113" y="42"/>
                    <a:pt x="113" y="42"/>
                    <a:pt x="115" y="42"/>
                  </a:cubicBezTo>
                  <a:cubicBezTo>
                    <a:pt x="117" y="41"/>
                    <a:pt x="117" y="41"/>
                    <a:pt x="119" y="41"/>
                  </a:cubicBezTo>
                  <a:cubicBezTo>
                    <a:pt x="120" y="41"/>
                    <a:pt x="117" y="42"/>
                    <a:pt x="121" y="41"/>
                  </a:cubicBezTo>
                  <a:cubicBezTo>
                    <a:pt x="125" y="40"/>
                    <a:pt x="124" y="40"/>
                    <a:pt x="125" y="40"/>
                  </a:cubicBezTo>
                  <a:cubicBezTo>
                    <a:pt x="126" y="40"/>
                    <a:pt x="126" y="41"/>
                    <a:pt x="127" y="41"/>
                  </a:cubicBezTo>
                  <a:cubicBezTo>
                    <a:pt x="129" y="41"/>
                    <a:pt x="129" y="38"/>
                    <a:pt x="129" y="41"/>
                  </a:cubicBezTo>
                  <a:cubicBezTo>
                    <a:pt x="129" y="45"/>
                    <a:pt x="128" y="46"/>
                    <a:pt x="130" y="46"/>
                  </a:cubicBezTo>
                  <a:cubicBezTo>
                    <a:pt x="133" y="47"/>
                    <a:pt x="130" y="47"/>
                    <a:pt x="133" y="47"/>
                  </a:cubicBezTo>
                  <a:cubicBezTo>
                    <a:pt x="136" y="47"/>
                    <a:pt x="135" y="47"/>
                    <a:pt x="137" y="48"/>
                  </a:cubicBezTo>
                  <a:cubicBezTo>
                    <a:pt x="138" y="48"/>
                    <a:pt x="139" y="49"/>
                    <a:pt x="141" y="49"/>
                  </a:cubicBezTo>
                  <a:cubicBezTo>
                    <a:pt x="143" y="49"/>
                    <a:pt x="140" y="52"/>
                    <a:pt x="143" y="49"/>
                  </a:cubicBezTo>
                  <a:cubicBezTo>
                    <a:pt x="146" y="46"/>
                    <a:pt x="141" y="46"/>
                    <a:pt x="146" y="46"/>
                  </a:cubicBezTo>
                  <a:cubicBezTo>
                    <a:pt x="151" y="47"/>
                    <a:pt x="152" y="48"/>
                    <a:pt x="153" y="48"/>
                  </a:cubicBezTo>
                  <a:cubicBezTo>
                    <a:pt x="154" y="47"/>
                    <a:pt x="154" y="48"/>
                    <a:pt x="156" y="47"/>
                  </a:cubicBezTo>
                  <a:cubicBezTo>
                    <a:pt x="159" y="46"/>
                    <a:pt x="159" y="46"/>
                    <a:pt x="160" y="46"/>
                  </a:cubicBezTo>
                  <a:cubicBezTo>
                    <a:pt x="161" y="47"/>
                    <a:pt x="161" y="49"/>
                    <a:pt x="162" y="47"/>
                  </a:cubicBezTo>
                  <a:cubicBezTo>
                    <a:pt x="163" y="45"/>
                    <a:pt x="165" y="45"/>
                    <a:pt x="162" y="44"/>
                  </a:cubicBezTo>
                  <a:cubicBezTo>
                    <a:pt x="159" y="42"/>
                    <a:pt x="158" y="44"/>
                    <a:pt x="158" y="42"/>
                  </a:cubicBezTo>
                  <a:cubicBezTo>
                    <a:pt x="157" y="40"/>
                    <a:pt x="160" y="41"/>
                    <a:pt x="157" y="40"/>
                  </a:cubicBezTo>
                  <a:cubicBezTo>
                    <a:pt x="154" y="40"/>
                    <a:pt x="155" y="40"/>
                    <a:pt x="153" y="39"/>
                  </a:cubicBezTo>
                  <a:cubicBezTo>
                    <a:pt x="151" y="38"/>
                    <a:pt x="149" y="41"/>
                    <a:pt x="148" y="39"/>
                  </a:cubicBezTo>
                  <a:cubicBezTo>
                    <a:pt x="147" y="37"/>
                    <a:pt x="143" y="41"/>
                    <a:pt x="147" y="37"/>
                  </a:cubicBezTo>
                  <a:cubicBezTo>
                    <a:pt x="151" y="34"/>
                    <a:pt x="149" y="32"/>
                    <a:pt x="152" y="33"/>
                  </a:cubicBezTo>
                  <a:cubicBezTo>
                    <a:pt x="155" y="34"/>
                    <a:pt x="154" y="36"/>
                    <a:pt x="155" y="35"/>
                  </a:cubicBezTo>
                  <a:cubicBezTo>
                    <a:pt x="157" y="33"/>
                    <a:pt x="160" y="32"/>
                    <a:pt x="157" y="30"/>
                  </a:cubicBezTo>
                  <a:cubicBezTo>
                    <a:pt x="154" y="28"/>
                    <a:pt x="156" y="29"/>
                    <a:pt x="153" y="28"/>
                  </a:cubicBezTo>
                  <a:cubicBezTo>
                    <a:pt x="150" y="26"/>
                    <a:pt x="147" y="33"/>
                    <a:pt x="146" y="32"/>
                  </a:cubicBezTo>
                  <a:cubicBezTo>
                    <a:pt x="145" y="31"/>
                    <a:pt x="144" y="30"/>
                    <a:pt x="143" y="31"/>
                  </a:cubicBezTo>
                  <a:cubicBezTo>
                    <a:pt x="142" y="31"/>
                    <a:pt x="142" y="34"/>
                    <a:pt x="142" y="36"/>
                  </a:cubicBezTo>
                  <a:cubicBezTo>
                    <a:pt x="142" y="38"/>
                    <a:pt x="143" y="38"/>
                    <a:pt x="140" y="37"/>
                  </a:cubicBezTo>
                  <a:cubicBezTo>
                    <a:pt x="137" y="35"/>
                    <a:pt x="144" y="36"/>
                    <a:pt x="137" y="33"/>
                  </a:cubicBezTo>
                  <a:cubicBezTo>
                    <a:pt x="130" y="31"/>
                    <a:pt x="128" y="31"/>
                    <a:pt x="127" y="32"/>
                  </a:cubicBezTo>
                  <a:cubicBezTo>
                    <a:pt x="126" y="33"/>
                    <a:pt x="125" y="33"/>
                    <a:pt x="124" y="34"/>
                  </a:cubicBezTo>
                  <a:cubicBezTo>
                    <a:pt x="123" y="35"/>
                    <a:pt x="126" y="36"/>
                    <a:pt x="123" y="35"/>
                  </a:cubicBezTo>
                  <a:cubicBezTo>
                    <a:pt x="120" y="33"/>
                    <a:pt x="118" y="35"/>
                    <a:pt x="118" y="35"/>
                  </a:cubicBezTo>
                  <a:cubicBezTo>
                    <a:pt x="118" y="35"/>
                    <a:pt x="117" y="35"/>
                    <a:pt x="116" y="36"/>
                  </a:cubicBezTo>
                  <a:cubicBezTo>
                    <a:pt x="114" y="37"/>
                    <a:pt x="112" y="38"/>
                    <a:pt x="111" y="37"/>
                  </a:cubicBezTo>
                  <a:cubicBezTo>
                    <a:pt x="109" y="37"/>
                    <a:pt x="106" y="38"/>
                    <a:pt x="109" y="34"/>
                  </a:cubicBezTo>
                  <a:cubicBezTo>
                    <a:pt x="111" y="31"/>
                    <a:pt x="109" y="33"/>
                    <a:pt x="113" y="31"/>
                  </a:cubicBezTo>
                  <a:cubicBezTo>
                    <a:pt x="117" y="30"/>
                    <a:pt x="123" y="29"/>
                    <a:pt x="118" y="28"/>
                  </a:cubicBezTo>
                  <a:cubicBezTo>
                    <a:pt x="113" y="27"/>
                    <a:pt x="121" y="27"/>
                    <a:pt x="114" y="24"/>
                  </a:cubicBezTo>
                  <a:cubicBezTo>
                    <a:pt x="107" y="21"/>
                    <a:pt x="107" y="25"/>
                    <a:pt x="107" y="21"/>
                  </a:cubicBezTo>
                  <a:cubicBezTo>
                    <a:pt x="108" y="16"/>
                    <a:pt x="107" y="16"/>
                    <a:pt x="106" y="16"/>
                  </a:cubicBezTo>
                  <a:cubicBezTo>
                    <a:pt x="104" y="16"/>
                    <a:pt x="100" y="17"/>
                    <a:pt x="98" y="18"/>
                  </a:cubicBezTo>
                  <a:cubicBezTo>
                    <a:pt x="97" y="18"/>
                    <a:pt x="99" y="19"/>
                    <a:pt x="96" y="17"/>
                  </a:cubicBezTo>
                  <a:cubicBezTo>
                    <a:pt x="92" y="15"/>
                    <a:pt x="91" y="18"/>
                    <a:pt x="92" y="15"/>
                  </a:cubicBezTo>
                  <a:cubicBezTo>
                    <a:pt x="94" y="13"/>
                    <a:pt x="94" y="12"/>
                    <a:pt x="96" y="11"/>
                  </a:cubicBezTo>
                  <a:cubicBezTo>
                    <a:pt x="98" y="9"/>
                    <a:pt x="97" y="3"/>
                    <a:pt x="102" y="5"/>
                  </a:cubicBezTo>
                  <a:cubicBezTo>
                    <a:pt x="106" y="8"/>
                    <a:pt x="105" y="7"/>
                    <a:pt x="108" y="7"/>
                  </a:cubicBezTo>
                  <a:cubicBezTo>
                    <a:pt x="112" y="7"/>
                    <a:pt x="114" y="7"/>
                    <a:pt x="114" y="6"/>
                  </a:cubicBezTo>
                  <a:cubicBezTo>
                    <a:pt x="114" y="5"/>
                    <a:pt x="109" y="3"/>
                    <a:pt x="109" y="3"/>
                  </a:cubicBezTo>
                  <a:cubicBezTo>
                    <a:pt x="109" y="3"/>
                    <a:pt x="108" y="4"/>
                    <a:pt x="109" y="3"/>
                  </a:cubicBezTo>
                  <a:cubicBezTo>
                    <a:pt x="109" y="2"/>
                    <a:pt x="110" y="1"/>
                    <a:pt x="110" y="1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96" y="0"/>
                    <a:pt x="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73" name="Freeform 41"/>
          <p:cNvSpPr>
            <a:spLocks noEditPoints="1"/>
          </p:cNvSpPr>
          <p:nvPr/>
        </p:nvSpPr>
        <p:spPr bwMode="auto">
          <a:xfrm>
            <a:off x="9514209" y="3599840"/>
            <a:ext cx="428625" cy="390525"/>
          </a:xfrm>
          <a:custGeom>
            <a:avLst/>
            <a:gdLst>
              <a:gd name="T0" fmla="*/ 116 w 196"/>
              <a:gd name="T1" fmla="*/ 2 h 179"/>
              <a:gd name="T2" fmla="*/ 98 w 196"/>
              <a:gd name="T3" fmla="*/ 0 h 179"/>
              <a:gd name="T4" fmla="*/ 98 w 196"/>
              <a:gd name="T5" fmla="*/ 17 h 179"/>
              <a:gd name="T6" fmla="*/ 113 w 196"/>
              <a:gd name="T7" fmla="*/ 18 h 179"/>
              <a:gd name="T8" fmla="*/ 169 w 196"/>
              <a:gd name="T9" fmla="*/ 105 h 179"/>
              <a:gd name="T10" fmla="*/ 98 w 196"/>
              <a:gd name="T11" fmla="*/ 163 h 179"/>
              <a:gd name="T12" fmla="*/ 98 w 196"/>
              <a:gd name="T13" fmla="*/ 179 h 179"/>
              <a:gd name="T14" fmla="*/ 185 w 196"/>
              <a:gd name="T15" fmla="*/ 108 h 179"/>
              <a:gd name="T16" fmla="*/ 116 w 196"/>
              <a:gd name="T17" fmla="*/ 2 h 179"/>
              <a:gd name="T18" fmla="*/ 98 w 196"/>
              <a:gd name="T19" fmla="*/ 0 h 179"/>
              <a:gd name="T20" fmla="*/ 10 w 196"/>
              <a:gd name="T21" fmla="*/ 71 h 179"/>
              <a:gd name="T22" fmla="*/ 79 w 196"/>
              <a:gd name="T23" fmla="*/ 177 h 179"/>
              <a:gd name="T24" fmla="*/ 98 w 196"/>
              <a:gd name="T25" fmla="*/ 179 h 179"/>
              <a:gd name="T26" fmla="*/ 98 w 196"/>
              <a:gd name="T27" fmla="*/ 163 h 179"/>
              <a:gd name="T28" fmla="*/ 83 w 196"/>
              <a:gd name="T29" fmla="*/ 161 h 179"/>
              <a:gd name="T30" fmla="*/ 83 w 196"/>
              <a:gd name="T31" fmla="*/ 161 h 179"/>
              <a:gd name="T32" fmla="*/ 26 w 196"/>
              <a:gd name="T33" fmla="*/ 75 h 179"/>
              <a:gd name="T34" fmla="*/ 98 w 196"/>
              <a:gd name="T35" fmla="*/ 17 h 179"/>
              <a:gd name="T36" fmla="*/ 98 w 196"/>
              <a:gd name="T37" fmla="*/ 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6" h="179">
                <a:moveTo>
                  <a:pt x="116" y="2"/>
                </a:moveTo>
                <a:cubicBezTo>
                  <a:pt x="110" y="1"/>
                  <a:pt x="104" y="0"/>
                  <a:pt x="98" y="0"/>
                </a:cubicBezTo>
                <a:cubicBezTo>
                  <a:pt x="98" y="17"/>
                  <a:pt x="98" y="17"/>
                  <a:pt x="98" y="17"/>
                </a:cubicBezTo>
                <a:cubicBezTo>
                  <a:pt x="103" y="17"/>
                  <a:pt x="108" y="17"/>
                  <a:pt x="113" y="18"/>
                </a:cubicBezTo>
                <a:cubicBezTo>
                  <a:pt x="152" y="27"/>
                  <a:pt x="177" y="65"/>
                  <a:pt x="169" y="105"/>
                </a:cubicBezTo>
                <a:cubicBezTo>
                  <a:pt x="162" y="139"/>
                  <a:pt x="131" y="163"/>
                  <a:pt x="98" y="163"/>
                </a:cubicBezTo>
                <a:cubicBezTo>
                  <a:pt x="98" y="179"/>
                  <a:pt x="98" y="179"/>
                  <a:pt x="98" y="179"/>
                </a:cubicBezTo>
                <a:cubicBezTo>
                  <a:pt x="139" y="179"/>
                  <a:pt x="177" y="150"/>
                  <a:pt x="185" y="108"/>
                </a:cubicBezTo>
                <a:cubicBezTo>
                  <a:pt x="196" y="60"/>
                  <a:pt x="165" y="12"/>
                  <a:pt x="116" y="2"/>
                </a:cubicBezTo>
                <a:close/>
                <a:moveTo>
                  <a:pt x="98" y="0"/>
                </a:moveTo>
                <a:cubicBezTo>
                  <a:pt x="56" y="0"/>
                  <a:pt x="19" y="29"/>
                  <a:pt x="10" y="71"/>
                </a:cubicBezTo>
                <a:cubicBezTo>
                  <a:pt x="0" y="120"/>
                  <a:pt x="31" y="167"/>
                  <a:pt x="79" y="177"/>
                </a:cubicBezTo>
                <a:cubicBezTo>
                  <a:pt x="85" y="179"/>
                  <a:pt x="92" y="179"/>
                  <a:pt x="98" y="179"/>
                </a:cubicBezTo>
                <a:cubicBezTo>
                  <a:pt x="98" y="163"/>
                  <a:pt x="98" y="163"/>
                  <a:pt x="98" y="163"/>
                </a:cubicBezTo>
                <a:cubicBezTo>
                  <a:pt x="93" y="163"/>
                  <a:pt x="88" y="162"/>
                  <a:pt x="83" y="161"/>
                </a:cubicBezTo>
                <a:cubicBezTo>
                  <a:pt x="83" y="161"/>
                  <a:pt x="83" y="161"/>
                  <a:pt x="83" y="161"/>
                </a:cubicBezTo>
                <a:cubicBezTo>
                  <a:pt x="43" y="153"/>
                  <a:pt x="18" y="114"/>
                  <a:pt x="26" y="75"/>
                </a:cubicBezTo>
                <a:cubicBezTo>
                  <a:pt x="33" y="40"/>
                  <a:pt x="64" y="17"/>
                  <a:pt x="98" y="17"/>
                </a:cubicBezTo>
                <a:lnTo>
                  <a:pt x="98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4" name="Freeform 42"/>
          <p:cNvSpPr/>
          <p:nvPr/>
        </p:nvSpPr>
        <p:spPr bwMode="auto">
          <a:xfrm>
            <a:off x="9625334" y="3960203"/>
            <a:ext cx="92075" cy="198438"/>
          </a:xfrm>
          <a:custGeom>
            <a:avLst/>
            <a:gdLst>
              <a:gd name="T0" fmla="*/ 33 w 58"/>
              <a:gd name="T1" fmla="*/ 125 h 125"/>
              <a:gd name="T2" fmla="*/ 0 w 58"/>
              <a:gd name="T3" fmla="*/ 118 h 125"/>
              <a:gd name="T4" fmla="*/ 25 w 58"/>
              <a:gd name="T5" fmla="*/ 0 h 125"/>
              <a:gd name="T6" fmla="*/ 58 w 58"/>
              <a:gd name="T7" fmla="*/ 7 h 125"/>
              <a:gd name="T8" fmla="*/ 33 w 58"/>
              <a:gd name="T9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125">
                <a:moveTo>
                  <a:pt x="33" y="125"/>
                </a:moveTo>
                <a:lnTo>
                  <a:pt x="0" y="118"/>
                </a:lnTo>
                <a:lnTo>
                  <a:pt x="25" y="0"/>
                </a:lnTo>
                <a:lnTo>
                  <a:pt x="58" y="7"/>
                </a:lnTo>
                <a:lnTo>
                  <a:pt x="33" y="125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5" name="Freeform 43"/>
          <p:cNvSpPr/>
          <p:nvPr/>
        </p:nvSpPr>
        <p:spPr bwMode="auto">
          <a:xfrm>
            <a:off x="9587234" y="4020528"/>
            <a:ext cx="130175" cy="268288"/>
          </a:xfrm>
          <a:custGeom>
            <a:avLst/>
            <a:gdLst>
              <a:gd name="T0" fmla="*/ 40 w 60"/>
              <a:gd name="T1" fmla="*/ 106 h 123"/>
              <a:gd name="T2" fmla="*/ 18 w 60"/>
              <a:gd name="T3" fmla="*/ 121 h 123"/>
              <a:gd name="T4" fmla="*/ 3 w 60"/>
              <a:gd name="T5" fmla="*/ 98 h 123"/>
              <a:gd name="T6" fmla="*/ 20 w 60"/>
              <a:gd name="T7" fmla="*/ 17 h 123"/>
              <a:gd name="T8" fmla="*/ 42 w 60"/>
              <a:gd name="T9" fmla="*/ 2 h 123"/>
              <a:gd name="T10" fmla="*/ 57 w 60"/>
              <a:gd name="T11" fmla="*/ 25 h 123"/>
              <a:gd name="T12" fmla="*/ 40 w 60"/>
              <a:gd name="T13" fmla="*/ 106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123">
                <a:moveTo>
                  <a:pt x="40" y="106"/>
                </a:moveTo>
                <a:cubicBezTo>
                  <a:pt x="38" y="116"/>
                  <a:pt x="28" y="123"/>
                  <a:pt x="18" y="121"/>
                </a:cubicBezTo>
                <a:cubicBezTo>
                  <a:pt x="7" y="118"/>
                  <a:pt x="0" y="108"/>
                  <a:pt x="3" y="98"/>
                </a:cubicBezTo>
                <a:cubicBezTo>
                  <a:pt x="20" y="17"/>
                  <a:pt x="20" y="17"/>
                  <a:pt x="20" y="17"/>
                </a:cubicBezTo>
                <a:cubicBezTo>
                  <a:pt x="22" y="6"/>
                  <a:pt x="32" y="0"/>
                  <a:pt x="42" y="2"/>
                </a:cubicBezTo>
                <a:cubicBezTo>
                  <a:pt x="53" y="4"/>
                  <a:pt x="60" y="14"/>
                  <a:pt x="57" y="25"/>
                </a:cubicBezTo>
                <a:lnTo>
                  <a:pt x="40" y="106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6" name="Freeform 44"/>
          <p:cNvSpPr/>
          <p:nvPr/>
        </p:nvSpPr>
        <p:spPr bwMode="auto">
          <a:xfrm>
            <a:off x="8398196" y="1015390"/>
            <a:ext cx="523875" cy="479425"/>
          </a:xfrm>
          <a:custGeom>
            <a:avLst/>
            <a:gdLst>
              <a:gd name="T0" fmla="*/ 117 w 240"/>
              <a:gd name="T1" fmla="*/ 220 h 220"/>
              <a:gd name="T2" fmla="*/ 0 w 240"/>
              <a:gd name="T3" fmla="*/ 219 h 220"/>
              <a:gd name="T4" fmla="*/ 0 w 240"/>
              <a:gd name="T5" fmla="*/ 44 h 220"/>
              <a:gd name="T6" fmla="*/ 120 w 240"/>
              <a:gd name="T7" fmla="*/ 44 h 220"/>
              <a:gd name="T8" fmla="*/ 240 w 240"/>
              <a:gd name="T9" fmla="*/ 44 h 220"/>
              <a:gd name="T10" fmla="*/ 240 w 240"/>
              <a:gd name="T11" fmla="*/ 219 h 220"/>
              <a:gd name="T12" fmla="*/ 117 w 240"/>
              <a:gd name="T13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0" h="220">
                <a:moveTo>
                  <a:pt x="117" y="220"/>
                </a:moveTo>
                <a:cubicBezTo>
                  <a:pt x="117" y="220"/>
                  <a:pt x="76" y="179"/>
                  <a:pt x="0" y="219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78" y="0"/>
                  <a:pt x="120" y="44"/>
                </a:cubicBezTo>
                <a:cubicBezTo>
                  <a:pt x="240" y="44"/>
                  <a:pt x="240" y="44"/>
                  <a:pt x="240" y="44"/>
                </a:cubicBezTo>
                <a:cubicBezTo>
                  <a:pt x="240" y="219"/>
                  <a:pt x="240" y="219"/>
                  <a:pt x="240" y="219"/>
                </a:cubicBezTo>
                <a:lnTo>
                  <a:pt x="117" y="22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7" name="Freeform 45"/>
          <p:cNvSpPr>
            <a:spLocks noEditPoints="1"/>
          </p:cNvSpPr>
          <p:nvPr/>
        </p:nvSpPr>
        <p:spPr bwMode="auto">
          <a:xfrm>
            <a:off x="8242621" y="3676040"/>
            <a:ext cx="638175" cy="528638"/>
          </a:xfrm>
          <a:custGeom>
            <a:avLst/>
            <a:gdLst>
              <a:gd name="T0" fmla="*/ 199 w 293"/>
              <a:gd name="T1" fmla="*/ 192 h 242"/>
              <a:gd name="T2" fmla="*/ 219 w 293"/>
              <a:gd name="T3" fmla="*/ 205 h 242"/>
              <a:gd name="T4" fmla="*/ 219 w 293"/>
              <a:gd name="T5" fmla="*/ 214 h 242"/>
              <a:gd name="T6" fmla="*/ 199 w 293"/>
              <a:gd name="T7" fmla="*/ 214 h 242"/>
              <a:gd name="T8" fmla="*/ 219 w 293"/>
              <a:gd name="T9" fmla="*/ 242 h 242"/>
              <a:gd name="T10" fmla="*/ 242 w 293"/>
              <a:gd name="T11" fmla="*/ 216 h 242"/>
              <a:gd name="T12" fmla="*/ 199 w 293"/>
              <a:gd name="T13" fmla="*/ 170 h 242"/>
              <a:gd name="T14" fmla="*/ 293 w 293"/>
              <a:gd name="T15" fmla="*/ 147 h 242"/>
              <a:gd name="T16" fmla="*/ 269 w 293"/>
              <a:gd name="T17" fmla="*/ 0 h 242"/>
              <a:gd name="T18" fmla="*/ 199 w 293"/>
              <a:gd name="T19" fmla="*/ 16 h 242"/>
              <a:gd name="T20" fmla="*/ 275 w 293"/>
              <a:gd name="T21" fmla="*/ 35 h 242"/>
              <a:gd name="T22" fmla="*/ 256 w 293"/>
              <a:gd name="T23" fmla="*/ 154 h 242"/>
              <a:gd name="T24" fmla="*/ 199 w 293"/>
              <a:gd name="T25" fmla="*/ 170 h 242"/>
              <a:gd name="T26" fmla="*/ 175 w 293"/>
              <a:gd name="T27" fmla="*/ 192 h 242"/>
              <a:gd name="T28" fmla="*/ 199 w 293"/>
              <a:gd name="T29" fmla="*/ 170 h 242"/>
              <a:gd name="T30" fmla="*/ 146 w 293"/>
              <a:gd name="T31" fmla="*/ 154 h 242"/>
              <a:gd name="T32" fmla="*/ 199 w 293"/>
              <a:gd name="T33" fmla="*/ 242 h 242"/>
              <a:gd name="T34" fmla="*/ 179 w 293"/>
              <a:gd name="T35" fmla="*/ 214 h 242"/>
              <a:gd name="T36" fmla="*/ 179 w 293"/>
              <a:gd name="T37" fmla="*/ 205 h 242"/>
              <a:gd name="T38" fmla="*/ 199 w 293"/>
              <a:gd name="T39" fmla="*/ 192 h 242"/>
              <a:gd name="T40" fmla="*/ 146 w 293"/>
              <a:gd name="T41" fmla="*/ 0 h 242"/>
              <a:gd name="T42" fmla="*/ 199 w 293"/>
              <a:gd name="T43" fmla="*/ 16 h 242"/>
              <a:gd name="T44" fmla="*/ 146 w 293"/>
              <a:gd name="T45" fmla="*/ 0 h 242"/>
              <a:gd name="T46" fmla="*/ 0 w 293"/>
              <a:gd name="T47" fmla="*/ 24 h 242"/>
              <a:gd name="T48" fmla="*/ 23 w 293"/>
              <a:gd name="T49" fmla="*/ 170 h 242"/>
              <a:gd name="T50" fmla="*/ 117 w 293"/>
              <a:gd name="T51" fmla="*/ 192 h 242"/>
              <a:gd name="T52" fmla="*/ 52 w 293"/>
              <a:gd name="T53" fmla="*/ 216 h 242"/>
              <a:gd name="T54" fmla="*/ 75 w 293"/>
              <a:gd name="T55" fmla="*/ 242 h 242"/>
              <a:gd name="T56" fmla="*/ 146 w 293"/>
              <a:gd name="T57" fmla="*/ 154 h 242"/>
              <a:gd name="T58" fmla="*/ 37 w 293"/>
              <a:gd name="T59" fmla="*/ 154 h 242"/>
              <a:gd name="T60" fmla="*/ 17 w 293"/>
              <a:gd name="T61" fmla="*/ 35 h 242"/>
              <a:gd name="T62" fmla="*/ 146 w 293"/>
              <a:gd name="T63" fmla="*/ 16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3" h="242">
                <a:moveTo>
                  <a:pt x="219" y="192"/>
                </a:moveTo>
                <a:cubicBezTo>
                  <a:pt x="199" y="192"/>
                  <a:pt x="199" y="192"/>
                  <a:pt x="199" y="192"/>
                </a:cubicBezTo>
                <a:cubicBezTo>
                  <a:pt x="199" y="205"/>
                  <a:pt x="199" y="205"/>
                  <a:pt x="199" y="205"/>
                </a:cubicBezTo>
                <a:cubicBezTo>
                  <a:pt x="219" y="205"/>
                  <a:pt x="219" y="205"/>
                  <a:pt x="219" y="205"/>
                </a:cubicBezTo>
                <a:cubicBezTo>
                  <a:pt x="221" y="205"/>
                  <a:pt x="223" y="207"/>
                  <a:pt x="223" y="209"/>
                </a:cubicBezTo>
                <a:cubicBezTo>
                  <a:pt x="223" y="212"/>
                  <a:pt x="221" y="214"/>
                  <a:pt x="219" y="214"/>
                </a:cubicBezTo>
                <a:cubicBezTo>
                  <a:pt x="219" y="214"/>
                  <a:pt x="219" y="214"/>
                  <a:pt x="219" y="214"/>
                </a:cubicBezTo>
                <a:cubicBezTo>
                  <a:pt x="199" y="214"/>
                  <a:pt x="199" y="214"/>
                  <a:pt x="199" y="214"/>
                </a:cubicBezTo>
                <a:cubicBezTo>
                  <a:pt x="199" y="242"/>
                  <a:pt x="199" y="242"/>
                  <a:pt x="199" y="242"/>
                </a:cubicBezTo>
                <a:cubicBezTo>
                  <a:pt x="219" y="242"/>
                  <a:pt x="219" y="242"/>
                  <a:pt x="219" y="242"/>
                </a:cubicBezTo>
                <a:cubicBezTo>
                  <a:pt x="232" y="242"/>
                  <a:pt x="242" y="232"/>
                  <a:pt x="242" y="219"/>
                </a:cubicBezTo>
                <a:cubicBezTo>
                  <a:pt x="242" y="216"/>
                  <a:pt x="242" y="216"/>
                  <a:pt x="242" y="216"/>
                </a:cubicBezTo>
                <a:cubicBezTo>
                  <a:pt x="242" y="203"/>
                  <a:pt x="232" y="192"/>
                  <a:pt x="219" y="192"/>
                </a:cubicBezTo>
                <a:close/>
                <a:moveTo>
                  <a:pt x="199" y="170"/>
                </a:moveTo>
                <a:cubicBezTo>
                  <a:pt x="269" y="170"/>
                  <a:pt x="269" y="170"/>
                  <a:pt x="269" y="170"/>
                </a:cubicBezTo>
                <a:cubicBezTo>
                  <a:pt x="282" y="170"/>
                  <a:pt x="293" y="160"/>
                  <a:pt x="293" y="147"/>
                </a:cubicBezTo>
                <a:cubicBezTo>
                  <a:pt x="293" y="24"/>
                  <a:pt x="293" y="24"/>
                  <a:pt x="293" y="24"/>
                </a:cubicBezTo>
                <a:cubicBezTo>
                  <a:pt x="293" y="11"/>
                  <a:pt x="282" y="0"/>
                  <a:pt x="269" y="0"/>
                </a:cubicBezTo>
                <a:cubicBezTo>
                  <a:pt x="199" y="0"/>
                  <a:pt x="199" y="0"/>
                  <a:pt x="199" y="0"/>
                </a:cubicBezTo>
                <a:cubicBezTo>
                  <a:pt x="199" y="16"/>
                  <a:pt x="199" y="16"/>
                  <a:pt x="199" y="16"/>
                </a:cubicBezTo>
                <a:cubicBezTo>
                  <a:pt x="256" y="16"/>
                  <a:pt x="256" y="16"/>
                  <a:pt x="256" y="16"/>
                </a:cubicBezTo>
                <a:cubicBezTo>
                  <a:pt x="267" y="16"/>
                  <a:pt x="275" y="24"/>
                  <a:pt x="275" y="35"/>
                </a:cubicBezTo>
                <a:cubicBezTo>
                  <a:pt x="275" y="135"/>
                  <a:pt x="275" y="135"/>
                  <a:pt x="275" y="135"/>
                </a:cubicBezTo>
                <a:cubicBezTo>
                  <a:pt x="275" y="146"/>
                  <a:pt x="267" y="154"/>
                  <a:pt x="256" y="154"/>
                </a:cubicBezTo>
                <a:cubicBezTo>
                  <a:pt x="199" y="154"/>
                  <a:pt x="199" y="154"/>
                  <a:pt x="199" y="154"/>
                </a:cubicBezTo>
                <a:lnTo>
                  <a:pt x="199" y="170"/>
                </a:lnTo>
                <a:close/>
                <a:moveTo>
                  <a:pt x="199" y="192"/>
                </a:moveTo>
                <a:cubicBezTo>
                  <a:pt x="175" y="192"/>
                  <a:pt x="175" y="192"/>
                  <a:pt x="175" y="192"/>
                </a:cubicBezTo>
                <a:cubicBezTo>
                  <a:pt x="175" y="170"/>
                  <a:pt x="175" y="170"/>
                  <a:pt x="175" y="170"/>
                </a:cubicBezTo>
                <a:cubicBezTo>
                  <a:pt x="199" y="170"/>
                  <a:pt x="199" y="170"/>
                  <a:pt x="199" y="170"/>
                </a:cubicBezTo>
                <a:cubicBezTo>
                  <a:pt x="199" y="154"/>
                  <a:pt x="199" y="154"/>
                  <a:pt x="199" y="154"/>
                </a:cubicBezTo>
                <a:cubicBezTo>
                  <a:pt x="146" y="154"/>
                  <a:pt x="146" y="154"/>
                  <a:pt x="146" y="154"/>
                </a:cubicBezTo>
                <a:cubicBezTo>
                  <a:pt x="146" y="242"/>
                  <a:pt x="146" y="242"/>
                  <a:pt x="146" y="242"/>
                </a:cubicBezTo>
                <a:cubicBezTo>
                  <a:pt x="199" y="242"/>
                  <a:pt x="199" y="242"/>
                  <a:pt x="199" y="242"/>
                </a:cubicBezTo>
                <a:cubicBezTo>
                  <a:pt x="199" y="214"/>
                  <a:pt x="199" y="214"/>
                  <a:pt x="199" y="214"/>
                </a:cubicBezTo>
                <a:cubicBezTo>
                  <a:pt x="179" y="214"/>
                  <a:pt x="179" y="214"/>
                  <a:pt x="179" y="214"/>
                </a:cubicBezTo>
                <a:cubicBezTo>
                  <a:pt x="177" y="214"/>
                  <a:pt x="175" y="212"/>
                  <a:pt x="175" y="209"/>
                </a:cubicBezTo>
                <a:cubicBezTo>
                  <a:pt x="175" y="207"/>
                  <a:pt x="177" y="205"/>
                  <a:pt x="179" y="205"/>
                </a:cubicBezTo>
                <a:cubicBezTo>
                  <a:pt x="199" y="205"/>
                  <a:pt x="199" y="205"/>
                  <a:pt x="199" y="205"/>
                </a:cubicBezTo>
                <a:cubicBezTo>
                  <a:pt x="199" y="192"/>
                  <a:pt x="199" y="192"/>
                  <a:pt x="199" y="192"/>
                </a:cubicBezTo>
                <a:close/>
                <a:moveTo>
                  <a:pt x="199" y="0"/>
                </a:moveTo>
                <a:cubicBezTo>
                  <a:pt x="146" y="0"/>
                  <a:pt x="146" y="0"/>
                  <a:pt x="146" y="0"/>
                </a:cubicBezTo>
                <a:cubicBezTo>
                  <a:pt x="146" y="16"/>
                  <a:pt x="146" y="16"/>
                  <a:pt x="146" y="16"/>
                </a:cubicBezTo>
                <a:cubicBezTo>
                  <a:pt x="199" y="16"/>
                  <a:pt x="199" y="16"/>
                  <a:pt x="199" y="16"/>
                </a:cubicBezTo>
                <a:lnTo>
                  <a:pt x="199" y="0"/>
                </a:lnTo>
                <a:close/>
                <a:moveTo>
                  <a:pt x="146" y="0"/>
                </a:moveTo>
                <a:cubicBezTo>
                  <a:pt x="23" y="0"/>
                  <a:pt x="23" y="0"/>
                  <a:pt x="23" y="0"/>
                </a:cubicBezTo>
                <a:cubicBezTo>
                  <a:pt x="10" y="0"/>
                  <a:pt x="0" y="11"/>
                  <a:pt x="0" y="24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60"/>
                  <a:pt x="10" y="170"/>
                  <a:pt x="23" y="170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17" y="192"/>
                  <a:pt x="117" y="192"/>
                  <a:pt x="117" y="192"/>
                </a:cubicBezTo>
                <a:cubicBezTo>
                  <a:pt x="75" y="192"/>
                  <a:pt x="75" y="192"/>
                  <a:pt x="75" y="192"/>
                </a:cubicBezTo>
                <a:cubicBezTo>
                  <a:pt x="62" y="192"/>
                  <a:pt x="52" y="203"/>
                  <a:pt x="52" y="216"/>
                </a:cubicBezTo>
                <a:cubicBezTo>
                  <a:pt x="52" y="219"/>
                  <a:pt x="52" y="219"/>
                  <a:pt x="52" y="219"/>
                </a:cubicBezTo>
                <a:cubicBezTo>
                  <a:pt x="52" y="232"/>
                  <a:pt x="62" y="242"/>
                  <a:pt x="75" y="242"/>
                </a:cubicBezTo>
                <a:cubicBezTo>
                  <a:pt x="146" y="242"/>
                  <a:pt x="146" y="242"/>
                  <a:pt x="146" y="242"/>
                </a:cubicBezTo>
                <a:cubicBezTo>
                  <a:pt x="146" y="154"/>
                  <a:pt x="146" y="154"/>
                  <a:pt x="146" y="154"/>
                </a:cubicBezTo>
                <a:cubicBezTo>
                  <a:pt x="37" y="154"/>
                  <a:pt x="37" y="154"/>
                  <a:pt x="37" y="154"/>
                </a:cubicBezTo>
                <a:cubicBezTo>
                  <a:pt x="37" y="154"/>
                  <a:pt x="37" y="154"/>
                  <a:pt x="37" y="154"/>
                </a:cubicBezTo>
                <a:cubicBezTo>
                  <a:pt x="26" y="154"/>
                  <a:pt x="17" y="146"/>
                  <a:pt x="17" y="1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24"/>
                  <a:pt x="26" y="16"/>
                  <a:pt x="37" y="16"/>
                </a:cubicBezTo>
                <a:cubicBezTo>
                  <a:pt x="146" y="16"/>
                  <a:pt x="146" y="16"/>
                  <a:pt x="146" y="16"/>
                </a:cubicBezTo>
                <a:lnTo>
                  <a:pt x="146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8" name="Freeform 46"/>
          <p:cNvSpPr>
            <a:spLocks noEditPoints="1"/>
          </p:cNvSpPr>
          <p:nvPr/>
        </p:nvSpPr>
        <p:spPr bwMode="auto">
          <a:xfrm>
            <a:off x="9371334" y="2623528"/>
            <a:ext cx="819150" cy="955675"/>
          </a:xfrm>
          <a:custGeom>
            <a:avLst/>
            <a:gdLst>
              <a:gd name="T0" fmla="*/ 376 w 376"/>
              <a:gd name="T1" fmla="*/ 43 h 438"/>
              <a:gd name="T2" fmla="*/ 324 w 376"/>
              <a:gd name="T3" fmla="*/ 32 h 438"/>
              <a:gd name="T4" fmla="*/ 334 w 376"/>
              <a:gd name="T5" fmla="*/ 54 h 438"/>
              <a:gd name="T6" fmla="*/ 324 w 376"/>
              <a:gd name="T7" fmla="*/ 59 h 438"/>
              <a:gd name="T8" fmla="*/ 272 w 376"/>
              <a:gd name="T9" fmla="*/ 63 h 438"/>
              <a:gd name="T10" fmla="*/ 304 w 376"/>
              <a:gd name="T11" fmla="*/ 98 h 438"/>
              <a:gd name="T12" fmla="*/ 256 w 376"/>
              <a:gd name="T13" fmla="*/ 81 h 438"/>
              <a:gd name="T14" fmla="*/ 271 w 376"/>
              <a:gd name="T15" fmla="*/ 103 h 438"/>
              <a:gd name="T16" fmla="*/ 241 w 376"/>
              <a:gd name="T17" fmla="*/ 100 h 438"/>
              <a:gd name="T18" fmla="*/ 256 w 376"/>
              <a:gd name="T19" fmla="*/ 122 h 438"/>
              <a:gd name="T20" fmla="*/ 226 w 376"/>
              <a:gd name="T21" fmla="*/ 119 h 438"/>
              <a:gd name="T22" fmla="*/ 240 w 376"/>
              <a:gd name="T23" fmla="*/ 140 h 438"/>
              <a:gd name="T24" fmla="*/ 210 w 376"/>
              <a:gd name="T25" fmla="*/ 138 h 438"/>
              <a:gd name="T26" fmla="*/ 242 w 376"/>
              <a:gd name="T27" fmla="*/ 173 h 438"/>
              <a:gd name="T28" fmla="*/ 195 w 376"/>
              <a:gd name="T29" fmla="*/ 156 h 438"/>
              <a:gd name="T30" fmla="*/ 210 w 376"/>
              <a:gd name="T31" fmla="*/ 178 h 438"/>
              <a:gd name="T32" fmla="*/ 180 w 376"/>
              <a:gd name="T33" fmla="*/ 175 h 438"/>
              <a:gd name="T34" fmla="*/ 194 w 376"/>
              <a:gd name="T35" fmla="*/ 197 h 438"/>
              <a:gd name="T36" fmla="*/ 164 w 376"/>
              <a:gd name="T37" fmla="*/ 194 h 438"/>
              <a:gd name="T38" fmla="*/ 179 w 376"/>
              <a:gd name="T39" fmla="*/ 215 h 438"/>
              <a:gd name="T40" fmla="*/ 149 w 376"/>
              <a:gd name="T41" fmla="*/ 213 h 438"/>
              <a:gd name="T42" fmla="*/ 181 w 376"/>
              <a:gd name="T43" fmla="*/ 248 h 438"/>
              <a:gd name="T44" fmla="*/ 134 w 376"/>
              <a:gd name="T45" fmla="*/ 232 h 438"/>
              <a:gd name="T46" fmla="*/ 148 w 376"/>
              <a:gd name="T47" fmla="*/ 253 h 438"/>
              <a:gd name="T48" fmla="*/ 118 w 376"/>
              <a:gd name="T49" fmla="*/ 250 h 438"/>
              <a:gd name="T50" fmla="*/ 133 w 376"/>
              <a:gd name="T51" fmla="*/ 272 h 438"/>
              <a:gd name="T52" fmla="*/ 103 w 376"/>
              <a:gd name="T53" fmla="*/ 269 h 438"/>
              <a:gd name="T54" fmla="*/ 117 w 376"/>
              <a:gd name="T55" fmla="*/ 290 h 438"/>
              <a:gd name="T56" fmla="*/ 88 w 376"/>
              <a:gd name="T57" fmla="*/ 288 h 438"/>
              <a:gd name="T58" fmla="*/ 119 w 376"/>
              <a:gd name="T59" fmla="*/ 323 h 438"/>
              <a:gd name="T60" fmla="*/ 72 w 376"/>
              <a:gd name="T61" fmla="*/ 307 h 438"/>
              <a:gd name="T62" fmla="*/ 87 w 376"/>
              <a:gd name="T63" fmla="*/ 328 h 438"/>
              <a:gd name="T64" fmla="*/ 57 w 376"/>
              <a:gd name="T65" fmla="*/ 325 h 438"/>
              <a:gd name="T66" fmla="*/ 71 w 376"/>
              <a:gd name="T67" fmla="*/ 347 h 438"/>
              <a:gd name="T68" fmla="*/ 42 w 376"/>
              <a:gd name="T69" fmla="*/ 344 h 438"/>
              <a:gd name="T70" fmla="*/ 56 w 376"/>
              <a:gd name="T71" fmla="*/ 366 h 438"/>
              <a:gd name="T72" fmla="*/ 26 w 376"/>
              <a:gd name="T73" fmla="*/ 363 h 438"/>
              <a:gd name="T74" fmla="*/ 58 w 376"/>
              <a:gd name="T75" fmla="*/ 398 h 438"/>
              <a:gd name="T76" fmla="*/ 0 w 376"/>
              <a:gd name="T77" fmla="*/ 395 h 438"/>
              <a:gd name="T78" fmla="*/ 324 w 376"/>
              <a:gd name="T79" fmla="*/ 106 h 438"/>
              <a:gd name="T80" fmla="*/ 316 w 376"/>
              <a:gd name="T81" fmla="*/ 56 h 438"/>
              <a:gd name="T82" fmla="*/ 324 w 376"/>
              <a:gd name="T83" fmla="*/ 32 h 438"/>
              <a:gd name="T84" fmla="*/ 323 w 376"/>
              <a:gd name="T85" fmla="*/ 0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76" h="438">
                <a:moveTo>
                  <a:pt x="324" y="106"/>
                </a:moveTo>
                <a:cubicBezTo>
                  <a:pt x="376" y="43"/>
                  <a:pt x="376" y="43"/>
                  <a:pt x="376" y="43"/>
                </a:cubicBezTo>
                <a:cubicBezTo>
                  <a:pt x="324" y="1"/>
                  <a:pt x="324" y="1"/>
                  <a:pt x="324" y="1"/>
                </a:cubicBezTo>
                <a:cubicBezTo>
                  <a:pt x="324" y="32"/>
                  <a:pt x="324" y="32"/>
                  <a:pt x="324" y="32"/>
                </a:cubicBezTo>
                <a:cubicBezTo>
                  <a:pt x="327" y="32"/>
                  <a:pt x="330" y="33"/>
                  <a:pt x="332" y="35"/>
                </a:cubicBezTo>
                <a:cubicBezTo>
                  <a:pt x="338" y="40"/>
                  <a:pt x="339" y="49"/>
                  <a:pt x="334" y="54"/>
                </a:cubicBezTo>
                <a:cubicBezTo>
                  <a:pt x="334" y="54"/>
                  <a:pt x="334" y="54"/>
                  <a:pt x="334" y="54"/>
                </a:cubicBezTo>
                <a:cubicBezTo>
                  <a:pt x="332" y="57"/>
                  <a:pt x="328" y="59"/>
                  <a:pt x="324" y="59"/>
                </a:cubicBezTo>
                <a:lnTo>
                  <a:pt x="324" y="106"/>
                </a:lnTo>
                <a:close/>
                <a:moveTo>
                  <a:pt x="272" y="63"/>
                </a:moveTo>
                <a:cubicBezTo>
                  <a:pt x="308" y="92"/>
                  <a:pt x="308" y="92"/>
                  <a:pt x="308" y="92"/>
                </a:cubicBezTo>
                <a:cubicBezTo>
                  <a:pt x="304" y="98"/>
                  <a:pt x="304" y="98"/>
                  <a:pt x="304" y="98"/>
                </a:cubicBezTo>
                <a:cubicBezTo>
                  <a:pt x="267" y="68"/>
                  <a:pt x="267" y="68"/>
                  <a:pt x="267" y="68"/>
                </a:cubicBezTo>
                <a:cubicBezTo>
                  <a:pt x="256" y="81"/>
                  <a:pt x="256" y="81"/>
                  <a:pt x="256" y="81"/>
                </a:cubicBezTo>
                <a:cubicBezTo>
                  <a:pt x="276" y="97"/>
                  <a:pt x="276" y="97"/>
                  <a:pt x="276" y="97"/>
                </a:cubicBezTo>
                <a:cubicBezTo>
                  <a:pt x="271" y="103"/>
                  <a:pt x="271" y="103"/>
                  <a:pt x="271" y="103"/>
                </a:cubicBezTo>
                <a:cubicBezTo>
                  <a:pt x="252" y="87"/>
                  <a:pt x="252" y="87"/>
                  <a:pt x="252" y="87"/>
                </a:cubicBezTo>
                <a:cubicBezTo>
                  <a:pt x="241" y="100"/>
                  <a:pt x="241" y="100"/>
                  <a:pt x="241" y="100"/>
                </a:cubicBezTo>
                <a:cubicBezTo>
                  <a:pt x="260" y="116"/>
                  <a:pt x="260" y="116"/>
                  <a:pt x="260" y="116"/>
                </a:cubicBezTo>
                <a:cubicBezTo>
                  <a:pt x="256" y="122"/>
                  <a:pt x="256" y="122"/>
                  <a:pt x="256" y="122"/>
                </a:cubicBezTo>
                <a:cubicBezTo>
                  <a:pt x="236" y="106"/>
                  <a:pt x="236" y="106"/>
                  <a:pt x="236" y="106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45" y="135"/>
                  <a:pt x="245" y="135"/>
                  <a:pt x="245" y="135"/>
                </a:cubicBezTo>
                <a:cubicBezTo>
                  <a:pt x="240" y="140"/>
                  <a:pt x="240" y="140"/>
                  <a:pt x="240" y="140"/>
                </a:cubicBezTo>
                <a:cubicBezTo>
                  <a:pt x="221" y="125"/>
                  <a:pt x="221" y="125"/>
                  <a:pt x="221" y="125"/>
                </a:cubicBezTo>
                <a:cubicBezTo>
                  <a:pt x="210" y="138"/>
                  <a:pt x="210" y="138"/>
                  <a:pt x="210" y="138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2" y="173"/>
                  <a:pt x="242" y="173"/>
                  <a:pt x="242" y="173"/>
                </a:cubicBezTo>
                <a:cubicBezTo>
                  <a:pt x="206" y="143"/>
                  <a:pt x="206" y="143"/>
                  <a:pt x="206" y="143"/>
                </a:cubicBezTo>
                <a:cubicBezTo>
                  <a:pt x="195" y="156"/>
                  <a:pt x="195" y="156"/>
                  <a:pt x="195" y="156"/>
                </a:cubicBezTo>
                <a:cubicBezTo>
                  <a:pt x="214" y="172"/>
                  <a:pt x="214" y="172"/>
                  <a:pt x="214" y="172"/>
                </a:cubicBezTo>
                <a:cubicBezTo>
                  <a:pt x="210" y="178"/>
                  <a:pt x="210" y="178"/>
                  <a:pt x="210" y="178"/>
                </a:cubicBezTo>
                <a:cubicBezTo>
                  <a:pt x="190" y="162"/>
                  <a:pt x="190" y="162"/>
                  <a:pt x="190" y="162"/>
                </a:cubicBezTo>
                <a:cubicBezTo>
                  <a:pt x="180" y="175"/>
                  <a:pt x="180" y="175"/>
                  <a:pt x="180" y="175"/>
                </a:cubicBezTo>
                <a:cubicBezTo>
                  <a:pt x="199" y="191"/>
                  <a:pt x="199" y="191"/>
                  <a:pt x="199" y="191"/>
                </a:cubicBezTo>
                <a:cubicBezTo>
                  <a:pt x="194" y="197"/>
                  <a:pt x="194" y="197"/>
                  <a:pt x="194" y="197"/>
                </a:cubicBezTo>
                <a:cubicBezTo>
                  <a:pt x="175" y="181"/>
                  <a:pt x="175" y="181"/>
                  <a:pt x="175" y="181"/>
                </a:cubicBezTo>
                <a:cubicBezTo>
                  <a:pt x="164" y="194"/>
                  <a:pt x="164" y="194"/>
                  <a:pt x="164" y="194"/>
                </a:cubicBezTo>
                <a:cubicBezTo>
                  <a:pt x="184" y="210"/>
                  <a:pt x="184" y="210"/>
                  <a:pt x="184" y="210"/>
                </a:cubicBezTo>
                <a:cubicBezTo>
                  <a:pt x="179" y="215"/>
                  <a:pt x="179" y="215"/>
                  <a:pt x="179" y="215"/>
                </a:cubicBezTo>
                <a:cubicBezTo>
                  <a:pt x="160" y="200"/>
                  <a:pt x="160" y="200"/>
                  <a:pt x="160" y="200"/>
                </a:cubicBezTo>
                <a:cubicBezTo>
                  <a:pt x="149" y="213"/>
                  <a:pt x="149" y="213"/>
                  <a:pt x="149" y="213"/>
                </a:cubicBezTo>
                <a:cubicBezTo>
                  <a:pt x="185" y="243"/>
                  <a:pt x="185" y="243"/>
                  <a:pt x="185" y="243"/>
                </a:cubicBezTo>
                <a:cubicBezTo>
                  <a:pt x="181" y="248"/>
                  <a:pt x="181" y="248"/>
                  <a:pt x="181" y="248"/>
                </a:cubicBezTo>
                <a:cubicBezTo>
                  <a:pt x="144" y="218"/>
                  <a:pt x="144" y="218"/>
                  <a:pt x="144" y="218"/>
                </a:cubicBezTo>
                <a:cubicBezTo>
                  <a:pt x="134" y="232"/>
                  <a:pt x="134" y="232"/>
                  <a:pt x="134" y="232"/>
                </a:cubicBezTo>
                <a:cubicBezTo>
                  <a:pt x="153" y="247"/>
                  <a:pt x="153" y="247"/>
                  <a:pt x="153" y="247"/>
                </a:cubicBezTo>
                <a:cubicBezTo>
                  <a:pt x="148" y="253"/>
                  <a:pt x="148" y="253"/>
                  <a:pt x="148" y="253"/>
                </a:cubicBezTo>
                <a:cubicBezTo>
                  <a:pt x="129" y="237"/>
                  <a:pt x="129" y="237"/>
                  <a:pt x="129" y="237"/>
                </a:cubicBezTo>
                <a:cubicBezTo>
                  <a:pt x="118" y="250"/>
                  <a:pt x="118" y="250"/>
                  <a:pt x="118" y="250"/>
                </a:cubicBezTo>
                <a:cubicBezTo>
                  <a:pt x="137" y="266"/>
                  <a:pt x="137" y="266"/>
                  <a:pt x="137" y="266"/>
                </a:cubicBezTo>
                <a:cubicBezTo>
                  <a:pt x="133" y="272"/>
                  <a:pt x="133" y="272"/>
                  <a:pt x="133" y="272"/>
                </a:cubicBezTo>
                <a:cubicBezTo>
                  <a:pt x="114" y="256"/>
                  <a:pt x="114" y="256"/>
                  <a:pt x="114" y="256"/>
                </a:cubicBezTo>
                <a:cubicBezTo>
                  <a:pt x="103" y="269"/>
                  <a:pt x="103" y="269"/>
                  <a:pt x="103" y="269"/>
                </a:cubicBezTo>
                <a:cubicBezTo>
                  <a:pt x="122" y="285"/>
                  <a:pt x="122" y="285"/>
                  <a:pt x="122" y="285"/>
                </a:cubicBezTo>
                <a:cubicBezTo>
                  <a:pt x="117" y="290"/>
                  <a:pt x="117" y="290"/>
                  <a:pt x="117" y="290"/>
                </a:cubicBezTo>
                <a:cubicBezTo>
                  <a:pt x="98" y="275"/>
                  <a:pt x="98" y="275"/>
                  <a:pt x="98" y="275"/>
                </a:cubicBezTo>
                <a:cubicBezTo>
                  <a:pt x="88" y="288"/>
                  <a:pt x="88" y="288"/>
                  <a:pt x="88" y="288"/>
                </a:cubicBezTo>
                <a:cubicBezTo>
                  <a:pt x="124" y="318"/>
                  <a:pt x="124" y="318"/>
                  <a:pt x="124" y="318"/>
                </a:cubicBezTo>
                <a:cubicBezTo>
                  <a:pt x="119" y="323"/>
                  <a:pt x="119" y="323"/>
                  <a:pt x="119" y="323"/>
                </a:cubicBezTo>
                <a:cubicBezTo>
                  <a:pt x="83" y="294"/>
                  <a:pt x="83" y="294"/>
                  <a:pt x="83" y="294"/>
                </a:cubicBezTo>
                <a:cubicBezTo>
                  <a:pt x="72" y="307"/>
                  <a:pt x="72" y="307"/>
                  <a:pt x="72" y="307"/>
                </a:cubicBezTo>
                <a:cubicBezTo>
                  <a:pt x="91" y="322"/>
                  <a:pt x="91" y="322"/>
                  <a:pt x="91" y="322"/>
                </a:cubicBezTo>
                <a:cubicBezTo>
                  <a:pt x="87" y="328"/>
                  <a:pt x="87" y="328"/>
                  <a:pt x="87" y="328"/>
                </a:cubicBezTo>
                <a:cubicBezTo>
                  <a:pt x="68" y="312"/>
                  <a:pt x="68" y="312"/>
                  <a:pt x="68" y="312"/>
                </a:cubicBezTo>
                <a:cubicBezTo>
                  <a:pt x="57" y="325"/>
                  <a:pt x="57" y="325"/>
                  <a:pt x="57" y="325"/>
                </a:cubicBezTo>
                <a:cubicBezTo>
                  <a:pt x="76" y="341"/>
                  <a:pt x="76" y="341"/>
                  <a:pt x="76" y="341"/>
                </a:cubicBezTo>
                <a:cubicBezTo>
                  <a:pt x="71" y="347"/>
                  <a:pt x="71" y="347"/>
                  <a:pt x="71" y="347"/>
                </a:cubicBezTo>
                <a:cubicBezTo>
                  <a:pt x="52" y="331"/>
                  <a:pt x="52" y="331"/>
                  <a:pt x="52" y="331"/>
                </a:cubicBezTo>
                <a:cubicBezTo>
                  <a:pt x="42" y="344"/>
                  <a:pt x="42" y="344"/>
                  <a:pt x="42" y="344"/>
                </a:cubicBezTo>
                <a:cubicBezTo>
                  <a:pt x="61" y="360"/>
                  <a:pt x="61" y="360"/>
                  <a:pt x="61" y="360"/>
                </a:cubicBezTo>
                <a:cubicBezTo>
                  <a:pt x="56" y="366"/>
                  <a:pt x="56" y="366"/>
                  <a:pt x="56" y="366"/>
                </a:cubicBezTo>
                <a:cubicBezTo>
                  <a:pt x="37" y="350"/>
                  <a:pt x="37" y="350"/>
                  <a:pt x="37" y="350"/>
                </a:cubicBezTo>
                <a:cubicBezTo>
                  <a:pt x="26" y="363"/>
                  <a:pt x="26" y="363"/>
                  <a:pt x="26" y="363"/>
                </a:cubicBezTo>
                <a:cubicBezTo>
                  <a:pt x="63" y="393"/>
                  <a:pt x="63" y="393"/>
                  <a:pt x="63" y="393"/>
                </a:cubicBezTo>
                <a:cubicBezTo>
                  <a:pt x="58" y="398"/>
                  <a:pt x="58" y="398"/>
                  <a:pt x="58" y="398"/>
                </a:cubicBezTo>
                <a:cubicBezTo>
                  <a:pt x="22" y="369"/>
                  <a:pt x="22" y="369"/>
                  <a:pt x="22" y="369"/>
                </a:cubicBezTo>
                <a:cubicBezTo>
                  <a:pt x="0" y="395"/>
                  <a:pt x="0" y="395"/>
                  <a:pt x="0" y="395"/>
                </a:cubicBezTo>
                <a:cubicBezTo>
                  <a:pt x="53" y="438"/>
                  <a:pt x="53" y="438"/>
                  <a:pt x="53" y="438"/>
                </a:cubicBezTo>
                <a:cubicBezTo>
                  <a:pt x="324" y="106"/>
                  <a:pt x="324" y="106"/>
                  <a:pt x="324" y="106"/>
                </a:cubicBezTo>
                <a:cubicBezTo>
                  <a:pt x="324" y="59"/>
                  <a:pt x="324" y="59"/>
                  <a:pt x="324" y="59"/>
                </a:cubicBezTo>
                <a:cubicBezTo>
                  <a:pt x="321" y="59"/>
                  <a:pt x="318" y="58"/>
                  <a:pt x="316" y="56"/>
                </a:cubicBezTo>
                <a:cubicBezTo>
                  <a:pt x="310" y="51"/>
                  <a:pt x="309" y="43"/>
                  <a:pt x="314" y="37"/>
                </a:cubicBezTo>
                <a:cubicBezTo>
                  <a:pt x="316" y="34"/>
                  <a:pt x="320" y="32"/>
                  <a:pt x="324" y="32"/>
                </a:cubicBezTo>
                <a:cubicBezTo>
                  <a:pt x="324" y="1"/>
                  <a:pt x="324" y="1"/>
                  <a:pt x="324" y="1"/>
                </a:cubicBezTo>
                <a:cubicBezTo>
                  <a:pt x="323" y="0"/>
                  <a:pt x="323" y="0"/>
                  <a:pt x="323" y="0"/>
                </a:cubicBezTo>
                <a:lnTo>
                  <a:pt x="272" y="63"/>
                </a:lnTo>
                <a:close/>
              </a:path>
            </a:pathLst>
          </a:custGeom>
          <a:solidFill>
            <a:srgbClr val="E62A2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9" name="Freeform 47"/>
          <p:cNvSpPr>
            <a:spLocks noEditPoints="1"/>
          </p:cNvSpPr>
          <p:nvPr/>
        </p:nvSpPr>
        <p:spPr bwMode="auto">
          <a:xfrm>
            <a:off x="9992046" y="2902928"/>
            <a:ext cx="354013" cy="695325"/>
          </a:xfrm>
          <a:custGeom>
            <a:avLst/>
            <a:gdLst>
              <a:gd name="T0" fmla="*/ 121 w 162"/>
              <a:gd name="T1" fmla="*/ 144 h 319"/>
              <a:gd name="T2" fmla="*/ 128 w 162"/>
              <a:gd name="T3" fmla="*/ 138 h 319"/>
              <a:gd name="T4" fmla="*/ 150 w 162"/>
              <a:gd name="T5" fmla="*/ 80 h 319"/>
              <a:gd name="T6" fmla="*/ 147 w 162"/>
              <a:gd name="T7" fmla="*/ 69 h 319"/>
              <a:gd name="T8" fmla="*/ 156 w 162"/>
              <a:gd name="T9" fmla="*/ 46 h 319"/>
              <a:gd name="T10" fmla="*/ 137 w 162"/>
              <a:gd name="T11" fmla="*/ 3 h 319"/>
              <a:gd name="T12" fmla="*/ 121 w 162"/>
              <a:gd name="T13" fmla="*/ 1 h 319"/>
              <a:gd name="T14" fmla="*/ 121 w 162"/>
              <a:gd name="T15" fmla="*/ 58 h 319"/>
              <a:gd name="T16" fmla="*/ 126 w 162"/>
              <a:gd name="T17" fmla="*/ 61 h 319"/>
              <a:gd name="T18" fmla="*/ 121 w 162"/>
              <a:gd name="T19" fmla="*/ 59 h 319"/>
              <a:gd name="T20" fmla="*/ 121 w 162"/>
              <a:gd name="T21" fmla="*/ 85 h 319"/>
              <a:gd name="T22" fmla="*/ 125 w 162"/>
              <a:gd name="T23" fmla="*/ 75 h 319"/>
              <a:gd name="T24" fmla="*/ 123 w 162"/>
              <a:gd name="T25" fmla="*/ 66 h 319"/>
              <a:gd name="T26" fmla="*/ 139 w 162"/>
              <a:gd name="T27" fmla="*/ 72 h 319"/>
              <a:gd name="T28" fmla="*/ 144 w 162"/>
              <a:gd name="T29" fmla="*/ 83 h 319"/>
              <a:gd name="T30" fmla="*/ 125 w 162"/>
              <a:gd name="T31" fmla="*/ 132 h 319"/>
              <a:gd name="T32" fmla="*/ 121 w 162"/>
              <a:gd name="T33" fmla="*/ 136 h 319"/>
              <a:gd name="T34" fmla="*/ 121 w 162"/>
              <a:gd name="T35" fmla="*/ 144 h 319"/>
              <a:gd name="T36" fmla="*/ 66 w 162"/>
              <a:gd name="T37" fmla="*/ 284 h 319"/>
              <a:gd name="T38" fmla="*/ 121 w 162"/>
              <a:gd name="T39" fmla="*/ 144 h 319"/>
              <a:gd name="T40" fmla="*/ 121 w 162"/>
              <a:gd name="T41" fmla="*/ 144 h 319"/>
              <a:gd name="T42" fmla="*/ 121 w 162"/>
              <a:gd name="T43" fmla="*/ 136 h 319"/>
              <a:gd name="T44" fmla="*/ 114 w 162"/>
              <a:gd name="T45" fmla="*/ 137 h 319"/>
              <a:gd name="T46" fmla="*/ 98 w 162"/>
              <a:gd name="T47" fmla="*/ 130 h 319"/>
              <a:gd name="T48" fmla="*/ 98 w 162"/>
              <a:gd name="T49" fmla="*/ 130 h 319"/>
              <a:gd name="T50" fmla="*/ 106 w 162"/>
              <a:gd name="T51" fmla="*/ 125 h 319"/>
              <a:gd name="T52" fmla="*/ 121 w 162"/>
              <a:gd name="T53" fmla="*/ 85 h 319"/>
              <a:gd name="T54" fmla="*/ 121 w 162"/>
              <a:gd name="T55" fmla="*/ 59 h 319"/>
              <a:gd name="T56" fmla="*/ 85 w 162"/>
              <a:gd name="T57" fmla="*/ 45 h 319"/>
              <a:gd name="T58" fmla="*/ 74 w 162"/>
              <a:gd name="T59" fmla="*/ 51 h 319"/>
              <a:gd name="T60" fmla="*/ 52 w 162"/>
              <a:gd name="T61" fmla="*/ 108 h 319"/>
              <a:gd name="T62" fmla="*/ 54 w 162"/>
              <a:gd name="T63" fmla="*/ 118 h 319"/>
              <a:gd name="T64" fmla="*/ 35 w 162"/>
              <a:gd name="T65" fmla="*/ 168 h 319"/>
              <a:gd name="T66" fmla="*/ 35 w 162"/>
              <a:gd name="T67" fmla="*/ 256 h 319"/>
              <a:gd name="T68" fmla="*/ 39 w 162"/>
              <a:gd name="T69" fmla="*/ 257 h 319"/>
              <a:gd name="T70" fmla="*/ 45 w 162"/>
              <a:gd name="T71" fmla="*/ 268 h 319"/>
              <a:gd name="T72" fmla="*/ 58 w 162"/>
              <a:gd name="T73" fmla="*/ 264 h 319"/>
              <a:gd name="T74" fmla="*/ 64 w 162"/>
              <a:gd name="T75" fmla="*/ 278 h 319"/>
              <a:gd name="T76" fmla="*/ 63 w 162"/>
              <a:gd name="T77" fmla="*/ 281 h 319"/>
              <a:gd name="T78" fmla="*/ 35 w 162"/>
              <a:gd name="T79" fmla="*/ 300 h 319"/>
              <a:gd name="T80" fmla="*/ 35 w 162"/>
              <a:gd name="T81" fmla="*/ 306 h 319"/>
              <a:gd name="T82" fmla="*/ 66 w 162"/>
              <a:gd name="T83" fmla="*/ 284 h 319"/>
              <a:gd name="T84" fmla="*/ 121 w 162"/>
              <a:gd name="T85" fmla="*/ 1 h 319"/>
              <a:gd name="T86" fmla="*/ 121 w 162"/>
              <a:gd name="T87" fmla="*/ 58 h 319"/>
              <a:gd name="T88" fmla="*/ 88 w 162"/>
              <a:gd name="T89" fmla="*/ 36 h 319"/>
              <a:gd name="T90" fmla="*/ 94 w 162"/>
              <a:gd name="T91" fmla="*/ 22 h 319"/>
              <a:gd name="T92" fmla="*/ 121 w 162"/>
              <a:gd name="T93" fmla="*/ 1 h 319"/>
              <a:gd name="T94" fmla="*/ 35 w 162"/>
              <a:gd name="T95" fmla="*/ 168 h 319"/>
              <a:gd name="T96" fmla="*/ 0 w 162"/>
              <a:gd name="T97" fmla="*/ 258 h 319"/>
              <a:gd name="T98" fmla="*/ 15 w 162"/>
              <a:gd name="T99" fmla="*/ 319 h 319"/>
              <a:gd name="T100" fmla="*/ 35 w 162"/>
              <a:gd name="T101" fmla="*/ 306 h 319"/>
              <a:gd name="T102" fmla="*/ 35 w 162"/>
              <a:gd name="T103" fmla="*/ 300 h 319"/>
              <a:gd name="T104" fmla="*/ 33 w 162"/>
              <a:gd name="T105" fmla="*/ 301 h 319"/>
              <a:gd name="T106" fmla="*/ 13 w 162"/>
              <a:gd name="T107" fmla="*/ 294 h 319"/>
              <a:gd name="T108" fmla="*/ 5 w 162"/>
              <a:gd name="T109" fmla="*/ 259 h 319"/>
              <a:gd name="T110" fmla="*/ 5 w 162"/>
              <a:gd name="T111" fmla="*/ 259 h 319"/>
              <a:gd name="T112" fmla="*/ 6 w 162"/>
              <a:gd name="T113" fmla="*/ 256 h 319"/>
              <a:gd name="T114" fmla="*/ 19 w 162"/>
              <a:gd name="T115" fmla="*/ 250 h 319"/>
              <a:gd name="T116" fmla="*/ 26 w 162"/>
              <a:gd name="T117" fmla="*/ 261 h 319"/>
              <a:gd name="T118" fmla="*/ 35 w 162"/>
              <a:gd name="T119" fmla="*/ 256 h 319"/>
              <a:gd name="T120" fmla="*/ 35 w 162"/>
              <a:gd name="T121" fmla="*/ 16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2" h="319">
                <a:moveTo>
                  <a:pt x="121" y="144"/>
                </a:moveTo>
                <a:cubicBezTo>
                  <a:pt x="124" y="143"/>
                  <a:pt x="127" y="141"/>
                  <a:pt x="128" y="138"/>
                </a:cubicBezTo>
                <a:cubicBezTo>
                  <a:pt x="150" y="80"/>
                  <a:pt x="150" y="80"/>
                  <a:pt x="150" y="80"/>
                </a:cubicBezTo>
                <a:cubicBezTo>
                  <a:pt x="152" y="76"/>
                  <a:pt x="150" y="71"/>
                  <a:pt x="147" y="69"/>
                </a:cubicBezTo>
                <a:cubicBezTo>
                  <a:pt x="156" y="46"/>
                  <a:pt x="156" y="46"/>
                  <a:pt x="156" y="46"/>
                </a:cubicBezTo>
                <a:cubicBezTo>
                  <a:pt x="162" y="29"/>
                  <a:pt x="154" y="9"/>
                  <a:pt x="137" y="3"/>
                </a:cubicBezTo>
                <a:cubicBezTo>
                  <a:pt x="132" y="1"/>
                  <a:pt x="126" y="0"/>
                  <a:pt x="121" y="1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6" y="61"/>
                  <a:pt x="126" y="61"/>
                  <a:pt x="126" y="61"/>
                </a:cubicBezTo>
                <a:cubicBezTo>
                  <a:pt x="121" y="59"/>
                  <a:pt x="121" y="59"/>
                  <a:pt x="121" y="59"/>
                </a:cubicBezTo>
                <a:cubicBezTo>
                  <a:pt x="121" y="85"/>
                  <a:pt x="121" y="85"/>
                  <a:pt x="121" y="85"/>
                </a:cubicBezTo>
                <a:cubicBezTo>
                  <a:pt x="125" y="75"/>
                  <a:pt x="125" y="75"/>
                  <a:pt x="125" y="75"/>
                </a:cubicBezTo>
                <a:cubicBezTo>
                  <a:pt x="126" y="72"/>
                  <a:pt x="126" y="68"/>
                  <a:pt x="123" y="66"/>
                </a:cubicBezTo>
                <a:cubicBezTo>
                  <a:pt x="139" y="72"/>
                  <a:pt x="139" y="72"/>
                  <a:pt x="139" y="72"/>
                </a:cubicBezTo>
                <a:cubicBezTo>
                  <a:pt x="143" y="73"/>
                  <a:pt x="146" y="78"/>
                  <a:pt x="144" y="83"/>
                </a:cubicBezTo>
                <a:cubicBezTo>
                  <a:pt x="125" y="132"/>
                  <a:pt x="125" y="132"/>
                  <a:pt x="125" y="132"/>
                </a:cubicBezTo>
                <a:cubicBezTo>
                  <a:pt x="124" y="134"/>
                  <a:pt x="123" y="135"/>
                  <a:pt x="121" y="136"/>
                </a:cubicBezTo>
                <a:lnTo>
                  <a:pt x="121" y="144"/>
                </a:lnTo>
                <a:close/>
                <a:moveTo>
                  <a:pt x="66" y="284"/>
                </a:moveTo>
                <a:cubicBezTo>
                  <a:pt x="121" y="144"/>
                  <a:pt x="121" y="144"/>
                  <a:pt x="121" y="144"/>
                </a:cubicBezTo>
                <a:cubicBezTo>
                  <a:pt x="121" y="144"/>
                  <a:pt x="121" y="144"/>
                  <a:pt x="121" y="144"/>
                </a:cubicBezTo>
                <a:cubicBezTo>
                  <a:pt x="121" y="136"/>
                  <a:pt x="121" y="136"/>
                  <a:pt x="121" y="136"/>
                </a:cubicBezTo>
                <a:cubicBezTo>
                  <a:pt x="119" y="137"/>
                  <a:pt x="117" y="137"/>
                  <a:pt x="114" y="137"/>
                </a:cubicBezTo>
                <a:cubicBezTo>
                  <a:pt x="98" y="130"/>
                  <a:pt x="98" y="130"/>
                  <a:pt x="98" y="130"/>
                </a:cubicBezTo>
                <a:cubicBezTo>
                  <a:pt x="98" y="130"/>
                  <a:pt x="98" y="130"/>
                  <a:pt x="98" y="130"/>
                </a:cubicBezTo>
                <a:cubicBezTo>
                  <a:pt x="102" y="130"/>
                  <a:pt x="105" y="128"/>
                  <a:pt x="106" y="125"/>
                </a:cubicBezTo>
                <a:cubicBezTo>
                  <a:pt x="121" y="85"/>
                  <a:pt x="121" y="85"/>
                  <a:pt x="121" y="85"/>
                </a:cubicBezTo>
                <a:cubicBezTo>
                  <a:pt x="121" y="59"/>
                  <a:pt x="121" y="59"/>
                  <a:pt x="121" y="59"/>
                </a:cubicBezTo>
                <a:cubicBezTo>
                  <a:pt x="85" y="45"/>
                  <a:pt x="85" y="45"/>
                  <a:pt x="85" y="45"/>
                </a:cubicBezTo>
                <a:cubicBezTo>
                  <a:pt x="80" y="44"/>
                  <a:pt x="76" y="47"/>
                  <a:pt x="74" y="51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1" y="112"/>
                  <a:pt x="52" y="115"/>
                  <a:pt x="54" y="118"/>
                </a:cubicBezTo>
                <a:cubicBezTo>
                  <a:pt x="35" y="168"/>
                  <a:pt x="35" y="168"/>
                  <a:pt x="35" y="168"/>
                </a:cubicBezTo>
                <a:cubicBezTo>
                  <a:pt x="35" y="256"/>
                  <a:pt x="35" y="256"/>
                  <a:pt x="35" y="256"/>
                </a:cubicBezTo>
                <a:cubicBezTo>
                  <a:pt x="36" y="256"/>
                  <a:pt x="37" y="257"/>
                  <a:pt x="39" y="257"/>
                </a:cubicBezTo>
                <a:cubicBezTo>
                  <a:pt x="43" y="259"/>
                  <a:pt x="46" y="264"/>
                  <a:pt x="45" y="268"/>
                </a:cubicBezTo>
                <a:cubicBezTo>
                  <a:pt x="48" y="264"/>
                  <a:pt x="53" y="263"/>
                  <a:pt x="58" y="264"/>
                </a:cubicBezTo>
                <a:cubicBezTo>
                  <a:pt x="63" y="267"/>
                  <a:pt x="66" y="273"/>
                  <a:pt x="64" y="278"/>
                </a:cubicBezTo>
                <a:cubicBezTo>
                  <a:pt x="63" y="281"/>
                  <a:pt x="63" y="281"/>
                  <a:pt x="63" y="281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5" y="306"/>
                  <a:pt x="35" y="306"/>
                  <a:pt x="35" y="306"/>
                </a:cubicBezTo>
                <a:cubicBezTo>
                  <a:pt x="66" y="284"/>
                  <a:pt x="66" y="284"/>
                  <a:pt x="66" y="284"/>
                </a:cubicBezTo>
                <a:close/>
                <a:moveTo>
                  <a:pt x="121" y="1"/>
                </a:moveTo>
                <a:cubicBezTo>
                  <a:pt x="121" y="58"/>
                  <a:pt x="121" y="58"/>
                  <a:pt x="121" y="58"/>
                </a:cubicBezTo>
                <a:cubicBezTo>
                  <a:pt x="88" y="36"/>
                  <a:pt x="88" y="36"/>
                  <a:pt x="88" y="36"/>
                </a:cubicBezTo>
                <a:cubicBezTo>
                  <a:pt x="94" y="22"/>
                  <a:pt x="94" y="22"/>
                  <a:pt x="94" y="22"/>
                </a:cubicBezTo>
                <a:cubicBezTo>
                  <a:pt x="98" y="10"/>
                  <a:pt x="109" y="2"/>
                  <a:pt x="121" y="1"/>
                </a:cubicBezTo>
                <a:close/>
                <a:moveTo>
                  <a:pt x="35" y="168"/>
                </a:moveTo>
                <a:cubicBezTo>
                  <a:pt x="0" y="258"/>
                  <a:pt x="0" y="258"/>
                  <a:pt x="0" y="258"/>
                </a:cubicBezTo>
                <a:cubicBezTo>
                  <a:pt x="15" y="319"/>
                  <a:pt x="15" y="319"/>
                  <a:pt x="15" y="319"/>
                </a:cubicBezTo>
                <a:cubicBezTo>
                  <a:pt x="35" y="306"/>
                  <a:pt x="35" y="306"/>
                  <a:pt x="35" y="306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3" y="301"/>
                  <a:pt x="33" y="301"/>
                  <a:pt x="33" y="301"/>
                </a:cubicBezTo>
                <a:cubicBezTo>
                  <a:pt x="13" y="294"/>
                  <a:pt x="13" y="294"/>
                  <a:pt x="13" y="294"/>
                </a:cubicBezTo>
                <a:cubicBezTo>
                  <a:pt x="5" y="259"/>
                  <a:pt x="5" y="259"/>
                  <a:pt x="5" y="259"/>
                </a:cubicBezTo>
                <a:cubicBezTo>
                  <a:pt x="5" y="259"/>
                  <a:pt x="5" y="259"/>
                  <a:pt x="5" y="259"/>
                </a:cubicBezTo>
                <a:cubicBezTo>
                  <a:pt x="6" y="256"/>
                  <a:pt x="6" y="256"/>
                  <a:pt x="6" y="256"/>
                </a:cubicBezTo>
                <a:cubicBezTo>
                  <a:pt x="8" y="250"/>
                  <a:pt x="14" y="248"/>
                  <a:pt x="19" y="250"/>
                </a:cubicBezTo>
                <a:cubicBezTo>
                  <a:pt x="24" y="251"/>
                  <a:pt x="27" y="256"/>
                  <a:pt x="26" y="261"/>
                </a:cubicBezTo>
                <a:cubicBezTo>
                  <a:pt x="28" y="258"/>
                  <a:pt x="31" y="256"/>
                  <a:pt x="35" y="256"/>
                </a:cubicBezTo>
                <a:lnTo>
                  <a:pt x="35" y="168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84" name="Freeform 48"/>
          <p:cNvSpPr>
            <a:spLocks noEditPoints="1"/>
          </p:cNvSpPr>
          <p:nvPr/>
        </p:nvSpPr>
        <p:spPr bwMode="auto">
          <a:xfrm>
            <a:off x="8756971" y="2991828"/>
            <a:ext cx="579438" cy="579438"/>
          </a:xfrm>
          <a:custGeom>
            <a:avLst/>
            <a:gdLst>
              <a:gd name="T0" fmla="*/ 133 w 266"/>
              <a:gd name="T1" fmla="*/ 0 h 266"/>
              <a:gd name="T2" fmla="*/ 133 w 266"/>
              <a:gd name="T3" fmla="*/ 0 h 266"/>
              <a:gd name="T4" fmla="*/ 133 w 266"/>
              <a:gd name="T5" fmla="*/ 35 h 266"/>
              <a:gd name="T6" fmla="*/ 150 w 266"/>
              <a:gd name="T7" fmla="*/ 24 h 266"/>
              <a:gd name="T8" fmla="*/ 242 w 266"/>
              <a:gd name="T9" fmla="*/ 117 h 266"/>
              <a:gd name="T10" fmla="*/ 231 w 266"/>
              <a:gd name="T11" fmla="*/ 133 h 266"/>
              <a:gd name="T12" fmla="*/ 242 w 266"/>
              <a:gd name="T13" fmla="*/ 149 h 266"/>
              <a:gd name="T14" fmla="*/ 150 w 266"/>
              <a:gd name="T15" fmla="*/ 242 h 266"/>
              <a:gd name="T16" fmla="*/ 150 w 266"/>
              <a:gd name="T17" fmla="*/ 242 h 266"/>
              <a:gd name="T18" fmla="*/ 133 w 266"/>
              <a:gd name="T19" fmla="*/ 231 h 266"/>
              <a:gd name="T20" fmla="*/ 133 w 266"/>
              <a:gd name="T21" fmla="*/ 266 h 266"/>
              <a:gd name="T22" fmla="*/ 133 w 266"/>
              <a:gd name="T23" fmla="*/ 266 h 266"/>
              <a:gd name="T24" fmla="*/ 266 w 266"/>
              <a:gd name="T25" fmla="*/ 133 h 266"/>
              <a:gd name="T26" fmla="*/ 133 w 266"/>
              <a:gd name="T27" fmla="*/ 0 h 266"/>
              <a:gd name="T28" fmla="*/ 133 w 266"/>
              <a:gd name="T29" fmla="*/ 0 h 266"/>
              <a:gd name="T30" fmla="*/ 133 w 266"/>
              <a:gd name="T31" fmla="*/ 0 h 266"/>
              <a:gd name="T32" fmla="*/ 0 w 266"/>
              <a:gd name="T33" fmla="*/ 133 h 266"/>
              <a:gd name="T34" fmla="*/ 133 w 266"/>
              <a:gd name="T35" fmla="*/ 266 h 266"/>
              <a:gd name="T36" fmla="*/ 133 w 266"/>
              <a:gd name="T37" fmla="*/ 266 h 266"/>
              <a:gd name="T38" fmla="*/ 133 w 266"/>
              <a:gd name="T39" fmla="*/ 231 h 266"/>
              <a:gd name="T40" fmla="*/ 133 w 266"/>
              <a:gd name="T41" fmla="*/ 231 h 266"/>
              <a:gd name="T42" fmla="*/ 117 w 266"/>
              <a:gd name="T43" fmla="*/ 242 h 266"/>
              <a:gd name="T44" fmla="*/ 24 w 266"/>
              <a:gd name="T45" fmla="*/ 149 h 266"/>
              <a:gd name="T46" fmla="*/ 35 w 266"/>
              <a:gd name="T47" fmla="*/ 133 h 266"/>
              <a:gd name="T48" fmla="*/ 24 w 266"/>
              <a:gd name="T49" fmla="*/ 117 h 266"/>
              <a:gd name="T50" fmla="*/ 117 w 266"/>
              <a:gd name="T51" fmla="*/ 24 h 266"/>
              <a:gd name="T52" fmla="*/ 133 w 266"/>
              <a:gd name="T53" fmla="*/ 35 h 266"/>
              <a:gd name="T54" fmla="*/ 133 w 266"/>
              <a:gd name="T55" fmla="*/ 35 h 266"/>
              <a:gd name="T56" fmla="*/ 133 w 266"/>
              <a:gd name="T57" fmla="*/ 0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66" h="266">
                <a:moveTo>
                  <a:pt x="133" y="0"/>
                </a:moveTo>
                <a:cubicBezTo>
                  <a:pt x="133" y="0"/>
                  <a:pt x="133" y="0"/>
                  <a:pt x="133" y="0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41" y="35"/>
                  <a:pt x="147" y="30"/>
                  <a:pt x="150" y="24"/>
                </a:cubicBezTo>
                <a:cubicBezTo>
                  <a:pt x="197" y="31"/>
                  <a:pt x="235" y="69"/>
                  <a:pt x="242" y="117"/>
                </a:cubicBezTo>
                <a:cubicBezTo>
                  <a:pt x="236" y="119"/>
                  <a:pt x="231" y="125"/>
                  <a:pt x="231" y="133"/>
                </a:cubicBezTo>
                <a:cubicBezTo>
                  <a:pt x="231" y="140"/>
                  <a:pt x="236" y="147"/>
                  <a:pt x="242" y="149"/>
                </a:cubicBezTo>
                <a:cubicBezTo>
                  <a:pt x="235" y="197"/>
                  <a:pt x="197" y="235"/>
                  <a:pt x="150" y="242"/>
                </a:cubicBezTo>
                <a:cubicBezTo>
                  <a:pt x="150" y="242"/>
                  <a:pt x="150" y="242"/>
                  <a:pt x="150" y="242"/>
                </a:cubicBezTo>
                <a:cubicBezTo>
                  <a:pt x="147" y="236"/>
                  <a:pt x="141" y="231"/>
                  <a:pt x="133" y="231"/>
                </a:cubicBezTo>
                <a:cubicBezTo>
                  <a:pt x="133" y="266"/>
                  <a:pt x="133" y="266"/>
                  <a:pt x="133" y="266"/>
                </a:cubicBezTo>
                <a:cubicBezTo>
                  <a:pt x="133" y="266"/>
                  <a:pt x="133" y="266"/>
                  <a:pt x="133" y="266"/>
                </a:cubicBezTo>
                <a:cubicBezTo>
                  <a:pt x="207" y="266"/>
                  <a:pt x="266" y="206"/>
                  <a:pt x="266" y="133"/>
                </a:cubicBezTo>
                <a:cubicBezTo>
                  <a:pt x="266" y="59"/>
                  <a:pt x="207" y="0"/>
                  <a:pt x="133" y="0"/>
                </a:cubicBezTo>
                <a:close/>
                <a:moveTo>
                  <a:pt x="133" y="0"/>
                </a:moveTo>
                <a:cubicBezTo>
                  <a:pt x="133" y="0"/>
                  <a:pt x="133" y="0"/>
                  <a:pt x="133" y="0"/>
                </a:cubicBezTo>
                <a:cubicBezTo>
                  <a:pt x="60" y="0"/>
                  <a:pt x="0" y="59"/>
                  <a:pt x="0" y="133"/>
                </a:cubicBezTo>
                <a:cubicBezTo>
                  <a:pt x="0" y="206"/>
                  <a:pt x="60" y="266"/>
                  <a:pt x="133" y="266"/>
                </a:cubicBezTo>
                <a:cubicBezTo>
                  <a:pt x="133" y="266"/>
                  <a:pt x="133" y="266"/>
                  <a:pt x="133" y="266"/>
                </a:cubicBezTo>
                <a:cubicBezTo>
                  <a:pt x="133" y="231"/>
                  <a:pt x="133" y="231"/>
                  <a:pt x="133" y="231"/>
                </a:cubicBezTo>
                <a:cubicBezTo>
                  <a:pt x="133" y="231"/>
                  <a:pt x="133" y="231"/>
                  <a:pt x="133" y="231"/>
                </a:cubicBezTo>
                <a:cubicBezTo>
                  <a:pt x="126" y="231"/>
                  <a:pt x="120" y="236"/>
                  <a:pt x="117" y="242"/>
                </a:cubicBezTo>
                <a:cubicBezTo>
                  <a:pt x="69" y="235"/>
                  <a:pt x="31" y="197"/>
                  <a:pt x="24" y="149"/>
                </a:cubicBezTo>
                <a:cubicBezTo>
                  <a:pt x="31" y="147"/>
                  <a:pt x="35" y="140"/>
                  <a:pt x="35" y="133"/>
                </a:cubicBezTo>
                <a:cubicBezTo>
                  <a:pt x="35" y="125"/>
                  <a:pt x="31" y="119"/>
                  <a:pt x="24" y="117"/>
                </a:cubicBezTo>
                <a:cubicBezTo>
                  <a:pt x="31" y="69"/>
                  <a:pt x="69" y="31"/>
                  <a:pt x="117" y="24"/>
                </a:cubicBezTo>
                <a:cubicBezTo>
                  <a:pt x="120" y="30"/>
                  <a:pt x="126" y="35"/>
                  <a:pt x="133" y="35"/>
                </a:cubicBezTo>
                <a:cubicBezTo>
                  <a:pt x="133" y="35"/>
                  <a:pt x="133" y="35"/>
                  <a:pt x="133" y="35"/>
                </a:cubicBezTo>
                <a:lnTo>
                  <a:pt x="133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85" name="Freeform 49"/>
          <p:cNvSpPr/>
          <p:nvPr/>
        </p:nvSpPr>
        <p:spPr bwMode="auto">
          <a:xfrm>
            <a:off x="8863334" y="3175978"/>
            <a:ext cx="288925" cy="152400"/>
          </a:xfrm>
          <a:custGeom>
            <a:avLst/>
            <a:gdLst>
              <a:gd name="T0" fmla="*/ 124 w 133"/>
              <a:gd name="T1" fmla="*/ 0 h 70"/>
              <a:gd name="T2" fmla="*/ 93 w 133"/>
              <a:gd name="T3" fmla="*/ 30 h 70"/>
              <a:gd name="T4" fmla="*/ 84 w 133"/>
              <a:gd name="T5" fmla="*/ 28 h 70"/>
              <a:gd name="T6" fmla="*/ 65 w 133"/>
              <a:gd name="T7" fmla="*/ 42 h 70"/>
              <a:gd name="T8" fmla="*/ 0 w 133"/>
              <a:gd name="T9" fmla="*/ 42 h 70"/>
              <a:gd name="T10" fmla="*/ 0 w 133"/>
              <a:gd name="T11" fmla="*/ 56 h 70"/>
              <a:gd name="T12" fmla="*/ 65 w 133"/>
              <a:gd name="T13" fmla="*/ 56 h 70"/>
              <a:gd name="T14" fmla="*/ 84 w 133"/>
              <a:gd name="T15" fmla="*/ 70 h 70"/>
              <a:gd name="T16" fmla="*/ 105 w 133"/>
              <a:gd name="T17" fmla="*/ 49 h 70"/>
              <a:gd name="T18" fmla="*/ 103 w 133"/>
              <a:gd name="T19" fmla="*/ 40 h 70"/>
              <a:gd name="T20" fmla="*/ 133 w 133"/>
              <a:gd name="T21" fmla="*/ 9 h 70"/>
              <a:gd name="T22" fmla="*/ 124 w 133"/>
              <a:gd name="T23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33" h="70">
                <a:moveTo>
                  <a:pt x="124" y="0"/>
                </a:moveTo>
                <a:cubicBezTo>
                  <a:pt x="93" y="30"/>
                  <a:pt x="93" y="30"/>
                  <a:pt x="93" y="30"/>
                </a:cubicBezTo>
                <a:cubicBezTo>
                  <a:pt x="91" y="29"/>
                  <a:pt x="88" y="28"/>
                  <a:pt x="84" y="28"/>
                </a:cubicBezTo>
                <a:cubicBezTo>
                  <a:pt x="75" y="28"/>
                  <a:pt x="67" y="34"/>
                  <a:pt x="65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56"/>
                  <a:pt x="0" y="56"/>
                  <a:pt x="0" y="56"/>
                </a:cubicBezTo>
                <a:cubicBezTo>
                  <a:pt x="65" y="56"/>
                  <a:pt x="65" y="56"/>
                  <a:pt x="65" y="56"/>
                </a:cubicBezTo>
                <a:cubicBezTo>
                  <a:pt x="67" y="64"/>
                  <a:pt x="75" y="70"/>
                  <a:pt x="84" y="70"/>
                </a:cubicBezTo>
                <a:cubicBezTo>
                  <a:pt x="96" y="70"/>
                  <a:pt x="105" y="60"/>
                  <a:pt x="105" y="49"/>
                </a:cubicBezTo>
                <a:cubicBezTo>
                  <a:pt x="105" y="46"/>
                  <a:pt x="104" y="43"/>
                  <a:pt x="103" y="40"/>
                </a:cubicBezTo>
                <a:cubicBezTo>
                  <a:pt x="133" y="9"/>
                  <a:pt x="133" y="9"/>
                  <a:pt x="133" y="9"/>
                </a:cubicBezTo>
                <a:lnTo>
                  <a:pt x="124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grpSp>
        <p:nvGrpSpPr>
          <p:cNvPr id="86" name="Group 126"/>
          <p:cNvGrpSpPr/>
          <p:nvPr/>
        </p:nvGrpSpPr>
        <p:grpSpPr>
          <a:xfrm>
            <a:off x="8988746" y="3737953"/>
            <a:ext cx="454025" cy="431800"/>
            <a:chOff x="8505825" y="3605213"/>
            <a:chExt cx="454025" cy="431800"/>
          </a:xfrm>
        </p:grpSpPr>
        <p:sp>
          <p:nvSpPr>
            <p:cNvPr id="87" name="Freeform 50"/>
            <p:cNvSpPr/>
            <p:nvPr/>
          </p:nvSpPr>
          <p:spPr bwMode="auto">
            <a:xfrm>
              <a:off x="8505825" y="3694113"/>
              <a:ext cx="454025" cy="342900"/>
            </a:xfrm>
            <a:custGeom>
              <a:avLst/>
              <a:gdLst>
                <a:gd name="T0" fmla="*/ 146 w 208"/>
                <a:gd name="T1" fmla="*/ 0 h 157"/>
                <a:gd name="T2" fmla="*/ 104 w 208"/>
                <a:gd name="T3" fmla="*/ 15 h 157"/>
                <a:gd name="T4" fmla="*/ 62 w 208"/>
                <a:gd name="T5" fmla="*/ 0 h 157"/>
                <a:gd name="T6" fmla="*/ 0 w 208"/>
                <a:gd name="T7" fmla="*/ 60 h 157"/>
                <a:gd name="T8" fmla="*/ 107 w 208"/>
                <a:gd name="T9" fmla="*/ 157 h 157"/>
                <a:gd name="T10" fmla="*/ 208 w 208"/>
                <a:gd name="T11" fmla="*/ 60 h 157"/>
                <a:gd name="T12" fmla="*/ 146 w 208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57">
                  <a:moveTo>
                    <a:pt x="146" y="0"/>
                  </a:moveTo>
                  <a:cubicBezTo>
                    <a:pt x="130" y="0"/>
                    <a:pt x="115" y="6"/>
                    <a:pt x="104" y="15"/>
                  </a:cubicBezTo>
                  <a:cubicBezTo>
                    <a:pt x="93" y="6"/>
                    <a:pt x="78" y="0"/>
                    <a:pt x="62" y="0"/>
                  </a:cubicBezTo>
                  <a:cubicBezTo>
                    <a:pt x="28" y="0"/>
                    <a:pt x="0" y="27"/>
                    <a:pt x="0" y="60"/>
                  </a:cubicBezTo>
                  <a:cubicBezTo>
                    <a:pt x="0" y="98"/>
                    <a:pt x="31" y="157"/>
                    <a:pt x="107" y="157"/>
                  </a:cubicBezTo>
                  <a:cubicBezTo>
                    <a:pt x="185" y="157"/>
                    <a:pt x="208" y="95"/>
                    <a:pt x="208" y="60"/>
                  </a:cubicBezTo>
                  <a:cubicBezTo>
                    <a:pt x="208" y="27"/>
                    <a:pt x="180" y="0"/>
                    <a:pt x="146" y="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88" name="Freeform 51"/>
            <p:cNvSpPr/>
            <p:nvPr/>
          </p:nvSpPr>
          <p:spPr bwMode="auto">
            <a:xfrm>
              <a:off x="8709025" y="3605213"/>
              <a:ext cx="123825" cy="157163"/>
            </a:xfrm>
            <a:custGeom>
              <a:avLst/>
              <a:gdLst>
                <a:gd name="T0" fmla="*/ 12 w 57"/>
                <a:gd name="T1" fmla="*/ 72 h 72"/>
                <a:gd name="T2" fmla="*/ 27 w 57"/>
                <a:gd name="T3" fmla="*/ 0 h 72"/>
                <a:gd name="T4" fmla="*/ 57 w 57"/>
                <a:gd name="T5" fmla="*/ 6 h 72"/>
                <a:gd name="T6" fmla="*/ 12 w 57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72">
                  <a:moveTo>
                    <a:pt x="12" y="72"/>
                  </a:moveTo>
                  <a:cubicBezTo>
                    <a:pt x="0" y="48"/>
                    <a:pt x="7" y="20"/>
                    <a:pt x="27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29" y="21"/>
                    <a:pt x="12" y="37"/>
                    <a:pt x="12" y="72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89" name="Freeform 52"/>
          <p:cNvSpPr/>
          <p:nvPr/>
        </p:nvSpPr>
        <p:spPr bwMode="auto">
          <a:xfrm>
            <a:off x="7588571" y="1167790"/>
            <a:ext cx="679450" cy="552450"/>
          </a:xfrm>
          <a:custGeom>
            <a:avLst/>
            <a:gdLst>
              <a:gd name="T0" fmla="*/ 312 w 312"/>
              <a:gd name="T1" fmla="*/ 86 h 253"/>
              <a:gd name="T2" fmla="*/ 305 w 312"/>
              <a:gd name="T3" fmla="*/ 75 h 253"/>
              <a:gd name="T4" fmla="*/ 79 w 312"/>
              <a:gd name="T5" fmla="*/ 226 h 253"/>
              <a:gd name="T6" fmla="*/ 28 w 312"/>
              <a:gd name="T7" fmla="*/ 214 h 253"/>
              <a:gd name="T8" fmla="*/ 35 w 312"/>
              <a:gd name="T9" fmla="*/ 162 h 253"/>
              <a:gd name="T10" fmla="*/ 262 w 312"/>
              <a:gd name="T11" fmla="*/ 11 h 253"/>
              <a:gd name="T12" fmla="*/ 254 w 312"/>
              <a:gd name="T13" fmla="*/ 0 h 253"/>
              <a:gd name="T14" fmla="*/ 26 w 312"/>
              <a:gd name="T15" fmla="*/ 153 h 253"/>
              <a:gd name="T16" fmla="*/ 15 w 312"/>
              <a:gd name="T17" fmla="*/ 222 h 253"/>
              <a:gd name="T18" fmla="*/ 83 w 312"/>
              <a:gd name="T19" fmla="*/ 239 h 253"/>
              <a:gd name="T20" fmla="*/ 312 w 312"/>
              <a:gd name="T21" fmla="*/ 86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12" h="253">
                <a:moveTo>
                  <a:pt x="312" y="86"/>
                </a:moveTo>
                <a:cubicBezTo>
                  <a:pt x="305" y="75"/>
                  <a:pt x="305" y="75"/>
                  <a:pt x="305" y="75"/>
                </a:cubicBezTo>
                <a:cubicBezTo>
                  <a:pt x="79" y="226"/>
                  <a:pt x="79" y="226"/>
                  <a:pt x="79" y="226"/>
                </a:cubicBezTo>
                <a:cubicBezTo>
                  <a:pt x="63" y="237"/>
                  <a:pt x="40" y="231"/>
                  <a:pt x="28" y="214"/>
                </a:cubicBezTo>
                <a:cubicBezTo>
                  <a:pt x="16" y="196"/>
                  <a:pt x="19" y="173"/>
                  <a:pt x="35" y="162"/>
                </a:cubicBezTo>
                <a:cubicBezTo>
                  <a:pt x="262" y="11"/>
                  <a:pt x="262" y="11"/>
                  <a:pt x="262" y="11"/>
                </a:cubicBezTo>
                <a:cubicBezTo>
                  <a:pt x="254" y="0"/>
                  <a:pt x="254" y="0"/>
                  <a:pt x="254" y="0"/>
                </a:cubicBezTo>
                <a:cubicBezTo>
                  <a:pt x="26" y="153"/>
                  <a:pt x="26" y="153"/>
                  <a:pt x="26" y="153"/>
                </a:cubicBezTo>
                <a:cubicBezTo>
                  <a:pt x="4" y="167"/>
                  <a:pt x="0" y="198"/>
                  <a:pt x="15" y="222"/>
                </a:cubicBezTo>
                <a:cubicBezTo>
                  <a:pt x="31" y="246"/>
                  <a:pt x="62" y="253"/>
                  <a:pt x="83" y="239"/>
                </a:cubicBezTo>
                <a:lnTo>
                  <a:pt x="312" y="86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0" name="Freeform 53"/>
          <p:cNvSpPr/>
          <p:nvPr/>
        </p:nvSpPr>
        <p:spPr bwMode="auto">
          <a:xfrm>
            <a:off x="8104509" y="1137628"/>
            <a:ext cx="187325" cy="257175"/>
          </a:xfrm>
          <a:custGeom>
            <a:avLst/>
            <a:gdLst>
              <a:gd name="T0" fmla="*/ 80 w 86"/>
              <a:gd name="T1" fmla="*/ 115 h 118"/>
              <a:gd name="T2" fmla="*/ 68 w 86"/>
              <a:gd name="T3" fmla="*/ 113 h 118"/>
              <a:gd name="T4" fmla="*/ 3 w 86"/>
              <a:gd name="T5" fmla="*/ 16 h 118"/>
              <a:gd name="T6" fmla="*/ 6 w 86"/>
              <a:gd name="T7" fmla="*/ 3 h 118"/>
              <a:gd name="T8" fmla="*/ 19 w 86"/>
              <a:gd name="T9" fmla="*/ 6 h 118"/>
              <a:gd name="T10" fmla="*/ 83 w 86"/>
              <a:gd name="T11" fmla="*/ 102 h 118"/>
              <a:gd name="T12" fmla="*/ 80 w 86"/>
              <a:gd name="T13" fmla="*/ 115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118">
                <a:moveTo>
                  <a:pt x="80" y="115"/>
                </a:moveTo>
                <a:cubicBezTo>
                  <a:pt x="76" y="118"/>
                  <a:pt x="70" y="117"/>
                  <a:pt x="68" y="113"/>
                </a:cubicBezTo>
                <a:cubicBezTo>
                  <a:pt x="3" y="16"/>
                  <a:pt x="3" y="16"/>
                  <a:pt x="3" y="16"/>
                </a:cubicBezTo>
                <a:cubicBezTo>
                  <a:pt x="0" y="12"/>
                  <a:pt x="1" y="6"/>
                  <a:pt x="6" y="3"/>
                </a:cubicBezTo>
                <a:cubicBezTo>
                  <a:pt x="10" y="0"/>
                  <a:pt x="16" y="2"/>
                  <a:pt x="19" y="6"/>
                </a:cubicBezTo>
                <a:cubicBezTo>
                  <a:pt x="83" y="102"/>
                  <a:pt x="83" y="102"/>
                  <a:pt x="83" y="102"/>
                </a:cubicBezTo>
                <a:cubicBezTo>
                  <a:pt x="86" y="107"/>
                  <a:pt x="85" y="112"/>
                  <a:pt x="80" y="115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1" name="Freeform 54"/>
          <p:cNvSpPr/>
          <p:nvPr/>
        </p:nvSpPr>
        <p:spPr bwMode="auto">
          <a:xfrm>
            <a:off x="7677471" y="1313840"/>
            <a:ext cx="514350" cy="336550"/>
          </a:xfrm>
          <a:custGeom>
            <a:avLst/>
            <a:gdLst>
              <a:gd name="T0" fmla="*/ 236 w 236"/>
              <a:gd name="T1" fmla="*/ 13 h 154"/>
              <a:gd name="T2" fmla="*/ 227 w 236"/>
              <a:gd name="T3" fmla="*/ 0 h 154"/>
              <a:gd name="T4" fmla="*/ 25 w 236"/>
              <a:gd name="T5" fmla="*/ 135 h 154"/>
              <a:gd name="T6" fmla="*/ 0 w 236"/>
              <a:gd name="T7" fmla="*/ 136 h 154"/>
              <a:gd name="T8" fmla="*/ 1 w 236"/>
              <a:gd name="T9" fmla="*/ 138 h 154"/>
              <a:gd name="T10" fmla="*/ 36 w 236"/>
              <a:gd name="T11" fmla="*/ 146 h 154"/>
              <a:gd name="T12" fmla="*/ 236 w 236"/>
              <a:gd name="T13" fmla="*/ 1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6" h="154">
                <a:moveTo>
                  <a:pt x="236" y="13"/>
                </a:moveTo>
                <a:cubicBezTo>
                  <a:pt x="227" y="0"/>
                  <a:pt x="227" y="0"/>
                  <a:pt x="227" y="0"/>
                </a:cubicBezTo>
                <a:cubicBezTo>
                  <a:pt x="25" y="135"/>
                  <a:pt x="25" y="135"/>
                  <a:pt x="25" y="135"/>
                </a:cubicBezTo>
                <a:cubicBezTo>
                  <a:pt x="17" y="140"/>
                  <a:pt x="8" y="140"/>
                  <a:pt x="0" y="136"/>
                </a:cubicBezTo>
                <a:cubicBezTo>
                  <a:pt x="0" y="137"/>
                  <a:pt x="0" y="137"/>
                  <a:pt x="1" y="138"/>
                </a:cubicBezTo>
                <a:cubicBezTo>
                  <a:pt x="9" y="150"/>
                  <a:pt x="25" y="154"/>
                  <a:pt x="36" y="146"/>
                </a:cubicBezTo>
                <a:lnTo>
                  <a:pt x="236" y="13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2" name="Freeform 55"/>
          <p:cNvSpPr>
            <a:spLocks noEditPoints="1"/>
          </p:cNvSpPr>
          <p:nvPr/>
        </p:nvSpPr>
        <p:spPr bwMode="auto">
          <a:xfrm>
            <a:off x="7258371" y="1609115"/>
            <a:ext cx="296863" cy="520700"/>
          </a:xfrm>
          <a:custGeom>
            <a:avLst/>
            <a:gdLst>
              <a:gd name="T0" fmla="*/ 59 w 136"/>
              <a:gd name="T1" fmla="*/ 203 h 239"/>
              <a:gd name="T2" fmla="*/ 54 w 136"/>
              <a:gd name="T3" fmla="*/ 203 h 239"/>
              <a:gd name="T4" fmla="*/ 54 w 136"/>
              <a:gd name="T5" fmla="*/ 239 h 239"/>
              <a:gd name="T6" fmla="*/ 72 w 136"/>
              <a:gd name="T7" fmla="*/ 226 h 239"/>
              <a:gd name="T8" fmla="*/ 59 w 136"/>
              <a:gd name="T9" fmla="*/ 203 h 239"/>
              <a:gd name="T10" fmla="*/ 54 w 136"/>
              <a:gd name="T11" fmla="*/ 187 h 239"/>
              <a:gd name="T12" fmla="*/ 54 w 136"/>
              <a:gd name="T13" fmla="*/ 82 h 239"/>
              <a:gd name="T14" fmla="*/ 81 w 136"/>
              <a:gd name="T15" fmla="*/ 74 h 239"/>
              <a:gd name="T16" fmla="*/ 97 w 136"/>
              <a:gd name="T17" fmla="*/ 13 h 239"/>
              <a:gd name="T18" fmla="*/ 114 w 136"/>
              <a:gd name="T19" fmla="*/ 2 h 239"/>
              <a:gd name="T20" fmla="*/ 124 w 136"/>
              <a:gd name="T21" fmla="*/ 20 h 239"/>
              <a:gd name="T22" fmla="*/ 109 w 136"/>
              <a:gd name="T23" fmla="*/ 81 h 239"/>
              <a:gd name="T24" fmla="*/ 130 w 136"/>
              <a:gd name="T25" fmla="*/ 134 h 239"/>
              <a:gd name="T26" fmla="*/ 122 w 136"/>
              <a:gd name="T27" fmla="*/ 164 h 239"/>
              <a:gd name="T28" fmla="*/ 122 w 136"/>
              <a:gd name="T29" fmla="*/ 164 h 239"/>
              <a:gd name="T30" fmla="*/ 136 w 136"/>
              <a:gd name="T31" fmla="*/ 187 h 239"/>
              <a:gd name="T32" fmla="*/ 131 w 136"/>
              <a:gd name="T33" fmla="*/ 207 h 239"/>
              <a:gd name="T34" fmla="*/ 54 w 136"/>
              <a:gd name="T35" fmla="*/ 187 h 239"/>
              <a:gd name="T36" fmla="*/ 54 w 136"/>
              <a:gd name="T37" fmla="*/ 203 h 239"/>
              <a:gd name="T38" fmla="*/ 36 w 136"/>
              <a:gd name="T39" fmla="*/ 216 h 239"/>
              <a:gd name="T40" fmla="*/ 50 w 136"/>
              <a:gd name="T41" fmla="*/ 239 h 239"/>
              <a:gd name="T42" fmla="*/ 54 w 136"/>
              <a:gd name="T43" fmla="*/ 239 h 239"/>
              <a:gd name="T44" fmla="*/ 54 w 136"/>
              <a:gd name="T45" fmla="*/ 203 h 239"/>
              <a:gd name="T46" fmla="*/ 54 w 136"/>
              <a:gd name="T47" fmla="*/ 82 h 239"/>
              <a:gd name="T48" fmla="*/ 54 w 136"/>
              <a:gd name="T49" fmla="*/ 187 h 239"/>
              <a:gd name="T50" fmla="*/ 0 w 136"/>
              <a:gd name="T51" fmla="*/ 173 h 239"/>
              <a:gd name="T52" fmla="*/ 5 w 136"/>
              <a:gd name="T53" fmla="*/ 152 h 239"/>
              <a:gd name="T54" fmla="*/ 29 w 136"/>
              <a:gd name="T55" fmla="*/ 140 h 239"/>
              <a:gd name="T56" fmla="*/ 37 w 136"/>
              <a:gd name="T57" fmla="*/ 109 h 239"/>
              <a:gd name="T58" fmla="*/ 54 w 136"/>
              <a:gd name="T59" fmla="*/ 82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36" h="239">
                <a:moveTo>
                  <a:pt x="59" y="203"/>
                </a:moveTo>
                <a:cubicBezTo>
                  <a:pt x="57" y="203"/>
                  <a:pt x="56" y="203"/>
                  <a:pt x="54" y="203"/>
                </a:cubicBezTo>
                <a:cubicBezTo>
                  <a:pt x="54" y="239"/>
                  <a:pt x="54" y="239"/>
                  <a:pt x="54" y="239"/>
                </a:cubicBezTo>
                <a:cubicBezTo>
                  <a:pt x="62" y="239"/>
                  <a:pt x="70" y="234"/>
                  <a:pt x="72" y="226"/>
                </a:cubicBezTo>
                <a:cubicBezTo>
                  <a:pt x="74" y="216"/>
                  <a:pt x="69" y="206"/>
                  <a:pt x="59" y="203"/>
                </a:cubicBezTo>
                <a:close/>
                <a:moveTo>
                  <a:pt x="54" y="187"/>
                </a:moveTo>
                <a:cubicBezTo>
                  <a:pt x="54" y="82"/>
                  <a:pt x="54" y="82"/>
                  <a:pt x="54" y="82"/>
                </a:cubicBezTo>
                <a:cubicBezTo>
                  <a:pt x="62" y="76"/>
                  <a:pt x="71" y="74"/>
                  <a:pt x="81" y="74"/>
                </a:cubicBezTo>
                <a:cubicBezTo>
                  <a:pt x="97" y="13"/>
                  <a:pt x="97" y="13"/>
                  <a:pt x="97" y="13"/>
                </a:cubicBezTo>
                <a:cubicBezTo>
                  <a:pt x="99" y="5"/>
                  <a:pt x="107" y="0"/>
                  <a:pt x="114" y="2"/>
                </a:cubicBezTo>
                <a:cubicBezTo>
                  <a:pt x="122" y="4"/>
                  <a:pt x="126" y="12"/>
                  <a:pt x="124" y="20"/>
                </a:cubicBezTo>
                <a:cubicBezTo>
                  <a:pt x="109" y="81"/>
                  <a:pt x="109" y="81"/>
                  <a:pt x="109" y="81"/>
                </a:cubicBezTo>
                <a:cubicBezTo>
                  <a:pt x="125" y="90"/>
                  <a:pt x="136" y="109"/>
                  <a:pt x="130" y="134"/>
                </a:cubicBezTo>
                <a:cubicBezTo>
                  <a:pt x="130" y="134"/>
                  <a:pt x="125" y="154"/>
                  <a:pt x="122" y="164"/>
                </a:cubicBezTo>
                <a:cubicBezTo>
                  <a:pt x="122" y="164"/>
                  <a:pt x="122" y="164"/>
                  <a:pt x="122" y="164"/>
                </a:cubicBezTo>
                <a:cubicBezTo>
                  <a:pt x="118" y="178"/>
                  <a:pt x="136" y="187"/>
                  <a:pt x="136" y="187"/>
                </a:cubicBezTo>
                <a:cubicBezTo>
                  <a:pt x="131" y="207"/>
                  <a:pt x="131" y="207"/>
                  <a:pt x="131" y="207"/>
                </a:cubicBezTo>
                <a:lnTo>
                  <a:pt x="54" y="187"/>
                </a:lnTo>
                <a:close/>
                <a:moveTo>
                  <a:pt x="54" y="203"/>
                </a:moveTo>
                <a:cubicBezTo>
                  <a:pt x="46" y="203"/>
                  <a:pt x="38" y="208"/>
                  <a:pt x="36" y="216"/>
                </a:cubicBezTo>
                <a:cubicBezTo>
                  <a:pt x="34" y="226"/>
                  <a:pt x="40" y="236"/>
                  <a:pt x="50" y="239"/>
                </a:cubicBezTo>
                <a:cubicBezTo>
                  <a:pt x="51" y="239"/>
                  <a:pt x="53" y="239"/>
                  <a:pt x="54" y="239"/>
                </a:cubicBezTo>
                <a:cubicBezTo>
                  <a:pt x="54" y="203"/>
                  <a:pt x="54" y="203"/>
                  <a:pt x="54" y="203"/>
                </a:cubicBezTo>
                <a:close/>
                <a:moveTo>
                  <a:pt x="54" y="82"/>
                </a:moveTo>
                <a:cubicBezTo>
                  <a:pt x="54" y="187"/>
                  <a:pt x="54" y="187"/>
                  <a:pt x="54" y="187"/>
                </a:cubicBezTo>
                <a:cubicBezTo>
                  <a:pt x="0" y="173"/>
                  <a:pt x="0" y="173"/>
                  <a:pt x="0" y="173"/>
                </a:cubicBezTo>
                <a:cubicBezTo>
                  <a:pt x="5" y="152"/>
                  <a:pt x="5" y="152"/>
                  <a:pt x="5" y="152"/>
                </a:cubicBezTo>
                <a:cubicBezTo>
                  <a:pt x="5" y="152"/>
                  <a:pt x="25" y="154"/>
                  <a:pt x="29" y="140"/>
                </a:cubicBezTo>
                <a:cubicBezTo>
                  <a:pt x="32" y="128"/>
                  <a:pt x="37" y="109"/>
                  <a:pt x="37" y="109"/>
                </a:cubicBezTo>
                <a:cubicBezTo>
                  <a:pt x="40" y="97"/>
                  <a:pt x="46" y="88"/>
                  <a:pt x="54" y="82"/>
                </a:cubicBezTo>
                <a:close/>
              </a:path>
            </a:pathLst>
          </a:custGeom>
          <a:solidFill>
            <a:srgbClr val="E62A2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3" name="Freeform 56"/>
          <p:cNvSpPr>
            <a:spLocks noEditPoints="1"/>
          </p:cNvSpPr>
          <p:nvPr/>
        </p:nvSpPr>
        <p:spPr bwMode="auto">
          <a:xfrm>
            <a:off x="6988496" y="2699728"/>
            <a:ext cx="555625" cy="604838"/>
          </a:xfrm>
          <a:custGeom>
            <a:avLst/>
            <a:gdLst>
              <a:gd name="T0" fmla="*/ 198 w 255"/>
              <a:gd name="T1" fmla="*/ 128 h 277"/>
              <a:gd name="T2" fmla="*/ 191 w 255"/>
              <a:gd name="T3" fmla="*/ 158 h 277"/>
              <a:gd name="T4" fmla="*/ 191 w 255"/>
              <a:gd name="T5" fmla="*/ 185 h 277"/>
              <a:gd name="T6" fmla="*/ 196 w 255"/>
              <a:gd name="T7" fmla="*/ 187 h 277"/>
              <a:gd name="T8" fmla="*/ 218 w 255"/>
              <a:gd name="T9" fmla="*/ 218 h 277"/>
              <a:gd name="T10" fmla="*/ 191 w 255"/>
              <a:gd name="T11" fmla="*/ 201 h 277"/>
              <a:gd name="T12" fmla="*/ 191 w 255"/>
              <a:gd name="T13" fmla="*/ 55 h 277"/>
              <a:gd name="T14" fmla="*/ 218 w 255"/>
              <a:gd name="T15" fmla="*/ 38 h 277"/>
              <a:gd name="T16" fmla="*/ 196 w 255"/>
              <a:gd name="T17" fmla="*/ 69 h 277"/>
              <a:gd name="T18" fmla="*/ 191 w 255"/>
              <a:gd name="T19" fmla="*/ 71 h 277"/>
              <a:gd name="T20" fmla="*/ 249 w 255"/>
              <a:gd name="T21" fmla="*/ 121 h 277"/>
              <a:gd name="T22" fmla="*/ 211 w 255"/>
              <a:gd name="T23" fmla="*/ 128 h 277"/>
              <a:gd name="T24" fmla="*/ 249 w 255"/>
              <a:gd name="T25" fmla="*/ 134 h 277"/>
              <a:gd name="T26" fmla="*/ 249 w 255"/>
              <a:gd name="T27" fmla="*/ 121 h 277"/>
              <a:gd name="T28" fmla="*/ 132 w 255"/>
              <a:gd name="T29" fmla="*/ 277 h 277"/>
              <a:gd name="T30" fmla="*/ 167 w 255"/>
              <a:gd name="T31" fmla="*/ 186 h 277"/>
              <a:gd name="T32" fmla="*/ 191 w 255"/>
              <a:gd name="T33" fmla="*/ 98 h 277"/>
              <a:gd name="T34" fmla="*/ 127 w 255"/>
              <a:gd name="T35" fmla="*/ 72 h 277"/>
              <a:gd name="T36" fmla="*/ 183 w 255"/>
              <a:gd name="T37" fmla="*/ 128 h 277"/>
              <a:gd name="T38" fmla="*/ 156 w 255"/>
              <a:gd name="T39" fmla="*/ 176 h 277"/>
              <a:gd name="T40" fmla="*/ 153 w 255"/>
              <a:gd name="T41" fmla="*/ 214 h 277"/>
              <a:gd name="T42" fmla="*/ 127 w 255"/>
              <a:gd name="T43" fmla="*/ 277 h 277"/>
              <a:gd name="T44" fmla="*/ 191 w 255"/>
              <a:gd name="T45" fmla="*/ 71 h 277"/>
              <a:gd name="T46" fmla="*/ 186 w 255"/>
              <a:gd name="T47" fmla="*/ 60 h 277"/>
              <a:gd name="T48" fmla="*/ 191 w 255"/>
              <a:gd name="T49" fmla="*/ 185 h 277"/>
              <a:gd name="T50" fmla="*/ 186 w 255"/>
              <a:gd name="T51" fmla="*/ 196 h 277"/>
              <a:gd name="T52" fmla="*/ 191 w 255"/>
              <a:gd name="T53" fmla="*/ 185 h 277"/>
              <a:gd name="T54" fmla="*/ 127 w 255"/>
              <a:gd name="T55" fmla="*/ 0 h 277"/>
              <a:gd name="T56" fmla="*/ 134 w 255"/>
              <a:gd name="T57" fmla="*/ 7 h 277"/>
              <a:gd name="T58" fmla="*/ 128 w 255"/>
              <a:gd name="T59" fmla="*/ 45 h 277"/>
              <a:gd name="T60" fmla="*/ 127 w 255"/>
              <a:gd name="T61" fmla="*/ 45 h 277"/>
              <a:gd name="T62" fmla="*/ 64 w 255"/>
              <a:gd name="T63" fmla="*/ 97 h 277"/>
              <a:gd name="T64" fmla="*/ 89 w 255"/>
              <a:gd name="T65" fmla="*/ 187 h 277"/>
              <a:gd name="T66" fmla="*/ 124 w 255"/>
              <a:gd name="T67" fmla="*/ 277 h 277"/>
              <a:gd name="T68" fmla="*/ 127 w 255"/>
              <a:gd name="T69" fmla="*/ 214 h 277"/>
              <a:gd name="T70" fmla="*/ 103 w 255"/>
              <a:gd name="T71" fmla="*/ 183 h 277"/>
              <a:gd name="T72" fmla="*/ 71 w 255"/>
              <a:gd name="T73" fmla="*/ 128 h 277"/>
              <a:gd name="T74" fmla="*/ 127 w 255"/>
              <a:gd name="T75" fmla="*/ 72 h 277"/>
              <a:gd name="T76" fmla="*/ 127 w 255"/>
              <a:gd name="T77" fmla="*/ 57 h 277"/>
              <a:gd name="T78" fmla="*/ 127 w 255"/>
              <a:gd name="T79" fmla="*/ 0 h 277"/>
              <a:gd name="T80" fmla="*/ 121 w 255"/>
              <a:gd name="T81" fmla="*/ 38 h 277"/>
              <a:gd name="T82" fmla="*/ 127 w 255"/>
              <a:gd name="T83" fmla="*/ 0 h 277"/>
              <a:gd name="T84" fmla="*/ 64 w 255"/>
              <a:gd name="T85" fmla="*/ 185 h 277"/>
              <a:gd name="T86" fmla="*/ 69 w 255"/>
              <a:gd name="T87" fmla="*/ 196 h 277"/>
              <a:gd name="T88" fmla="*/ 64 w 255"/>
              <a:gd name="T89" fmla="*/ 71 h 277"/>
              <a:gd name="T90" fmla="*/ 69 w 255"/>
              <a:gd name="T91" fmla="*/ 60 h 277"/>
              <a:gd name="T92" fmla="*/ 64 w 255"/>
              <a:gd name="T93" fmla="*/ 71 h 277"/>
              <a:gd name="T94" fmla="*/ 57 w 255"/>
              <a:gd name="T95" fmla="*/ 128 h 277"/>
              <a:gd name="T96" fmla="*/ 64 w 255"/>
              <a:gd name="T97" fmla="*/ 97 h 277"/>
              <a:gd name="T98" fmla="*/ 64 w 255"/>
              <a:gd name="T99" fmla="*/ 71 h 277"/>
              <a:gd name="T100" fmla="*/ 60 w 255"/>
              <a:gd name="T101" fmla="*/ 69 h 277"/>
              <a:gd name="T102" fmla="*/ 38 w 255"/>
              <a:gd name="T103" fmla="*/ 38 h 277"/>
              <a:gd name="T104" fmla="*/ 64 w 255"/>
              <a:gd name="T105" fmla="*/ 55 h 277"/>
              <a:gd name="T106" fmla="*/ 64 w 255"/>
              <a:gd name="T107" fmla="*/ 201 h 277"/>
              <a:gd name="T108" fmla="*/ 38 w 255"/>
              <a:gd name="T109" fmla="*/ 218 h 277"/>
              <a:gd name="T110" fmla="*/ 60 w 255"/>
              <a:gd name="T111" fmla="*/ 187 h 277"/>
              <a:gd name="T112" fmla="*/ 64 w 255"/>
              <a:gd name="T113" fmla="*/ 185 h 277"/>
              <a:gd name="T114" fmla="*/ 45 w 255"/>
              <a:gd name="T115" fmla="*/ 128 h 277"/>
              <a:gd name="T116" fmla="*/ 7 w 255"/>
              <a:gd name="T117" fmla="*/ 121 h 277"/>
              <a:gd name="T118" fmla="*/ 7 w 255"/>
              <a:gd name="T119" fmla="*/ 134 h 277"/>
              <a:gd name="T120" fmla="*/ 45 w 255"/>
              <a:gd name="T121" fmla="*/ 128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55" h="277">
                <a:moveTo>
                  <a:pt x="191" y="158"/>
                </a:moveTo>
                <a:cubicBezTo>
                  <a:pt x="195" y="149"/>
                  <a:pt x="198" y="139"/>
                  <a:pt x="198" y="128"/>
                </a:cubicBezTo>
                <a:cubicBezTo>
                  <a:pt x="198" y="117"/>
                  <a:pt x="195" y="107"/>
                  <a:pt x="191" y="98"/>
                </a:cubicBezTo>
                <a:cubicBezTo>
                  <a:pt x="191" y="158"/>
                  <a:pt x="191" y="158"/>
                  <a:pt x="191" y="158"/>
                </a:cubicBezTo>
                <a:close/>
                <a:moveTo>
                  <a:pt x="191" y="201"/>
                </a:moveTo>
                <a:cubicBezTo>
                  <a:pt x="191" y="185"/>
                  <a:pt x="191" y="185"/>
                  <a:pt x="191" y="185"/>
                </a:cubicBezTo>
                <a:cubicBezTo>
                  <a:pt x="193" y="185"/>
                  <a:pt x="194" y="185"/>
                  <a:pt x="196" y="187"/>
                </a:cubicBezTo>
                <a:cubicBezTo>
                  <a:pt x="196" y="187"/>
                  <a:pt x="196" y="187"/>
                  <a:pt x="196" y="187"/>
                </a:cubicBezTo>
                <a:cubicBezTo>
                  <a:pt x="218" y="209"/>
                  <a:pt x="218" y="209"/>
                  <a:pt x="218" y="209"/>
                </a:cubicBezTo>
                <a:cubicBezTo>
                  <a:pt x="220" y="211"/>
                  <a:pt x="220" y="216"/>
                  <a:pt x="218" y="218"/>
                </a:cubicBezTo>
                <a:cubicBezTo>
                  <a:pt x="215" y="221"/>
                  <a:pt x="211" y="221"/>
                  <a:pt x="209" y="218"/>
                </a:cubicBezTo>
                <a:cubicBezTo>
                  <a:pt x="191" y="201"/>
                  <a:pt x="191" y="201"/>
                  <a:pt x="191" y="201"/>
                </a:cubicBezTo>
                <a:close/>
                <a:moveTo>
                  <a:pt x="191" y="71"/>
                </a:moveTo>
                <a:cubicBezTo>
                  <a:pt x="191" y="55"/>
                  <a:pt x="191" y="55"/>
                  <a:pt x="191" y="55"/>
                </a:cubicBezTo>
                <a:cubicBezTo>
                  <a:pt x="209" y="38"/>
                  <a:pt x="209" y="38"/>
                  <a:pt x="209" y="38"/>
                </a:cubicBezTo>
                <a:cubicBezTo>
                  <a:pt x="211" y="35"/>
                  <a:pt x="215" y="35"/>
                  <a:pt x="218" y="38"/>
                </a:cubicBezTo>
                <a:cubicBezTo>
                  <a:pt x="220" y="40"/>
                  <a:pt x="220" y="44"/>
                  <a:pt x="218" y="47"/>
                </a:cubicBezTo>
                <a:cubicBezTo>
                  <a:pt x="196" y="69"/>
                  <a:pt x="196" y="69"/>
                  <a:pt x="196" y="69"/>
                </a:cubicBezTo>
                <a:cubicBezTo>
                  <a:pt x="196" y="69"/>
                  <a:pt x="196" y="69"/>
                  <a:pt x="196" y="69"/>
                </a:cubicBezTo>
                <a:cubicBezTo>
                  <a:pt x="194" y="71"/>
                  <a:pt x="193" y="71"/>
                  <a:pt x="191" y="71"/>
                </a:cubicBezTo>
                <a:close/>
                <a:moveTo>
                  <a:pt x="249" y="121"/>
                </a:moveTo>
                <a:cubicBezTo>
                  <a:pt x="249" y="121"/>
                  <a:pt x="249" y="121"/>
                  <a:pt x="249" y="121"/>
                </a:cubicBezTo>
                <a:cubicBezTo>
                  <a:pt x="217" y="121"/>
                  <a:pt x="217" y="121"/>
                  <a:pt x="217" y="121"/>
                </a:cubicBezTo>
                <a:cubicBezTo>
                  <a:pt x="214" y="121"/>
                  <a:pt x="211" y="124"/>
                  <a:pt x="211" y="128"/>
                </a:cubicBezTo>
                <a:cubicBezTo>
                  <a:pt x="211" y="132"/>
                  <a:pt x="214" y="134"/>
                  <a:pt x="217" y="134"/>
                </a:cubicBezTo>
                <a:cubicBezTo>
                  <a:pt x="249" y="134"/>
                  <a:pt x="249" y="134"/>
                  <a:pt x="249" y="134"/>
                </a:cubicBezTo>
                <a:cubicBezTo>
                  <a:pt x="252" y="134"/>
                  <a:pt x="255" y="132"/>
                  <a:pt x="255" y="128"/>
                </a:cubicBezTo>
                <a:cubicBezTo>
                  <a:pt x="255" y="124"/>
                  <a:pt x="252" y="121"/>
                  <a:pt x="249" y="121"/>
                </a:cubicBezTo>
                <a:close/>
                <a:moveTo>
                  <a:pt x="127" y="277"/>
                </a:moveTo>
                <a:cubicBezTo>
                  <a:pt x="132" y="277"/>
                  <a:pt x="132" y="277"/>
                  <a:pt x="132" y="277"/>
                </a:cubicBezTo>
                <a:cubicBezTo>
                  <a:pt x="151" y="277"/>
                  <a:pt x="167" y="262"/>
                  <a:pt x="167" y="242"/>
                </a:cubicBezTo>
                <a:cubicBezTo>
                  <a:pt x="167" y="186"/>
                  <a:pt x="167" y="186"/>
                  <a:pt x="167" y="186"/>
                </a:cubicBezTo>
                <a:cubicBezTo>
                  <a:pt x="177" y="179"/>
                  <a:pt x="186" y="169"/>
                  <a:pt x="191" y="158"/>
                </a:cubicBezTo>
                <a:cubicBezTo>
                  <a:pt x="191" y="98"/>
                  <a:pt x="191" y="98"/>
                  <a:pt x="191" y="98"/>
                </a:cubicBezTo>
                <a:cubicBezTo>
                  <a:pt x="180" y="74"/>
                  <a:pt x="156" y="57"/>
                  <a:pt x="127" y="57"/>
                </a:cubicBezTo>
                <a:cubicBezTo>
                  <a:pt x="127" y="72"/>
                  <a:pt x="127" y="72"/>
                  <a:pt x="127" y="72"/>
                </a:cubicBezTo>
                <a:cubicBezTo>
                  <a:pt x="143" y="72"/>
                  <a:pt x="157" y="78"/>
                  <a:pt x="167" y="88"/>
                </a:cubicBezTo>
                <a:cubicBezTo>
                  <a:pt x="177" y="98"/>
                  <a:pt x="183" y="112"/>
                  <a:pt x="183" y="128"/>
                </a:cubicBezTo>
                <a:cubicBezTo>
                  <a:pt x="183" y="148"/>
                  <a:pt x="172" y="166"/>
                  <a:pt x="156" y="176"/>
                </a:cubicBezTo>
                <a:cubicBezTo>
                  <a:pt x="156" y="176"/>
                  <a:pt x="156" y="176"/>
                  <a:pt x="156" y="176"/>
                </a:cubicBezTo>
                <a:cubicBezTo>
                  <a:pt x="154" y="177"/>
                  <a:pt x="153" y="180"/>
                  <a:pt x="153" y="182"/>
                </a:cubicBezTo>
                <a:cubicBezTo>
                  <a:pt x="153" y="214"/>
                  <a:pt x="153" y="214"/>
                  <a:pt x="153" y="214"/>
                </a:cubicBezTo>
                <a:cubicBezTo>
                  <a:pt x="127" y="214"/>
                  <a:pt x="127" y="214"/>
                  <a:pt x="127" y="214"/>
                </a:cubicBezTo>
                <a:cubicBezTo>
                  <a:pt x="127" y="277"/>
                  <a:pt x="127" y="277"/>
                  <a:pt x="127" y="277"/>
                </a:cubicBezTo>
                <a:close/>
                <a:moveTo>
                  <a:pt x="191" y="55"/>
                </a:moveTo>
                <a:cubicBezTo>
                  <a:pt x="191" y="71"/>
                  <a:pt x="191" y="71"/>
                  <a:pt x="191" y="71"/>
                </a:cubicBezTo>
                <a:cubicBezTo>
                  <a:pt x="189" y="71"/>
                  <a:pt x="188" y="71"/>
                  <a:pt x="186" y="69"/>
                </a:cubicBezTo>
                <a:cubicBezTo>
                  <a:pt x="184" y="67"/>
                  <a:pt x="184" y="63"/>
                  <a:pt x="186" y="60"/>
                </a:cubicBezTo>
                <a:cubicBezTo>
                  <a:pt x="191" y="55"/>
                  <a:pt x="191" y="55"/>
                  <a:pt x="191" y="55"/>
                </a:cubicBezTo>
                <a:close/>
                <a:moveTo>
                  <a:pt x="191" y="185"/>
                </a:moveTo>
                <a:cubicBezTo>
                  <a:pt x="191" y="201"/>
                  <a:pt x="191" y="201"/>
                  <a:pt x="191" y="201"/>
                </a:cubicBezTo>
                <a:cubicBezTo>
                  <a:pt x="186" y="196"/>
                  <a:pt x="186" y="196"/>
                  <a:pt x="186" y="196"/>
                </a:cubicBezTo>
                <a:cubicBezTo>
                  <a:pt x="184" y="193"/>
                  <a:pt x="184" y="189"/>
                  <a:pt x="186" y="187"/>
                </a:cubicBezTo>
                <a:cubicBezTo>
                  <a:pt x="188" y="185"/>
                  <a:pt x="189" y="185"/>
                  <a:pt x="191" y="185"/>
                </a:cubicBezTo>
                <a:close/>
                <a:moveTo>
                  <a:pt x="127" y="45"/>
                </a:moveTo>
                <a:cubicBezTo>
                  <a:pt x="127" y="0"/>
                  <a:pt x="127" y="0"/>
                  <a:pt x="127" y="0"/>
                </a:cubicBezTo>
                <a:cubicBezTo>
                  <a:pt x="127" y="0"/>
                  <a:pt x="128" y="0"/>
                  <a:pt x="128" y="0"/>
                </a:cubicBezTo>
                <a:cubicBezTo>
                  <a:pt x="131" y="0"/>
                  <a:pt x="134" y="3"/>
                  <a:pt x="134" y="7"/>
                </a:cubicBezTo>
                <a:cubicBezTo>
                  <a:pt x="134" y="38"/>
                  <a:pt x="134" y="38"/>
                  <a:pt x="134" y="38"/>
                </a:cubicBezTo>
                <a:cubicBezTo>
                  <a:pt x="134" y="42"/>
                  <a:pt x="131" y="45"/>
                  <a:pt x="128" y="45"/>
                </a:cubicBezTo>
                <a:cubicBezTo>
                  <a:pt x="128" y="45"/>
                  <a:pt x="128" y="45"/>
                  <a:pt x="128" y="45"/>
                </a:cubicBezTo>
                <a:cubicBezTo>
                  <a:pt x="128" y="45"/>
                  <a:pt x="127" y="45"/>
                  <a:pt x="127" y="45"/>
                </a:cubicBezTo>
                <a:close/>
                <a:moveTo>
                  <a:pt x="127" y="57"/>
                </a:moveTo>
                <a:cubicBezTo>
                  <a:pt x="99" y="57"/>
                  <a:pt x="75" y="74"/>
                  <a:pt x="64" y="97"/>
                </a:cubicBezTo>
                <a:cubicBezTo>
                  <a:pt x="64" y="159"/>
                  <a:pt x="64" y="159"/>
                  <a:pt x="64" y="159"/>
                </a:cubicBezTo>
                <a:cubicBezTo>
                  <a:pt x="70" y="170"/>
                  <a:pt x="78" y="180"/>
                  <a:pt x="89" y="187"/>
                </a:cubicBezTo>
                <a:cubicBezTo>
                  <a:pt x="89" y="242"/>
                  <a:pt x="89" y="242"/>
                  <a:pt x="89" y="242"/>
                </a:cubicBezTo>
                <a:cubicBezTo>
                  <a:pt x="89" y="262"/>
                  <a:pt x="104" y="277"/>
                  <a:pt x="124" y="277"/>
                </a:cubicBezTo>
                <a:cubicBezTo>
                  <a:pt x="127" y="277"/>
                  <a:pt x="127" y="277"/>
                  <a:pt x="127" y="277"/>
                </a:cubicBezTo>
                <a:cubicBezTo>
                  <a:pt x="127" y="214"/>
                  <a:pt x="127" y="214"/>
                  <a:pt x="127" y="214"/>
                </a:cubicBezTo>
                <a:cubicBezTo>
                  <a:pt x="103" y="214"/>
                  <a:pt x="103" y="214"/>
                  <a:pt x="103" y="214"/>
                </a:cubicBezTo>
                <a:cubicBezTo>
                  <a:pt x="103" y="183"/>
                  <a:pt x="103" y="183"/>
                  <a:pt x="103" y="183"/>
                </a:cubicBezTo>
                <a:cubicBezTo>
                  <a:pt x="103" y="180"/>
                  <a:pt x="102" y="178"/>
                  <a:pt x="100" y="176"/>
                </a:cubicBezTo>
                <a:cubicBezTo>
                  <a:pt x="83" y="167"/>
                  <a:pt x="71" y="149"/>
                  <a:pt x="71" y="128"/>
                </a:cubicBezTo>
                <a:cubicBezTo>
                  <a:pt x="71" y="112"/>
                  <a:pt x="78" y="98"/>
                  <a:pt x="88" y="88"/>
                </a:cubicBezTo>
                <a:cubicBezTo>
                  <a:pt x="98" y="78"/>
                  <a:pt x="112" y="72"/>
                  <a:pt x="127" y="72"/>
                </a:cubicBezTo>
                <a:cubicBezTo>
                  <a:pt x="127" y="72"/>
                  <a:pt x="127" y="72"/>
                  <a:pt x="127" y="72"/>
                </a:cubicBezTo>
                <a:cubicBezTo>
                  <a:pt x="127" y="57"/>
                  <a:pt x="127" y="57"/>
                  <a:pt x="127" y="57"/>
                </a:cubicBezTo>
                <a:cubicBezTo>
                  <a:pt x="127" y="57"/>
                  <a:pt x="127" y="57"/>
                  <a:pt x="127" y="57"/>
                </a:cubicBezTo>
                <a:close/>
                <a:moveTo>
                  <a:pt x="127" y="0"/>
                </a:moveTo>
                <a:cubicBezTo>
                  <a:pt x="127" y="45"/>
                  <a:pt x="127" y="45"/>
                  <a:pt x="127" y="45"/>
                </a:cubicBezTo>
                <a:cubicBezTo>
                  <a:pt x="124" y="45"/>
                  <a:pt x="121" y="42"/>
                  <a:pt x="121" y="38"/>
                </a:cubicBezTo>
                <a:cubicBezTo>
                  <a:pt x="121" y="7"/>
                  <a:pt x="121" y="7"/>
                  <a:pt x="121" y="7"/>
                </a:cubicBezTo>
                <a:cubicBezTo>
                  <a:pt x="121" y="4"/>
                  <a:pt x="124" y="1"/>
                  <a:pt x="127" y="0"/>
                </a:cubicBezTo>
                <a:close/>
                <a:moveTo>
                  <a:pt x="64" y="201"/>
                </a:moveTo>
                <a:cubicBezTo>
                  <a:pt x="64" y="185"/>
                  <a:pt x="64" y="185"/>
                  <a:pt x="64" y="185"/>
                </a:cubicBezTo>
                <a:cubicBezTo>
                  <a:pt x="66" y="185"/>
                  <a:pt x="68" y="185"/>
                  <a:pt x="69" y="187"/>
                </a:cubicBezTo>
                <a:cubicBezTo>
                  <a:pt x="72" y="189"/>
                  <a:pt x="72" y="193"/>
                  <a:pt x="69" y="196"/>
                </a:cubicBezTo>
                <a:cubicBezTo>
                  <a:pt x="64" y="201"/>
                  <a:pt x="64" y="201"/>
                  <a:pt x="64" y="201"/>
                </a:cubicBezTo>
                <a:close/>
                <a:moveTo>
                  <a:pt x="64" y="71"/>
                </a:moveTo>
                <a:cubicBezTo>
                  <a:pt x="64" y="55"/>
                  <a:pt x="64" y="55"/>
                  <a:pt x="64" y="55"/>
                </a:cubicBezTo>
                <a:cubicBezTo>
                  <a:pt x="69" y="60"/>
                  <a:pt x="69" y="60"/>
                  <a:pt x="69" y="60"/>
                </a:cubicBezTo>
                <a:cubicBezTo>
                  <a:pt x="72" y="63"/>
                  <a:pt x="72" y="67"/>
                  <a:pt x="69" y="69"/>
                </a:cubicBezTo>
                <a:cubicBezTo>
                  <a:pt x="68" y="71"/>
                  <a:pt x="66" y="71"/>
                  <a:pt x="64" y="71"/>
                </a:cubicBezTo>
                <a:close/>
                <a:moveTo>
                  <a:pt x="64" y="97"/>
                </a:moveTo>
                <a:cubicBezTo>
                  <a:pt x="59" y="106"/>
                  <a:pt x="57" y="117"/>
                  <a:pt x="57" y="128"/>
                </a:cubicBezTo>
                <a:cubicBezTo>
                  <a:pt x="57" y="139"/>
                  <a:pt x="59" y="149"/>
                  <a:pt x="64" y="159"/>
                </a:cubicBezTo>
                <a:cubicBezTo>
                  <a:pt x="64" y="97"/>
                  <a:pt x="64" y="97"/>
                  <a:pt x="64" y="97"/>
                </a:cubicBezTo>
                <a:close/>
                <a:moveTo>
                  <a:pt x="64" y="55"/>
                </a:moveTo>
                <a:cubicBezTo>
                  <a:pt x="64" y="71"/>
                  <a:pt x="64" y="71"/>
                  <a:pt x="64" y="71"/>
                </a:cubicBezTo>
                <a:cubicBezTo>
                  <a:pt x="62" y="71"/>
                  <a:pt x="61" y="70"/>
                  <a:pt x="60" y="69"/>
                </a:cubicBezTo>
                <a:cubicBezTo>
                  <a:pt x="60" y="69"/>
                  <a:pt x="60" y="69"/>
                  <a:pt x="60" y="69"/>
                </a:cubicBezTo>
                <a:cubicBezTo>
                  <a:pt x="38" y="47"/>
                  <a:pt x="38" y="47"/>
                  <a:pt x="38" y="47"/>
                </a:cubicBezTo>
                <a:cubicBezTo>
                  <a:pt x="35" y="44"/>
                  <a:pt x="35" y="40"/>
                  <a:pt x="38" y="38"/>
                </a:cubicBezTo>
                <a:cubicBezTo>
                  <a:pt x="40" y="35"/>
                  <a:pt x="44" y="35"/>
                  <a:pt x="47" y="38"/>
                </a:cubicBezTo>
                <a:cubicBezTo>
                  <a:pt x="64" y="55"/>
                  <a:pt x="64" y="55"/>
                  <a:pt x="64" y="55"/>
                </a:cubicBezTo>
                <a:close/>
                <a:moveTo>
                  <a:pt x="64" y="185"/>
                </a:moveTo>
                <a:cubicBezTo>
                  <a:pt x="64" y="201"/>
                  <a:pt x="64" y="201"/>
                  <a:pt x="64" y="201"/>
                </a:cubicBezTo>
                <a:cubicBezTo>
                  <a:pt x="47" y="218"/>
                  <a:pt x="47" y="218"/>
                  <a:pt x="47" y="218"/>
                </a:cubicBezTo>
                <a:cubicBezTo>
                  <a:pt x="44" y="221"/>
                  <a:pt x="40" y="221"/>
                  <a:pt x="38" y="218"/>
                </a:cubicBezTo>
                <a:cubicBezTo>
                  <a:pt x="35" y="216"/>
                  <a:pt x="35" y="211"/>
                  <a:pt x="38" y="209"/>
                </a:cubicBezTo>
                <a:cubicBezTo>
                  <a:pt x="60" y="187"/>
                  <a:pt x="60" y="187"/>
                  <a:pt x="60" y="187"/>
                </a:cubicBezTo>
                <a:cubicBezTo>
                  <a:pt x="60" y="187"/>
                  <a:pt x="60" y="187"/>
                  <a:pt x="60" y="187"/>
                </a:cubicBezTo>
                <a:cubicBezTo>
                  <a:pt x="61" y="185"/>
                  <a:pt x="62" y="185"/>
                  <a:pt x="64" y="185"/>
                </a:cubicBezTo>
                <a:close/>
                <a:moveTo>
                  <a:pt x="45" y="128"/>
                </a:moveTo>
                <a:cubicBezTo>
                  <a:pt x="45" y="128"/>
                  <a:pt x="45" y="128"/>
                  <a:pt x="45" y="128"/>
                </a:cubicBezTo>
                <a:cubicBezTo>
                  <a:pt x="45" y="124"/>
                  <a:pt x="42" y="121"/>
                  <a:pt x="38" y="121"/>
                </a:cubicBezTo>
                <a:cubicBezTo>
                  <a:pt x="7" y="121"/>
                  <a:pt x="7" y="121"/>
                  <a:pt x="7" y="121"/>
                </a:cubicBezTo>
                <a:cubicBezTo>
                  <a:pt x="3" y="121"/>
                  <a:pt x="0" y="124"/>
                  <a:pt x="0" y="128"/>
                </a:cubicBezTo>
                <a:cubicBezTo>
                  <a:pt x="0" y="132"/>
                  <a:pt x="3" y="134"/>
                  <a:pt x="7" y="134"/>
                </a:cubicBezTo>
                <a:cubicBezTo>
                  <a:pt x="38" y="134"/>
                  <a:pt x="38" y="134"/>
                  <a:pt x="38" y="134"/>
                </a:cubicBezTo>
                <a:cubicBezTo>
                  <a:pt x="42" y="134"/>
                  <a:pt x="45" y="132"/>
                  <a:pt x="45" y="128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4" name="Freeform 57"/>
          <p:cNvSpPr>
            <a:spLocks noEditPoints="1"/>
          </p:cNvSpPr>
          <p:nvPr/>
        </p:nvSpPr>
        <p:spPr bwMode="auto">
          <a:xfrm>
            <a:off x="9037959" y="1136040"/>
            <a:ext cx="528638" cy="519113"/>
          </a:xfrm>
          <a:custGeom>
            <a:avLst/>
            <a:gdLst>
              <a:gd name="T0" fmla="*/ 231 w 243"/>
              <a:gd name="T1" fmla="*/ 92 h 238"/>
              <a:gd name="T2" fmla="*/ 214 w 243"/>
              <a:gd name="T3" fmla="*/ 83 h 238"/>
              <a:gd name="T4" fmla="*/ 206 w 243"/>
              <a:gd name="T5" fmla="*/ 71 h 238"/>
              <a:gd name="T6" fmla="*/ 192 w 243"/>
              <a:gd name="T7" fmla="*/ 82 h 238"/>
              <a:gd name="T8" fmla="*/ 194 w 243"/>
              <a:gd name="T9" fmla="*/ 64 h 238"/>
              <a:gd name="T10" fmla="*/ 179 w 243"/>
              <a:gd name="T11" fmla="*/ 64 h 238"/>
              <a:gd name="T12" fmla="*/ 162 w 243"/>
              <a:gd name="T13" fmla="*/ 54 h 238"/>
              <a:gd name="T14" fmla="*/ 154 w 243"/>
              <a:gd name="T15" fmla="*/ 42 h 238"/>
              <a:gd name="T16" fmla="*/ 140 w 243"/>
              <a:gd name="T17" fmla="*/ 53 h 238"/>
              <a:gd name="T18" fmla="*/ 142 w 243"/>
              <a:gd name="T19" fmla="*/ 35 h 238"/>
              <a:gd name="T20" fmla="*/ 128 w 243"/>
              <a:gd name="T21" fmla="*/ 35 h 238"/>
              <a:gd name="T22" fmla="*/ 110 w 243"/>
              <a:gd name="T23" fmla="*/ 25 h 238"/>
              <a:gd name="T24" fmla="*/ 102 w 243"/>
              <a:gd name="T25" fmla="*/ 13 h 238"/>
              <a:gd name="T26" fmla="*/ 101 w 243"/>
              <a:gd name="T27" fmla="*/ 22 h 238"/>
              <a:gd name="T28" fmla="*/ 208 w 243"/>
              <a:gd name="T29" fmla="*/ 128 h 238"/>
              <a:gd name="T30" fmla="*/ 206 w 243"/>
              <a:gd name="T31" fmla="*/ 132 h 238"/>
              <a:gd name="T32" fmla="*/ 101 w 243"/>
              <a:gd name="T33" fmla="*/ 74 h 238"/>
              <a:gd name="T34" fmla="*/ 196 w 243"/>
              <a:gd name="T35" fmla="*/ 149 h 238"/>
              <a:gd name="T36" fmla="*/ 194 w 243"/>
              <a:gd name="T37" fmla="*/ 153 h 238"/>
              <a:gd name="T38" fmla="*/ 101 w 243"/>
              <a:gd name="T39" fmla="*/ 101 h 238"/>
              <a:gd name="T40" fmla="*/ 185 w 243"/>
              <a:gd name="T41" fmla="*/ 170 h 238"/>
              <a:gd name="T42" fmla="*/ 182 w 243"/>
              <a:gd name="T43" fmla="*/ 174 h 238"/>
              <a:gd name="T44" fmla="*/ 101 w 243"/>
              <a:gd name="T45" fmla="*/ 129 h 238"/>
              <a:gd name="T46" fmla="*/ 173 w 243"/>
              <a:gd name="T47" fmla="*/ 191 h 238"/>
              <a:gd name="T48" fmla="*/ 171 w 243"/>
              <a:gd name="T49" fmla="*/ 195 h 238"/>
              <a:gd name="T50" fmla="*/ 101 w 243"/>
              <a:gd name="T51" fmla="*/ 156 h 238"/>
              <a:gd name="T52" fmla="*/ 138 w 243"/>
              <a:gd name="T53" fmla="*/ 231 h 238"/>
              <a:gd name="T54" fmla="*/ 243 w 243"/>
              <a:gd name="T55" fmla="*/ 91 h 238"/>
              <a:gd name="T56" fmla="*/ 101 w 243"/>
              <a:gd name="T57" fmla="*/ 22 h 238"/>
              <a:gd name="T58" fmla="*/ 85 w 243"/>
              <a:gd name="T59" fmla="*/ 11 h 238"/>
              <a:gd name="T60" fmla="*/ 78 w 243"/>
              <a:gd name="T61" fmla="*/ 0 h 238"/>
              <a:gd name="T62" fmla="*/ 15 w 243"/>
              <a:gd name="T63" fmla="*/ 163 h 238"/>
              <a:gd name="T64" fmla="*/ 101 w 243"/>
              <a:gd name="T65" fmla="*/ 156 h 238"/>
              <a:gd name="T66" fmla="*/ 27 w 243"/>
              <a:gd name="T67" fmla="*/ 113 h 238"/>
              <a:gd name="T68" fmla="*/ 101 w 243"/>
              <a:gd name="T69" fmla="*/ 151 h 238"/>
              <a:gd name="T70" fmla="*/ 40 w 243"/>
              <a:gd name="T71" fmla="*/ 95 h 238"/>
              <a:gd name="T72" fmla="*/ 42 w 243"/>
              <a:gd name="T73" fmla="*/ 91 h 238"/>
              <a:gd name="T74" fmla="*/ 101 w 243"/>
              <a:gd name="T75" fmla="*/ 101 h 238"/>
              <a:gd name="T76" fmla="*/ 51 w 243"/>
              <a:gd name="T77" fmla="*/ 71 h 238"/>
              <a:gd name="T78" fmla="*/ 101 w 243"/>
              <a:gd name="T79" fmla="*/ 96 h 238"/>
              <a:gd name="T80" fmla="*/ 63 w 243"/>
              <a:gd name="T81" fmla="*/ 53 h 238"/>
              <a:gd name="T82" fmla="*/ 65 w 243"/>
              <a:gd name="T83" fmla="*/ 49 h 238"/>
              <a:gd name="T84" fmla="*/ 101 w 243"/>
              <a:gd name="T85" fmla="*/ 22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43" h="238">
                <a:moveTo>
                  <a:pt x="232" y="85"/>
                </a:moveTo>
                <a:cubicBezTo>
                  <a:pt x="233" y="87"/>
                  <a:pt x="233" y="90"/>
                  <a:pt x="231" y="92"/>
                </a:cubicBezTo>
                <a:cubicBezTo>
                  <a:pt x="229" y="97"/>
                  <a:pt x="223" y="99"/>
                  <a:pt x="218" y="96"/>
                </a:cubicBezTo>
                <a:cubicBezTo>
                  <a:pt x="213" y="94"/>
                  <a:pt x="212" y="88"/>
                  <a:pt x="214" y="83"/>
                </a:cubicBezTo>
                <a:cubicBezTo>
                  <a:pt x="216" y="81"/>
                  <a:pt x="218" y="79"/>
                  <a:pt x="220" y="78"/>
                </a:cubicBezTo>
                <a:cubicBezTo>
                  <a:pt x="206" y="71"/>
                  <a:pt x="206" y="71"/>
                  <a:pt x="206" y="71"/>
                </a:cubicBezTo>
                <a:cubicBezTo>
                  <a:pt x="207" y="73"/>
                  <a:pt x="207" y="76"/>
                  <a:pt x="205" y="78"/>
                </a:cubicBezTo>
                <a:cubicBezTo>
                  <a:pt x="203" y="83"/>
                  <a:pt x="197" y="84"/>
                  <a:pt x="192" y="82"/>
                </a:cubicBezTo>
                <a:cubicBezTo>
                  <a:pt x="188" y="79"/>
                  <a:pt x="186" y="73"/>
                  <a:pt x="188" y="69"/>
                </a:cubicBezTo>
                <a:cubicBezTo>
                  <a:pt x="190" y="66"/>
                  <a:pt x="192" y="65"/>
                  <a:pt x="194" y="64"/>
                </a:cubicBezTo>
                <a:cubicBezTo>
                  <a:pt x="180" y="56"/>
                  <a:pt x="180" y="56"/>
                  <a:pt x="180" y="56"/>
                </a:cubicBezTo>
                <a:cubicBezTo>
                  <a:pt x="181" y="59"/>
                  <a:pt x="181" y="61"/>
                  <a:pt x="179" y="64"/>
                </a:cubicBezTo>
                <a:cubicBezTo>
                  <a:pt x="177" y="68"/>
                  <a:pt x="171" y="70"/>
                  <a:pt x="166" y="67"/>
                </a:cubicBezTo>
                <a:cubicBezTo>
                  <a:pt x="161" y="65"/>
                  <a:pt x="160" y="59"/>
                  <a:pt x="162" y="54"/>
                </a:cubicBezTo>
                <a:cubicBezTo>
                  <a:pt x="164" y="52"/>
                  <a:pt x="166" y="50"/>
                  <a:pt x="168" y="50"/>
                </a:cubicBezTo>
                <a:cubicBezTo>
                  <a:pt x="154" y="42"/>
                  <a:pt x="154" y="42"/>
                  <a:pt x="154" y="42"/>
                </a:cubicBezTo>
                <a:cubicBezTo>
                  <a:pt x="155" y="44"/>
                  <a:pt x="155" y="47"/>
                  <a:pt x="153" y="49"/>
                </a:cubicBezTo>
                <a:cubicBezTo>
                  <a:pt x="151" y="54"/>
                  <a:pt x="145" y="56"/>
                  <a:pt x="140" y="53"/>
                </a:cubicBezTo>
                <a:cubicBezTo>
                  <a:pt x="136" y="50"/>
                  <a:pt x="134" y="45"/>
                  <a:pt x="136" y="40"/>
                </a:cubicBezTo>
                <a:cubicBezTo>
                  <a:pt x="138" y="37"/>
                  <a:pt x="140" y="36"/>
                  <a:pt x="142" y="35"/>
                </a:cubicBezTo>
                <a:cubicBezTo>
                  <a:pt x="128" y="28"/>
                  <a:pt x="128" y="28"/>
                  <a:pt x="128" y="28"/>
                </a:cubicBezTo>
                <a:cubicBezTo>
                  <a:pt x="129" y="30"/>
                  <a:pt x="129" y="33"/>
                  <a:pt x="128" y="35"/>
                </a:cubicBezTo>
                <a:cubicBezTo>
                  <a:pt x="125" y="40"/>
                  <a:pt x="119" y="41"/>
                  <a:pt x="114" y="39"/>
                </a:cubicBezTo>
                <a:cubicBezTo>
                  <a:pt x="110" y="36"/>
                  <a:pt x="108" y="30"/>
                  <a:pt x="110" y="25"/>
                </a:cubicBezTo>
                <a:cubicBezTo>
                  <a:pt x="112" y="23"/>
                  <a:pt x="114" y="22"/>
                  <a:pt x="116" y="21"/>
                </a:cubicBezTo>
                <a:cubicBezTo>
                  <a:pt x="102" y="13"/>
                  <a:pt x="102" y="13"/>
                  <a:pt x="102" y="13"/>
                </a:cubicBezTo>
                <a:cubicBezTo>
                  <a:pt x="103" y="16"/>
                  <a:pt x="103" y="18"/>
                  <a:pt x="102" y="21"/>
                </a:cubicBezTo>
                <a:cubicBezTo>
                  <a:pt x="101" y="21"/>
                  <a:pt x="101" y="22"/>
                  <a:pt x="101" y="22"/>
                </a:cubicBezTo>
                <a:cubicBezTo>
                  <a:pt x="101" y="69"/>
                  <a:pt x="101" y="69"/>
                  <a:pt x="101" y="69"/>
                </a:cubicBezTo>
                <a:cubicBezTo>
                  <a:pt x="208" y="128"/>
                  <a:pt x="208" y="128"/>
                  <a:pt x="208" y="128"/>
                </a:cubicBezTo>
                <a:cubicBezTo>
                  <a:pt x="209" y="129"/>
                  <a:pt x="209" y="130"/>
                  <a:pt x="209" y="131"/>
                </a:cubicBezTo>
                <a:cubicBezTo>
                  <a:pt x="208" y="132"/>
                  <a:pt x="207" y="133"/>
                  <a:pt x="206" y="132"/>
                </a:cubicBezTo>
                <a:cubicBezTo>
                  <a:pt x="206" y="132"/>
                  <a:pt x="206" y="132"/>
                  <a:pt x="206" y="132"/>
                </a:cubicBezTo>
                <a:cubicBezTo>
                  <a:pt x="101" y="74"/>
                  <a:pt x="101" y="74"/>
                  <a:pt x="101" y="74"/>
                </a:cubicBezTo>
                <a:cubicBezTo>
                  <a:pt x="101" y="96"/>
                  <a:pt x="101" y="96"/>
                  <a:pt x="101" y="96"/>
                </a:cubicBezTo>
                <a:cubicBezTo>
                  <a:pt x="196" y="149"/>
                  <a:pt x="196" y="149"/>
                  <a:pt x="196" y="149"/>
                </a:cubicBezTo>
                <a:cubicBezTo>
                  <a:pt x="197" y="150"/>
                  <a:pt x="198" y="151"/>
                  <a:pt x="197" y="152"/>
                </a:cubicBezTo>
                <a:cubicBezTo>
                  <a:pt x="197" y="153"/>
                  <a:pt x="195" y="154"/>
                  <a:pt x="194" y="153"/>
                </a:cubicBezTo>
                <a:cubicBezTo>
                  <a:pt x="194" y="153"/>
                  <a:pt x="194" y="153"/>
                  <a:pt x="194" y="153"/>
                </a:cubicBezTo>
                <a:cubicBezTo>
                  <a:pt x="101" y="101"/>
                  <a:pt x="101" y="101"/>
                  <a:pt x="101" y="101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85" y="170"/>
                  <a:pt x="185" y="170"/>
                  <a:pt x="185" y="170"/>
                </a:cubicBezTo>
                <a:cubicBezTo>
                  <a:pt x="186" y="171"/>
                  <a:pt x="186" y="172"/>
                  <a:pt x="186" y="173"/>
                </a:cubicBezTo>
                <a:cubicBezTo>
                  <a:pt x="185" y="174"/>
                  <a:pt x="184" y="175"/>
                  <a:pt x="182" y="174"/>
                </a:cubicBezTo>
                <a:cubicBezTo>
                  <a:pt x="182" y="174"/>
                  <a:pt x="182" y="174"/>
                  <a:pt x="182" y="174"/>
                </a:cubicBezTo>
                <a:cubicBezTo>
                  <a:pt x="101" y="129"/>
                  <a:pt x="101" y="129"/>
                  <a:pt x="101" y="129"/>
                </a:cubicBezTo>
                <a:cubicBezTo>
                  <a:pt x="101" y="151"/>
                  <a:pt x="101" y="151"/>
                  <a:pt x="101" y="151"/>
                </a:cubicBezTo>
                <a:cubicBezTo>
                  <a:pt x="173" y="191"/>
                  <a:pt x="173" y="191"/>
                  <a:pt x="173" y="191"/>
                </a:cubicBezTo>
                <a:cubicBezTo>
                  <a:pt x="174" y="192"/>
                  <a:pt x="174" y="193"/>
                  <a:pt x="174" y="194"/>
                </a:cubicBezTo>
                <a:cubicBezTo>
                  <a:pt x="173" y="196"/>
                  <a:pt x="172" y="196"/>
                  <a:pt x="171" y="195"/>
                </a:cubicBezTo>
                <a:cubicBezTo>
                  <a:pt x="171" y="195"/>
                  <a:pt x="171" y="195"/>
                  <a:pt x="171" y="195"/>
                </a:cubicBezTo>
                <a:cubicBezTo>
                  <a:pt x="101" y="156"/>
                  <a:pt x="101" y="156"/>
                  <a:pt x="101" y="156"/>
                </a:cubicBezTo>
                <a:cubicBezTo>
                  <a:pt x="101" y="210"/>
                  <a:pt x="101" y="210"/>
                  <a:pt x="101" y="210"/>
                </a:cubicBezTo>
                <a:cubicBezTo>
                  <a:pt x="138" y="231"/>
                  <a:pt x="138" y="231"/>
                  <a:pt x="138" y="231"/>
                </a:cubicBezTo>
                <a:cubicBezTo>
                  <a:pt x="150" y="238"/>
                  <a:pt x="164" y="233"/>
                  <a:pt x="171" y="222"/>
                </a:cubicBezTo>
                <a:cubicBezTo>
                  <a:pt x="243" y="91"/>
                  <a:pt x="243" y="91"/>
                  <a:pt x="243" y="91"/>
                </a:cubicBezTo>
                <a:lnTo>
                  <a:pt x="232" y="85"/>
                </a:lnTo>
                <a:close/>
                <a:moveTo>
                  <a:pt x="101" y="22"/>
                </a:moveTo>
                <a:cubicBezTo>
                  <a:pt x="98" y="26"/>
                  <a:pt x="93" y="27"/>
                  <a:pt x="88" y="24"/>
                </a:cubicBezTo>
                <a:cubicBezTo>
                  <a:pt x="84" y="22"/>
                  <a:pt x="82" y="16"/>
                  <a:pt x="85" y="11"/>
                </a:cubicBezTo>
                <a:cubicBezTo>
                  <a:pt x="86" y="9"/>
                  <a:pt x="88" y="7"/>
                  <a:pt x="90" y="6"/>
                </a:cubicBezTo>
                <a:cubicBezTo>
                  <a:pt x="78" y="0"/>
                  <a:pt x="78" y="0"/>
                  <a:pt x="78" y="0"/>
                </a:cubicBezTo>
                <a:cubicBezTo>
                  <a:pt x="6" y="130"/>
                  <a:pt x="6" y="130"/>
                  <a:pt x="6" y="130"/>
                </a:cubicBezTo>
                <a:cubicBezTo>
                  <a:pt x="0" y="142"/>
                  <a:pt x="4" y="157"/>
                  <a:pt x="15" y="163"/>
                </a:cubicBezTo>
                <a:cubicBezTo>
                  <a:pt x="101" y="210"/>
                  <a:pt x="101" y="210"/>
                  <a:pt x="101" y="210"/>
                </a:cubicBezTo>
                <a:cubicBezTo>
                  <a:pt x="101" y="156"/>
                  <a:pt x="101" y="156"/>
                  <a:pt x="101" y="156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7" y="116"/>
                  <a:pt x="27" y="114"/>
                  <a:pt x="27" y="113"/>
                </a:cubicBezTo>
                <a:cubicBezTo>
                  <a:pt x="28" y="112"/>
                  <a:pt x="29" y="112"/>
                  <a:pt x="30" y="112"/>
                </a:cubicBezTo>
                <a:cubicBezTo>
                  <a:pt x="101" y="151"/>
                  <a:pt x="101" y="151"/>
                  <a:pt x="101" y="151"/>
                </a:cubicBezTo>
                <a:cubicBezTo>
                  <a:pt x="101" y="129"/>
                  <a:pt x="101" y="129"/>
                  <a:pt x="101" y="129"/>
                </a:cubicBezTo>
                <a:cubicBezTo>
                  <a:pt x="40" y="95"/>
                  <a:pt x="40" y="95"/>
                  <a:pt x="40" y="95"/>
                </a:cubicBezTo>
                <a:cubicBezTo>
                  <a:pt x="39" y="95"/>
                  <a:pt x="38" y="93"/>
                  <a:pt x="39" y="92"/>
                </a:cubicBezTo>
                <a:cubicBezTo>
                  <a:pt x="40" y="91"/>
                  <a:pt x="41" y="91"/>
                  <a:pt x="42" y="91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01" y="101"/>
                  <a:pt x="101" y="101"/>
                  <a:pt x="101" y="101"/>
                </a:cubicBezTo>
                <a:cubicBezTo>
                  <a:pt x="51" y="74"/>
                  <a:pt x="51" y="74"/>
                  <a:pt x="51" y="74"/>
                </a:cubicBezTo>
                <a:cubicBezTo>
                  <a:pt x="50" y="74"/>
                  <a:pt x="50" y="72"/>
                  <a:pt x="51" y="71"/>
                </a:cubicBezTo>
                <a:cubicBezTo>
                  <a:pt x="51" y="70"/>
                  <a:pt x="53" y="70"/>
                  <a:pt x="54" y="70"/>
                </a:cubicBezTo>
                <a:cubicBezTo>
                  <a:pt x="101" y="96"/>
                  <a:pt x="101" y="96"/>
                  <a:pt x="101" y="96"/>
                </a:cubicBezTo>
                <a:cubicBezTo>
                  <a:pt x="101" y="74"/>
                  <a:pt x="101" y="74"/>
                  <a:pt x="101" y="74"/>
                </a:cubicBezTo>
                <a:cubicBezTo>
                  <a:pt x="63" y="53"/>
                  <a:pt x="63" y="53"/>
                  <a:pt x="63" y="53"/>
                </a:cubicBezTo>
                <a:cubicBezTo>
                  <a:pt x="62" y="53"/>
                  <a:pt x="62" y="51"/>
                  <a:pt x="62" y="50"/>
                </a:cubicBezTo>
                <a:cubicBezTo>
                  <a:pt x="63" y="49"/>
                  <a:pt x="64" y="49"/>
                  <a:pt x="65" y="49"/>
                </a:cubicBezTo>
                <a:cubicBezTo>
                  <a:pt x="101" y="69"/>
                  <a:pt x="101" y="69"/>
                  <a:pt x="101" y="69"/>
                </a:cubicBezTo>
                <a:lnTo>
                  <a:pt x="101" y="22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5" name="Freeform 58"/>
          <p:cNvSpPr>
            <a:spLocks noEditPoints="1"/>
          </p:cNvSpPr>
          <p:nvPr/>
        </p:nvSpPr>
        <p:spPr bwMode="auto">
          <a:xfrm>
            <a:off x="7170551" y="3301664"/>
            <a:ext cx="514350" cy="520700"/>
          </a:xfrm>
          <a:custGeom>
            <a:avLst/>
            <a:gdLst>
              <a:gd name="T0" fmla="*/ 189 w 236"/>
              <a:gd name="T1" fmla="*/ 60 h 239"/>
              <a:gd name="T2" fmla="*/ 196 w 236"/>
              <a:gd name="T3" fmla="*/ 122 h 239"/>
              <a:gd name="T4" fmla="*/ 198 w 236"/>
              <a:gd name="T5" fmla="*/ 136 h 239"/>
              <a:gd name="T6" fmla="*/ 208 w 236"/>
              <a:gd name="T7" fmla="*/ 157 h 239"/>
              <a:gd name="T8" fmla="*/ 189 w 236"/>
              <a:gd name="T9" fmla="*/ 195 h 239"/>
              <a:gd name="T10" fmla="*/ 168 w 236"/>
              <a:gd name="T11" fmla="*/ 156 h 239"/>
              <a:gd name="T12" fmla="*/ 168 w 236"/>
              <a:gd name="T13" fmla="*/ 78 h 239"/>
              <a:gd name="T14" fmla="*/ 182 w 236"/>
              <a:gd name="T15" fmla="*/ 92 h 239"/>
              <a:gd name="T16" fmla="*/ 185 w 236"/>
              <a:gd name="T17" fmla="*/ 107 h 239"/>
              <a:gd name="T18" fmla="*/ 189 w 236"/>
              <a:gd name="T19" fmla="*/ 141 h 239"/>
              <a:gd name="T20" fmla="*/ 189 w 236"/>
              <a:gd name="T21" fmla="*/ 130 h 239"/>
              <a:gd name="T22" fmla="*/ 168 w 236"/>
              <a:gd name="T23" fmla="*/ 155 h 239"/>
              <a:gd name="T24" fmla="*/ 160 w 236"/>
              <a:gd name="T25" fmla="*/ 138 h 239"/>
              <a:gd name="T26" fmla="*/ 165 w 236"/>
              <a:gd name="T27" fmla="*/ 172 h 239"/>
              <a:gd name="T28" fmla="*/ 168 w 236"/>
              <a:gd name="T29" fmla="*/ 16 h 239"/>
              <a:gd name="T30" fmla="*/ 163 w 236"/>
              <a:gd name="T31" fmla="*/ 49 h 239"/>
              <a:gd name="T32" fmla="*/ 168 w 236"/>
              <a:gd name="T33" fmla="*/ 78 h 239"/>
              <a:gd name="T34" fmla="*/ 159 w 236"/>
              <a:gd name="T35" fmla="*/ 118 h 239"/>
              <a:gd name="T36" fmla="*/ 159 w 236"/>
              <a:gd name="T37" fmla="*/ 209 h 239"/>
              <a:gd name="T38" fmla="*/ 159 w 236"/>
              <a:gd name="T39" fmla="*/ 5 h 239"/>
              <a:gd name="T40" fmla="*/ 159 w 236"/>
              <a:gd name="T41" fmla="*/ 40 h 239"/>
              <a:gd name="T42" fmla="*/ 144 w 236"/>
              <a:gd name="T43" fmla="*/ 89 h 239"/>
              <a:gd name="T44" fmla="*/ 159 w 236"/>
              <a:gd name="T45" fmla="*/ 108 h 239"/>
              <a:gd name="T46" fmla="*/ 159 w 236"/>
              <a:gd name="T47" fmla="*/ 136 h 239"/>
              <a:gd name="T48" fmla="*/ 144 w 236"/>
              <a:gd name="T49" fmla="*/ 162 h 239"/>
              <a:gd name="T50" fmla="*/ 151 w 236"/>
              <a:gd name="T51" fmla="*/ 143 h 239"/>
              <a:gd name="T52" fmla="*/ 146 w 236"/>
              <a:gd name="T53" fmla="*/ 109 h 239"/>
              <a:gd name="T54" fmla="*/ 123 w 236"/>
              <a:gd name="T55" fmla="*/ 7 h 239"/>
              <a:gd name="T56" fmla="*/ 144 w 236"/>
              <a:gd name="T57" fmla="*/ 0 h 239"/>
              <a:gd name="T58" fmla="*/ 144 w 236"/>
              <a:gd name="T59" fmla="*/ 187 h 239"/>
              <a:gd name="T60" fmla="*/ 123 w 236"/>
              <a:gd name="T61" fmla="*/ 225 h 239"/>
              <a:gd name="T62" fmla="*/ 140 w 236"/>
              <a:gd name="T63" fmla="*/ 96 h 239"/>
              <a:gd name="T64" fmla="*/ 123 w 236"/>
              <a:gd name="T65" fmla="*/ 135 h 239"/>
              <a:gd name="T66" fmla="*/ 137 w 236"/>
              <a:gd name="T67" fmla="*/ 113 h 239"/>
              <a:gd name="T68" fmla="*/ 123 w 236"/>
              <a:gd name="T69" fmla="*/ 82 h 239"/>
              <a:gd name="T70" fmla="*/ 125 w 236"/>
              <a:gd name="T71" fmla="*/ 171 h 239"/>
              <a:gd name="T72" fmla="*/ 123 w 236"/>
              <a:gd name="T73" fmla="*/ 7 h 239"/>
              <a:gd name="T74" fmla="*/ 123 w 236"/>
              <a:gd name="T75" fmla="*/ 7 h 239"/>
              <a:gd name="T76" fmla="*/ 123 w 236"/>
              <a:gd name="T77" fmla="*/ 177 h 239"/>
              <a:gd name="T78" fmla="*/ 121 w 236"/>
              <a:gd name="T79" fmla="*/ 162 h 239"/>
              <a:gd name="T80" fmla="*/ 123 w 236"/>
              <a:gd name="T81" fmla="*/ 135 h 239"/>
              <a:gd name="T82" fmla="*/ 99 w 236"/>
              <a:gd name="T83" fmla="*/ 124 h 239"/>
              <a:gd name="T84" fmla="*/ 106 w 236"/>
              <a:gd name="T85" fmla="*/ 164 h 239"/>
              <a:gd name="T86" fmla="*/ 108 w 236"/>
              <a:gd name="T87" fmla="*/ 179 h 239"/>
              <a:gd name="T88" fmla="*/ 118 w 236"/>
              <a:gd name="T89" fmla="*/ 199 h 239"/>
              <a:gd name="T90" fmla="*/ 123 w 236"/>
              <a:gd name="T91" fmla="*/ 99 h 239"/>
              <a:gd name="T92" fmla="*/ 99 w 236"/>
              <a:gd name="T93" fmla="*/ 18 h 239"/>
              <a:gd name="T94" fmla="*/ 99 w 236"/>
              <a:gd name="T95" fmla="*/ 18 h 239"/>
              <a:gd name="T96" fmla="*/ 89 w 236"/>
              <a:gd name="T97" fmla="*/ 212 h 239"/>
              <a:gd name="T98" fmla="*/ 99 w 236"/>
              <a:gd name="T99" fmla="*/ 183 h 239"/>
              <a:gd name="T100" fmla="*/ 71 w 236"/>
              <a:gd name="T101" fmla="*/ 227 h 239"/>
              <a:gd name="T102" fmla="*/ 95 w 236"/>
              <a:gd name="T103" fmla="*/ 117 h 239"/>
              <a:gd name="T104" fmla="*/ 71 w 236"/>
              <a:gd name="T105" fmla="*/ 160 h 239"/>
              <a:gd name="T106" fmla="*/ 92 w 236"/>
              <a:gd name="T107" fmla="*/ 134 h 239"/>
              <a:gd name="T108" fmla="*/ 71 w 236"/>
              <a:gd name="T109" fmla="*/ 107 h 239"/>
              <a:gd name="T110" fmla="*/ 7 w 236"/>
              <a:gd name="T111" fmla="*/ 91 h 239"/>
              <a:gd name="T112" fmla="*/ 70 w 236"/>
              <a:gd name="T113" fmla="*/ 181 h 239"/>
              <a:gd name="T114" fmla="*/ 71 w 236"/>
              <a:gd name="T115" fmla="*/ 149 h 239"/>
              <a:gd name="T116" fmla="*/ 52 w 236"/>
              <a:gd name="T117" fmla="*/ 133 h 239"/>
              <a:gd name="T118" fmla="*/ 35 w 236"/>
              <a:gd name="T119" fmla="*/ 109 h 239"/>
              <a:gd name="T120" fmla="*/ 71 w 236"/>
              <a:gd name="T121" fmla="*/ 3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6" h="239">
                <a:moveTo>
                  <a:pt x="189" y="195"/>
                </a:moveTo>
                <a:cubicBezTo>
                  <a:pt x="216" y="182"/>
                  <a:pt x="216" y="182"/>
                  <a:pt x="216" y="182"/>
                </a:cubicBezTo>
                <a:cubicBezTo>
                  <a:pt x="230" y="176"/>
                  <a:pt x="236" y="159"/>
                  <a:pt x="229" y="146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107"/>
                  <a:pt x="189" y="107"/>
                  <a:pt x="189" y="107"/>
                </a:cubicBezTo>
                <a:cubicBezTo>
                  <a:pt x="190" y="108"/>
                  <a:pt x="190" y="108"/>
                  <a:pt x="190" y="109"/>
                </a:cubicBezTo>
                <a:cubicBezTo>
                  <a:pt x="196" y="122"/>
                  <a:pt x="196" y="122"/>
                  <a:pt x="196" y="122"/>
                </a:cubicBezTo>
                <a:cubicBezTo>
                  <a:pt x="196" y="122"/>
                  <a:pt x="196" y="122"/>
                  <a:pt x="196" y="122"/>
                </a:cubicBezTo>
                <a:cubicBezTo>
                  <a:pt x="197" y="124"/>
                  <a:pt x="196" y="126"/>
                  <a:pt x="194" y="127"/>
                </a:cubicBezTo>
                <a:cubicBezTo>
                  <a:pt x="189" y="130"/>
                  <a:pt x="189" y="130"/>
                  <a:pt x="189" y="130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98" y="136"/>
                  <a:pt x="198" y="136"/>
                  <a:pt x="198" y="136"/>
                </a:cubicBezTo>
                <a:cubicBezTo>
                  <a:pt x="201" y="135"/>
                  <a:pt x="203" y="136"/>
                  <a:pt x="204" y="138"/>
                </a:cubicBezTo>
                <a:cubicBezTo>
                  <a:pt x="210" y="151"/>
                  <a:pt x="210" y="151"/>
                  <a:pt x="210" y="151"/>
                </a:cubicBezTo>
                <a:cubicBezTo>
                  <a:pt x="210" y="151"/>
                  <a:pt x="210" y="151"/>
                  <a:pt x="210" y="151"/>
                </a:cubicBezTo>
                <a:cubicBezTo>
                  <a:pt x="211" y="153"/>
                  <a:pt x="210" y="156"/>
                  <a:pt x="208" y="157"/>
                </a:cubicBezTo>
                <a:cubicBezTo>
                  <a:pt x="189" y="166"/>
                  <a:pt x="189" y="166"/>
                  <a:pt x="189" y="166"/>
                </a:cubicBezTo>
                <a:lnTo>
                  <a:pt x="189" y="195"/>
                </a:lnTo>
                <a:close/>
                <a:moveTo>
                  <a:pt x="168" y="204"/>
                </a:moveTo>
                <a:cubicBezTo>
                  <a:pt x="189" y="195"/>
                  <a:pt x="189" y="195"/>
                  <a:pt x="189" y="195"/>
                </a:cubicBezTo>
                <a:cubicBezTo>
                  <a:pt x="189" y="166"/>
                  <a:pt x="189" y="166"/>
                  <a:pt x="189" y="166"/>
                </a:cubicBezTo>
                <a:cubicBezTo>
                  <a:pt x="180" y="170"/>
                  <a:pt x="180" y="170"/>
                  <a:pt x="180" y="170"/>
                </a:cubicBezTo>
                <a:cubicBezTo>
                  <a:pt x="178" y="171"/>
                  <a:pt x="175" y="170"/>
                  <a:pt x="174" y="168"/>
                </a:cubicBezTo>
                <a:cubicBezTo>
                  <a:pt x="168" y="156"/>
                  <a:pt x="168" y="156"/>
                  <a:pt x="168" y="156"/>
                </a:cubicBezTo>
                <a:cubicBezTo>
                  <a:pt x="168" y="204"/>
                  <a:pt x="168" y="204"/>
                  <a:pt x="168" y="204"/>
                </a:cubicBezTo>
                <a:close/>
                <a:moveTo>
                  <a:pt x="189" y="60"/>
                </a:moveTo>
                <a:cubicBezTo>
                  <a:pt x="168" y="16"/>
                  <a:pt x="168" y="16"/>
                  <a:pt x="168" y="16"/>
                </a:cubicBezTo>
                <a:cubicBezTo>
                  <a:pt x="168" y="78"/>
                  <a:pt x="168" y="78"/>
                  <a:pt x="168" y="78"/>
                </a:cubicBezTo>
                <a:cubicBezTo>
                  <a:pt x="171" y="77"/>
                  <a:pt x="171" y="77"/>
                  <a:pt x="171" y="77"/>
                </a:cubicBezTo>
                <a:cubicBezTo>
                  <a:pt x="173" y="76"/>
                  <a:pt x="175" y="77"/>
                  <a:pt x="176" y="79"/>
                </a:cubicBezTo>
                <a:cubicBezTo>
                  <a:pt x="182" y="92"/>
                  <a:pt x="182" y="92"/>
                  <a:pt x="182" y="92"/>
                </a:cubicBezTo>
                <a:cubicBezTo>
                  <a:pt x="182" y="92"/>
                  <a:pt x="182" y="92"/>
                  <a:pt x="182" y="92"/>
                </a:cubicBezTo>
                <a:cubicBezTo>
                  <a:pt x="183" y="94"/>
                  <a:pt x="182" y="97"/>
                  <a:pt x="180" y="98"/>
                </a:cubicBezTo>
                <a:cubicBezTo>
                  <a:pt x="168" y="103"/>
                  <a:pt x="168" y="103"/>
                  <a:pt x="168" y="103"/>
                </a:cubicBezTo>
                <a:cubicBezTo>
                  <a:pt x="168" y="114"/>
                  <a:pt x="168" y="114"/>
                  <a:pt x="168" y="114"/>
                </a:cubicBezTo>
                <a:cubicBezTo>
                  <a:pt x="185" y="107"/>
                  <a:pt x="185" y="107"/>
                  <a:pt x="185" y="107"/>
                </a:cubicBezTo>
                <a:cubicBezTo>
                  <a:pt x="186" y="106"/>
                  <a:pt x="188" y="106"/>
                  <a:pt x="189" y="107"/>
                </a:cubicBezTo>
                <a:cubicBezTo>
                  <a:pt x="189" y="60"/>
                  <a:pt x="189" y="60"/>
                  <a:pt x="189" y="60"/>
                </a:cubicBezTo>
                <a:close/>
                <a:moveTo>
                  <a:pt x="189" y="130"/>
                </a:moveTo>
                <a:cubicBezTo>
                  <a:pt x="189" y="141"/>
                  <a:pt x="189" y="141"/>
                  <a:pt x="189" y="141"/>
                </a:cubicBezTo>
                <a:cubicBezTo>
                  <a:pt x="170" y="150"/>
                  <a:pt x="170" y="150"/>
                  <a:pt x="170" y="150"/>
                </a:cubicBezTo>
                <a:cubicBezTo>
                  <a:pt x="169" y="150"/>
                  <a:pt x="169" y="151"/>
                  <a:pt x="168" y="151"/>
                </a:cubicBezTo>
                <a:cubicBezTo>
                  <a:pt x="168" y="139"/>
                  <a:pt x="168" y="139"/>
                  <a:pt x="168" y="139"/>
                </a:cubicBezTo>
                <a:lnTo>
                  <a:pt x="189" y="130"/>
                </a:lnTo>
                <a:close/>
                <a:moveTo>
                  <a:pt x="159" y="209"/>
                </a:moveTo>
                <a:cubicBezTo>
                  <a:pt x="168" y="204"/>
                  <a:pt x="168" y="204"/>
                  <a:pt x="168" y="204"/>
                </a:cubicBezTo>
                <a:cubicBezTo>
                  <a:pt x="168" y="156"/>
                  <a:pt x="168" y="156"/>
                  <a:pt x="168" y="156"/>
                </a:cubicBezTo>
                <a:cubicBezTo>
                  <a:pt x="168" y="155"/>
                  <a:pt x="168" y="155"/>
                  <a:pt x="168" y="155"/>
                </a:cubicBezTo>
                <a:cubicBezTo>
                  <a:pt x="168" y="154"/>
                  <a:pt x="168" y="152"/>
                  <a:pt x="168" y="151"/>
                </a:cubicBezTo>
                <a:cubicBezTo>
                  <a:pt x="168" y="139"/>
                  <a:pt x="168" y="139"/>
                  <a:pt x="168" y="139"/>
                </a:cubicBezTo>
                <a:cubicBezTo>
                  <a:pt x="166" y="141"/>
                  <a:pt x="166" y="141"/>
                  <a:pt x="166" y="141"/>
                </a:cubicBezTo>
                <a:cubicBezTo>
                  <a:pt x="164" y="142"/>
                  <a:pt x="161" y="141"/>
                  <a:pt x="160" y="138"/>
                </a:cubicBezTo>
                <a:cubicBezTo>
                  <a:pt x="159" y="136"/>
                  <a:pt x="159" y="136"/>
                  <a:pt x="159" y="136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65" y="172"/>
                  <a:pt x="165" y="172"/>
                  <a:pt x="165" y="172"/>
                </a:cubicBezTo>
                <a:cubicBezTo>
                  <a:pt x="165" y="172"/>
                  <a:pt x="165" y="172"/>
                  <a:pt x="165" y="172"/>
                </a:cubicBezTo>
                <a:cubicBezTo>
                  <a:pt x="166" y="175"/>
                  <a:pt x="165" y="177"/>
                  <a:pt x="163" y="178"/>
                </a:cubicBezTo>
                <a:cubicBezTo>
                  <a:pt x="159" y="180"/>
                  <a:pt x="159" y="180"/>
                  <a:pt x="159" y="180"/>
                </a:cubicBezTo>
                <a:cubicBezTo>
                  <a:pt x="159" y="209"/>
                  <a:pt x="159" y="209"/>
                  <a:pt x="159" y="209"/>
                </a:cubicBezTo>
                <a:close/>
                <a:moveTo>
                  <a:pt x="168" y="16"/>
                </a:moveTo>
                <a:cubicBezTo>
                  <a:pt x="168" y="15"/>
                  <a:pt x="168" y="15"/>
                  <a:pt x="168" y="15"/>
                </a:cubicBezTo>
                <a:cubicBezTo>
                  <a:pt x="166" y="11"/>
                  <a:pt x="163" y="7"/>
                  <a:pt x="159" y="5"/>
                </a:cubicBezTo>
                <a:cubicBezTo>
                  <a:pt x="159" y="40"/>
                  <a:pt x="159" y="40"/>
                  <a:pt x="159" y="40"/>
                </a:cubicBezTo>
                <a:cubicBezTo>
                  <a:pt x="163" y="49"/>
                  <a:pt x="163" y="49"/>
                  <a:pt x="163" y="49"/>
                </a:cubicBezTo>
                <a:cubicBezTo>
                  <a:pt x="163" y="49"/>
                  <a:pt x="163" y="49"/>
                  <a:pt x="163" y="49"/>
                </a:cubicBezTo>
                <a:cubicBezTo>
                  <a:pt x="166" y="55"/>
                  <a:pt x="164" y="61"/>
                  <a:pt x="159" y="65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68" y="78"/>
                  <a:pt x="168" y="78"/>
                  <a:pt x="168" y="78"/>
                </a:cubicBezTo>
                <a:cubicBezTo>
                  <a:pt x="168" y="16"/>
                  <a:pt x="168" y="16"/>
                  <a:pt x="168" y="16"/>
                </a:cubicBezTo>
                <a:close/>
                <a:moveTo>
                  <a:pt x="168" y="103"/>
                </a:moveTo>
                <a:cubicBezTo>
                  <a:pt x="168" y="114"/>
                  <a:pt x="168" y="114"/>
                  <a:pt x="168" y="114"/>
                </a:cubicBezTo>
                <a:cubicBezTo>
                  <a:pt x="159" y="118"/>
                  <a:pt x="159" y="118"/>
                  <a:pt x="159" y="118"/>
                </a:cubicBezTo>
                <a:cubicBezTo>
                  <a:pt x="159" y="108"/>
                  <a:pt x="159" y="108"/>
                  <a:pt x="159" y="108"/>
                </a:cubicBezTo>
                <a:lnTo>
                  <a:pt x="168" y="103"/>
                </a:lnTo>
                <a:close/>
                <a:moveTo>
                  <a:pt x="144" y="216"/>
                </a:moveTo>
                <a:cubicBezTo>
                  <a:pt x="159" y="209"/>
                  <a:pt x="159" y="209"/>
                  <a:pt x="159" y="209"/>
                </a:cubicBezTo>
                <a:cubicBezTo>
                  <a:pt x="159" y="180"/>
                  <a:pt x="159" y="180"/>
                  <a:pt x="159" y="180"/>
                </a:cubicBezTo>
                <a:cubicBezTo>
                  <a:pt x="144" y="187"/>
                  <a:pt x="144" y="187"/>
                  <a:pt x="144" y="187"/>
                </a:cubicBezTo>
                <a:cubicBezTo>
                  <a:pt x="144" y="216"/>
                  <a:pt x="144" y="216"/>
                  <a:pt x="144" y="216"/>
                </a:cubicBezTo>
                <a:close/>
                <a:moveTo>
                  <a:pt x="159" y="5"/>
                </a:moveTo>
                <a:cubicBezTo>
                  <a:pt x="155" y="2"/>
                  <a:pt x="149" y="0"/>
                  <a:pt x="144" y="0"/>
                </a:cubicBezTo>
                <a:cubicBezTo>
                  <a:pt x="144" y="22"/>
                  <a:pt x="144" y="22"/>
                  <a:pt x="144" y="22"/>
                </a:cubicBezTo>
                <a:cubicBezTo>
                  <a:pt x="148" y="23"/>
                  <a:pt x="152" y="25"/>
                  <a:pt x="154" y="30"/>
                </a:cubicBezTo>
                <a:cubicBezTo>
                  <a:pt x="159" y="40"/>
                  <a:pt x="159" y="40"/>
                  <a:pt x="159" y="40"/>
                </a:cubicBezTo>
                <a:cubicBezTo>
                  <a:pt x="159" y="5"/>
                  <a:pt x="159" y="5"/>
                  <a:pt x="159" y="5"/>
                </a:cubicBezTo>
                <a:close/>
                <a:moveTo>
                  <a:pt x="159" y="65"/>
                </a:moveTo>
                <a:cubicBezTo>
                  <a:pt x="159" y="82"/>
                  <a:pt x="159" y="82"/>
                  <a:pt x="159" y="82"/>
                </a:cubicBezTo>
                <a:cubicBezTo>
                  <a:pt x="144" y="89"/>
                  <a:pt x="144" y="89"/>
                  <a:pt x="144" y="89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57" y="66"/>
                  <a:pt x="157" y="66"/>
                  <a:pt x="157" y="66"/>
                </a:cubicBezTo>
                <a:cubicBezTo>
                  <a:pt x="158" y="66"/>
                  <a:pt x="159" y="66"/>
                  <a:pt x="159" y="65"/>
                </a:cubicBezTo>
                <a:close/>
                <a:moveTo>
                  <a:pt x="159" y="108"/>
                </a:moveTo>
                <a:cubicBezTo>
                  <a:pt x="159" y="118"/>
                  <a:pt x="159" y="118"/>
                  <a:pt x="159" y="118"/>
                </a:cubicBezTo>
                <a:cubicBezTo>
                  <a:pt x="156" y="120"/>
                  <a:pt x="156" y="120"/>
                  <a:pt x="156" y="120"/>
                </a:cubicBezTo>
                <a:cubicBezTo>
                  <a:pt x="154" y="121"/>
                  <a:pt x="153" y="123"/>
                  <a:pt x="154" y="126"/>
                </a:cubicBezTo>
                <a:cubicBezTo>
                  <a:pt x="159" y="136"/>
                  <a:pt x="159" y="136"/>
                  <a:pt x="159" y="136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59"/>
                  <a:pt x="159" y="159"/>
                  <a:pt x="159" y="159"/>
                </a:cubicBezTo>
                <a:cubicBezTo>
                  <a:pt x="158" y="157"/>
                  <a:pt x="155" y="156"/>
                  <a:pt x="153" y="157"/>
                </a:cubicBezTo>
                <a:cubicBezTo>
                  <a:pt x="144" y="162"/>
                  <a:pt x="144" y="162"/>
                  <a:pt x="144" y="162"/>
                </a:cubicBezTo>
                <a:cubicBezTo>
                  <a:pt x="144" y="151"/>
                  <a:pt x="144" y="151"/>
                  <a:pt x="144" y="151"/>
                </a:cubicBezTo>
                <a:cubicBezTo>
                  <a:pt x="149" y="148"/>
                  <a:pt x="149" y="148"/>
                  <a:pt x="149" y="148"/>
                </a:cubicBezTo>
                <a:cubicBezTo>
                  <a:pt x="151" y="147"/>
                  <a:pt x="152" y="145"/>
                  <a:pt x="151" y="143"/>
                </a:cubicBezTo>
                <a:cubicBezTo>
                  <a:pt x="151" y="143"/>
                  <a:pt x="151" y="143"/>
                  <a:pt x="151" y="143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5" y="129"/>
                  <a:pt x="144" y="129"/>
                  <a:pt x="144" y="128"/>
                </a:cubicBezTo>
                <a:cubicBezTo>
                  <a:pt x="144" y="104"/>
                  <a:pt x="144" y="104"/>
                  <a:pt x="144" y="104"/>
                </a:cubicBezTo>
                <a:cubicBezTo>
                  <a:pt x="146" y="109"/>
                  <a:pt x="146" y="109"/>
                  <a:pt x="146" y="109"/>
                </a:cubicBezTo>
                <a:cubicBezTo>
                  <a:pt x="147" y="111"/>
                  <a:pt x="150" y="112"/>
                  <a:pt x="152" y="111"/>
                </a:cubicBezTo>
                <a:lnTo>
                  <a:pt x="159" y="108"/>
                </a:lnTo>
                <a:close/>
                <a:moveTo>
                  <a:pt x="132" y="2"/>
                </a:moveTo>
                <a:cubicBezTo>
                  <a:pt x="123" y="7"/>
                  <a:pt x="123" y="7"/>
                  <a:pt x="123" y="7"/>
                </a:cubicBezTo>
                <a:cubicBezTo>
                  <a:pt x="123" y="30"/>
                  <a:pt x="123" y="30"/>
                  <a:pt x="123" y="30"/>
                </a:cubicBezTo>
                <a:cubicBezTo>
                  <a:pt x="137" y="23"/>
                  <a:pt x="137" y="23"/>
                  <a:pt x="137" y="23"/>
                </a:cubicBezTo>
                <a:cubicBezTo>
                  <a:pt x="139" y="22"/>
                  <a:pt x="142" y="22"/>
                  <a:pt x="144" y="22"/>
                </a:cubicBezTo>
                <a:cubicBezTo>
                  <a:pt x="144" y="0"/>
                  <a:pt x="144" y="0"/>
                  <a:pt x="144" y="0"/>
                </a:cubicBezTo>
                <a:cubicBezTo>
                  <a:pt x="140" y="0"/>
                  <a:pt x="136" y="1"/>
                  <a:pt x="132" y="2"/>
                </a:cubicBezTo>
                <a:close/>
                <a:moveTo>
                  <a:pt x="123" y="225"/>
                </a:moveTo>
                <a:cubicBezTo>
                  <a:pt x="144" y="216"/>
                  <a:pt x="144" y="216"/>
                  <a:pt x="144" y="216"/>
                </a:cubicBezTo>
                <a:cubicBezTo>
                  <a:pt x="144" y="187"/>
                  <a:pt x="144" y="187"/>
                  <a:pt x="144" y="187"/>
                </a:cubicBezTo>
                <a:cubicBezTo>
                  <a:pt x="135" y="191"/>
                  <a:pt x="135" y="191"/>
                  <a:pt x="135" y="191"/>
                </a:cubicBezTo>
                <a:cubicBezTo>
                  <a:pt x="133" y="192"/>
                  <a:pt x="130" y="191"/>
                  <a:pt x="129" y="189"/>
                </a:cubicBezTo>
                <a:cubicBezTo>
                  <a:pt x="123" y="177"/>
                  <a:pt x="123" y="177"/>
                  <a:pt x="123" y="177"/>
                </a:cubicBezTo>
                <a:cubicBezTo>
                  <a:pt x="123" y="225"/>
                  <a:pt x="123" y="225"/>
                  <a:pt x="123" y="225"/>
                </a:cubicBezTo>
                <a:close/>
                <a:moveTo>
                  <a:pt x="144" y="72"/>
                </a:moveTo>
                <a:cubicBezTo>
                  <a:pt x="144" y="89"/>
                  <a:pt x="144" y="89"/>
                  <a:pt x="144" y="89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0" y="91"/>
                  <a:pt x="139" y="94"/>
                  <a:pt x="140" y="96"/>
                </a:cubicBezTo>
                <a:cubicBezTo>
                  <a:pt x="144" y="104"/>
                  <a:pt x="144" y="104"/>
                  <a:pt x="144" y="104"/>
                </a:cubicBezTo>
                <a:cubicBezTo>
                  <a:pt x="144" y="128"/>
                  <a:pt x="144" y="128"/>
                  <a:pt x="144" y="128"/>
                </a:cubicBezTo>
                <a:cubicBezTo>
                  <a:pt x="143" y="127"/>
                  <a:pt x="141" y="127"/>
                  <a:pt x="139" y="128"/>
                </a:cubicBezTo>
                <a:cubicBezTo>
                  <a:pt x="123" y="135"/>
                  <a:pt x="123" y="135"/>
                  <a:pt x="123" y="135"/>
                </a:cubicBezTo>
                <a:cubicBezTo>
                  <a:pt x="123" y="125"/>
                  <a:pt x="123" y="125"/>
                  <a:pt x="123" y="125"/>
                </a:cubicBezTo>
                <a:cubicBezTo>
                  <a:pt x="135" y="119"/>
                  <a:pt x="135" y="119"/>
                  <a:pt x="135" y="119"/>
                </a:cubicBezTo>
                <a:cubicBezTo>
                  <a:pt x="137" y="118"/>
                  <a:pt x="138" y="115"/>
                  <a:pt x="137" y="113"/>
                </a:cubicBezTo>
                <a:cubicBezTo>
                  <a:pt x="137" y="113"/>
                  <a:pt x="137" y="113"/>
                  <a:pt x="137" y="113"/>
                </a:cubicBezTo>
                <a:cubicBezTo>
                  <a:pt x="131" y="100"/>
                  <a:pt x="131" y="100"/>
                  <a:pt x="131" y="100"/>
                </a:cubicBezTo>
                <a:cubicBezTo>
                  <a:pt x="130" y="98"/>
                  <a:pt x="128" y="97"/>
                  <a:pt x="126" y="98"/>
                </a:cubicBezTo>
                <a:cubicBezTo>
                  <a:pt x="123" y="99"/>
                  <a:pt x="123" y="99"/>
                  <a:pt x="123" y="99"/>
                </a:cubicBezTo>
                <a:cubicBezTo>
                  <a:pt x="123" y="82"/>
                  <a:pt x="123" y="82"/>
                  <a:pt x="123" y="82"/>
                </a:cubicBezTo>
                <a:cubicBezTo>
                  <a:pt x="144" y="72"/>
                  <a:pt x="144" y="72"/>
                  <a:pt x="144" y="72"/>
                </a:cubicBezTo>
                <a:close/>
                <a:moveTo>
                  <a:pt x="144" y="151"/>
                </a:moveTo>
                <a:cubicBezTo>
                  <a:pt x="144" y="162"/>
                  <a:pt x="144" y="162"/>
                  <a:pt x="144" y="162"/>
                </a:cubicBezTo>
                <a:cubicBezTo>
                  <a:pt x="125" y="171"/>
                  <a:pt x="125" y="171"/>
                  <a:pt x="125" y="171"/>
                </a:cubicBezTo>
                <a:cubicBezTo>
                  <a:pt x="124" y="171"/>
                  <a:pt x="124" y="172"/>
                  <a:pt x="123" y="172"/>
                </a:cubicBezTo>
                <a:cubicBezTo>
                  <a:pt x="123" y="161"/>
                  <a:pt x="123" y="161"/>
                  <a:pt x="123" y="161"/>
                </a:cubicBezTo>
                <a:lnTo>
                  <a:pt x="144" y="151"/>
                </a:lnTo>
                <a:close/>
                <a:moveTo>
                  <a:pt x="123" y="7"/>
                </a:moveTo>
                <a:cubicBezTo>
                  <a:pt x="99" y="18"/>
                  <a:pt x="99" y="18"/>
                  <a:pt x="99" y="18"/>
                </a:cubicBezTo>
                <a:cubicBezTo>
                  <a:pt x="99" y="41"/>
                  <a:pt x="99" y="41"/>
                  <a:pt x="99" y="41"/>
                </a:cubicBezTo>
                <a:cubicBezTo>
                  <a:pt x="123" y="30"/>
                  <a:pt x="123" y="30"/>
                  <a:pt x="123" y="30"/>
                </a:cubicBezTo>
                <a:cubicBezTo>
                  <a:pt x="123" y="7"/>
                  <a:pt x="123" y="7"/>
                  <a:pt x="123" y="7"/>
                </a:cubicBezTo>
                <a:close/>
                <a:moveTo>
                  <a:pt x="99" y="236"/>
                </a:moveTo>
                <a:cubicBezTo>
                  <a:pt x="100" y="236"/>
                  <a:pt x="102" y="235"/>
                  <a:pt x="103" y="235"/>
                </a:cubicBezTo>
                <a:cubicBezTo>
                  <a:pt x="123" y="225"/>
                  <a:pt x="123" y="225"/>
                  <a:pt x="123" y="225"/>
                </a:cubicBezTo>
                <a:cubicBezTo>
                  <a:pt x="123" y="177"/>
                  <a:pt x="123" y="177"/>
                  <a:pt x="123" y="177"/>
                </a:cubicBezTo>
                <a:cubicBezTo>
                  <a:pt x="123" y="176"/>
                  <a:pt x="123" y="176"/>
                  <a:pt x="123" y="176"/>
                </a:cubicBezTo>
                <a:cubicBezTo>
                  <a:pt x="122" y="175"/>
                  <a:pt x="123" y="174"/>
                  <a:pt x="123" y="172"/>
                </a:cubicBezTo>
                <a:cubicBezTo>
                  <a:pt x="123" y="161"/>
                  <a:pt x="123" y="161"/>
                  <a:pt x="123" y="161"/>
                </a:cubicBezTo>
                <a:cubicBezTo>
                  <a:pt x="121" y="162"/>
                  <a:pt x="121" y="162"/>
                  <a:pt x="121" y="162"/>
                </a:cubicBezTo>
                <a:cubicBezTo>
                  <a:pt x="119" y="163"/>
                  <a:pt x="116" y="162"/>
                  <a:pt x="115" y="159"/>
                </a:cubicBezTo>
                <a:cubicBezTo>
                  <a:pt x="109" y="147"/>
                  <a:pt x="109" y="147"/>
                  <a:pt x="109" y="147"/>
                </a:cubicBezTo>
                <a:cubicBezTo>
                  <a:pt x="108" y="145"/>
                  <a:pt x="109" y="142"/>
                  <a:pt x="111" y="141"/>
                </a:cubicBezTo>
                <a:cubicBezTo>
                  <a:pt x="123" y="135"/>
                  <a:pt x="123" y="135"/>
                  <a:pt x="123" y="135"/>
                </a:cubicBezTo>
                <a:cubicBezTo>
                  <a:pt x="123" y="125"/>
                  <a:pt x="123" y="125"/>
                  <a:pt x="123" y="125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05" y="133"/>
                  <a:pt x="102" y="132"/>
                  <a:pt x="101" y="130"/>
                </a:cubicBezTo>
                <a:cubicBezTo>
                  <a:pt x="99" y="124"/>
                  <a:pt x="99" y="124"/>
                  <a:pt x="99" y="124"/>
                </a:cubicBezTo>
                <a:cubicBezTo>
                  <a:pt x="99" y="150"/>
                  <a:pt x="99" y="150"/>
                  <a:pt x="99" y="150"/>
                </a:cubicBezTo>
                <a:cubicBezTo>
                  <a:pt x="99" y="150"/>
                  <a:pt x="99" y="151"/>
                  <a:pt x="100" y="151"/>
                </a:cubicBezTo>
                <a:cubicBezTo>
                  <a:pt x="106" y="164"/>
                  <a:pt x="106" y="164"/>
                  <a:pt x="106" y="164"/>
                </a:cubicBezTo>
                <a:cubicBezTo>
                  <a:pt x="106" y="164"/>
                  <a:pt x="106" y="164"/>
                  <a:pt x="106" y="164"/>
                </a:cubicBezTo>
                <a:cubicBezTo>
                  <a:pt x="107" y="166"/>
                  <a:pt x="106" y="169"/>
                  <a:pt x="104" y="170"/>
                </a:cubicBezTo>
                <a:cubicBezTo>
                  <a:pt x="99" y="172"/>
                  <a:pt x="99" y="172"/>
                  <a:pt x="99" y="172"/>
                </a:cubicBezTo>
                <a:cubicBezTo>
                  <a:pt x="99" y="183"/>
                  <a:pt x="99" y="183"/>
                  <a:pt x="99" y="183"/>
                </a:cubicBezTo>
                <a:cubicBezTo>
                  <a:pt x="108" y="179"/>
                  <a:pt x="108" y="179"/>
                  <a:pt x="108" y="179"/>
                </a:cubicBezTo>
                <a:cubicBezTo>
                  <a:pt x="110" y="178"/>
                  <a:pt x="113" y="179"/>
                  <a:pt x="114" y="181"/>
                </a:cubicBezTo>
                <a:cubicBezTo>
                  <a:pt x="120" y="194"/>
                  <a:pt x="120" y="194"/>
                  <a:pt x="120" y="194"/>
                </a:cubicBezTo>
                <a:cubicBezTo>
                  <a:pt x="120" y="194"/>
                  <a:pt x="120" y="194"/>
                  <a:pt x="120" y="194"/>
                </a:cubicBezTo>
                <a:cubicBezTo>
                  <a:pt x="121" y="196"/>
                  <a:pt x="120" y="198"/>
                  <a:pt x="118" y="199"/>
                </a:cubicBezTo>
                <a:cubicBezTo>
                  <a:pt x="99" y="208"/>
                  <a:pt x="99" y="208"/>
                  <a:pt x="99" y="208"/>
                </a:cubicBezTo>
                <a:cubicBezTo>
                  <a:pt x="99" y="236"/>
                  <a:pt x="99" y="236"/>
                  <a:pt x="99" y="236"/>
                </a:cubicBezTo>
                <a:close/>
                <a:moveTo>
                  <a:pt x="123" y="82"/>
                </a:moveTo>
                <a:cubicBezTo>
                  <a:pt x="123" y="99"/>
                  <a:pt x="123" y="99"/>
                  <a:pt x="123" y="99"/>
                </a:cubicBezTo>
                <a:cubicBezTo>
                  <a:pt x="99" y="111"/>
                  <a:pt x="99" y="111"/>
                  <a:pt x="99" y="111"/>
                </a:cubicBezTo>
                <a:cubicBezTo>
                  <a:pt x="99" y="94"/>
                  <a:pt x="99" y="94"/>
                  <a:pt x="99" y="94"/>
                </a:cubicBezTo>
                <a:lnTo>
                  <a:pt x="123" y="82"/>
                </a:lnTo>
                <a:close/>
                <a:moveTo>
                  <a:pt x="99" y="18"/>
                </a:moveTo>
                <a:cubicBezTo>
                  <a:pt x="71" y="31"/>
                  <a:pt x="71" y="31"/>
                  <a:pt x="71" y="31"/>
                </a:cubicBezTo>
                <a:cubicBezTo>
                  <a:pt x="71" y="54"/>
                  <a:pt x="71" y="54"/>
                  <a:pt x="71" y="54"/>
                </a:cubicBezTo>
                <a:cubicBezTo>
                  <a:pt x="99" y="41"/>
                  <a:pt x="99" y="41"/>
                  <a:pt x="99" y="41"/>
                </a:cubicBezTo>
                <a:cubicBezTo>
                  <a:pt x="99" y="18"/>
                  <a:pt x="99" y="18"/>
                  <a:pt x="99" y="18"/>
                </a:cubicBezTo>
                <a:close/>
                <a:moveTo>
                  <a:pt x="71" y="227"/>
                </a:moveTo>
                <a:cubicBezTo>
                  <a:pt x="77" y="235"/>
                  <a:pt x="88" y="239"/>
                  <a:pt x="99" y="236"/>
                </a:cubicBezTo>
                <a:cubicBezTo>
                  <a:pt x="99" y="208"/>
                  <a:pt x="99" y="208"/>
                  <a:pt x="99" y="208"/>
                </a:cubicBezTo>
                <a:cubicBezTo>
                  <a:pt x="89" y="212"/>
                  <a:pt x="89" y="212"/>
                  <a:pt x="89" y="212"/>
                </a:cubicBezTo>
                <a:cubicBezTo>
                  <a:pt x="87" y="213"/>
                  <a:pt x="85" y="213"/>
                  <a:pt x="84" y="210"/>
                </a:cubicBezTo>
                <a:cubicBezTo>
                  <a:pt x="78" y="197"/>
                  <a:pt x="78" y="197"/>
                  <a:pt x="78" y="197"/>
                </a:cubicBezTo>
                <a:cubicBezTo>
                  <a:pt x="77" y="195"/>
                  <a:pt x="78" y="193"/>
                  <a:pt x="80" y="192"/>
                </a:cubicBezTo>
                <a:cubicBezTo>
                  <a:pt x="99" y="183"/>
                  <a:pt x="99" y="183"/>
                  <a:pt x="99" y="183"/>
                </a:cubicBezTo>
                <a:cubicBezTo>
                  <a:pt x="99" y="172"/>
                  <a:pt x="99" y="172"/>
                  <a:pt x="99" y="172"/>
                </a:cubicBezTo>
                <a:cubicBezTo>
                  <a:pt x="75" y="183"/>
                  <a:pt x="75" y="183"/>
                  <a:pt x="75" y="183"/>
                </a:cubicBezTo>
                <a:cubicBezTo>
                  <a:pt x="74" y="184"/>
                  <a:pt x="72" y="183"/>
                  <a:pt x="71" y="182"/>
                </a:cubicBezTo>
                <a:cubicBezTo>
                  <a:pt x="71" y="227"/>
                  <a:pt x="71" y="227"/>
                  <a:pt x="71" y="227"/>
                </a:cubicBezTo>
                <a:close/>
                <a:moveTo>
                  <a:pt x="99" y="94"/>
                </a:moveTo>
                <a:cubicBezTo>
                  <a:pt x="99" y="111"/>
                  <a:pt x="99" y="111"/>
                  <a:pt x="99" y="111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5" y="112"/>
                  <a:pt x="94" y="115"/>
                  <a:pt x="95" y="117"/>
                </a:cubicBezTo>
                <a:cubicBezTo>
                  <a:pt x="99" y="124"/>
                  <a:pt x="99" y="124"/>
                  <a:pt x="99" y="124"/>
                </a:cubicBezTo>
                <a:cubicBezTo>
                  <a:pt x="99" y="150"/>
                  <a:pt x="99" y="150"/>
                  <a:pt x="99" y="150"/>
                </a:cubicBezTo>
                <a:cubicBezTo>
                  <a:pt x="97" y="149"/>
                  <a:pt x="96" y="148"/>
                  <a:pt x="94" y="149"/>
                </a:cubicBezTo>
                <a:cubicBezTo>
                  <a:pt x="71" y="160"/>
                  <a:pt x="71" y="160"/>
                  <a:pt x="71" y="160"/>
                </a:cubicBezTo>
                <a:cubicBezTo>
                  <a:pt x="71" y="149"/>
                  <a:pt x="71" y="149"/>
                  <a:pt x="71" y="149"/>
                </a:cubicBezTo>
                <a:cubicBezTo>
                  <a:pt x="90" y="140"/>
                  <a:pt x="90" y="140"/>
                  <a:pt x="90" y="140"/>
                </a:cubicBezTo>
                <a:cubicBezTo>
                  <a:pt x="92" y="139"/>
                  <a:pt x="93" y="136"/>
                  <a:pt x="92" y="134"/>
                </a:cubicBezTo>
                <a:cubicBezTo>
                  <a:pt x="92" y="134"/>
                  <a:pt x="92" y="134"/>
                  <a:pt x="92" y="134"/>
                </a:cubicBezTo>
                <a:cubicBezTo>
                  <a:pt x="86" y="122"/>
                  <a:pt x="86" y="122"/>
                  <a:pt x="86" y="122"/>
                </a:cubicBezTo>
                <a:cubicBezTo>
                  <a:pt x="85" y="119"/>
                  <a:pt x="82" y="118"/>
                  <a:pt x="80" y="119"/>
                </a:cubicBezTo>
                <a:cubicBezTo>
                  <a:pt x="71" y="124"/>
                  <a:pt x="71" y="124"/>
                  <a:pt x="71" y="124"/>
                </a:cubicBezTo>
                <a:cubicBezTo>
                  <a:pt x="71" y="107"/>
                  <a:pt x="71" y="107"/>
                  <a:pt x="71" y="107"/>
                </a:cubicBezTo>
                <a:lnTo>
                  <a:pt x="99" y="94"/>
                </a:lnTo>
                <a:close/>
                <a:moveTo>
                  <a:pt x="71" y="31"/>
                </a:moveTo>
                <a:cubicBezTo>
                  <a:pt x="20" y="55"/>
                  <a:pt x="20" y="55"/>
                  <a:pt x="20" y="55"/>
                </a:cubicBezTo>
                <a:cubicBezTo>
                  <a:pt x="6" y="62"/>
                  <a:pt x="0" y="78"/>
                  <a:pt x="7" y="91"/>
                </a:cubicBezTo>
                <a:cubicBezTo>
                  <a:pt x="68" y="222"/>
                  <a:pt x="68" y="222"/>
                  <a:pt x="68" y="222"/>
                </a:cubicBezTo>
                <a:cubicBezTo>
                  <a:pt x="69" y="223"/>
                  <a:pt x="70" y="225"/>
                  <a:pt x="71" y="227"/>
                </a:cubicBezTo>
                <a:cubicBezTo>
                  <a:pt x="71" y="182"/>
                  <a:pt x="71" y="182"/>
                  <a:pt x="71" y="182"/>
                </a:cubicBezTo>
                <a:cubicBezTo>
                  <a:pt x="71" y="182"/>
                  <a:pt x="70" y="181"/>
                  <a:pt x="70" y="181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3" y="166"/>
                  <a:pt x="64" y="163"/>
                  <a:pt x="66" y="162"/>
                </a:cubicBezTo>
                <a:cubicBezTo>
                  <a:pt x="71" y="160"/>
                  <a:pt x="71" y="160"/>
                  <a:pt x="71" y="160"/>
                </a:cubicBezTo>
                <a:cubicBezTo>
                  <a:pt x="71" y="149"/>
                  <a:pt x="71" y="149"/>
                  <a:pt x="71" y="149"/>
                </a:cubicBezTo>
                <a:cubicBezTo>
                  <a:pt x="62" y="153"/>
                  <a:pt x="62" y="153"/>
                  <a:pt x="62" y="153"/>
                </a:cubicBezTo>
                <a:cubicBezTo>
                  <a:pt x="60" y="154"/>
                  <a:pt x="57" y="153"/>
                  <a:pt x="56" y="151"/>
                </a:cubicBezTo>
                <a:cubicBezTo>
                  <a:pt x="50" y="138"/>
                  <a:pt x="50" y="138"/>
                  <a:pt x="50" y="138"/>
                </a:cubicBezTo>
                <a:cubicBezTo>
                  <a:pt x="49" y="136"/>
                  <a:pt x="50" y="134"/>
                  <a:pt x="52" y="133"/>
                </a:cubicBezTo>
                <a:cubicBezTo>
                  <a:pt x="71" y="124"/>
                  <a:pt x="71" y="124"/>
                  <a:pt x="71" y="124"/>
                </a:cubicBezTo>
                <a:cubicBezTo>
                  <a:pt x="71" y="107"/>
                  <a:pt x="71" y="107"/>
                  <a:pt x="71" y="107"/>
                </a:cubicBezTo>
                <a:cubicBezTo>
                  <a:pt x="53" y="115"/>
                  <a:pt x="53" y="115"/>
                  <a:pt x="53" y="115"/>
                </a:cubicBezTo>
                <a:cubicBezTo>
                  <a:pt x="46" y="118"/>
                  <a:pt x="38" y="116"/>
                  <a:pt x="35" y="109"/>
                </a:cubicBezTo>
                <a:cubicBezTo>
                  <a:pt x="26" y="89"/>
                  <a:pt x="26" y="89"/>
                  <a:pt x="26" y="89"/>
                </a:cubicBezTo>
                <a:cubicBezTo>
                  <a:pt x="23" y="83"/>
                  <a:pt x="26" y="75"/>
                  <a:pt x="33" y="72"/>
                </a:cubicBezTo>
                <a:cubicBezTo>
                  <a:pt x="71" y="54"/>
                  <a:pt x="71" y="54"/>
                  <a:pt x="71" y="54"/>
                </a:cubicBezTo>
                <a:lnTo>
                  <a:pt x="71" y="31"/>
                </a:lnTo>
                <a:close/>
              </a:path>
            </a:pathLst>
          </a:custGeom>
          <a:solidFill>
            <a:srgbClr val="E62A2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6" name="Rectangle 59"/>
          <p:cNvSpPr>
            <a:spLocks noChangeArrowheads="1"/>
          </p:cNvSpPr>
          <p:nvPr/>
        </p:nvSpPr>
        <p:spPr bwMode="auto">
          <a:xfrm>
            <a:off x="9166546" y="2807678"/>
            <a:ext cx="627063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7" name="Rectangle 60"/>
          <p:cNvSpPr>
            <a:spLocks noChangeArrowheads="1"/>
          </p:cNvSpPr>
          <p:nvPr/>
        </p:nvSpPr>
        <p:spPr bwMode="auto">
          <a:xfrm>
            <a:off x="9191946" y="2744178"/>
            <a:ext cx="576263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8" name="Rectangle 61"/>
          <p:cNvSpPr>
            <a:spLocks noChangeArrowheads="1"/>
          </p:cNvSpPr>
          <p:nvPr/>
        </p:nvSpPr>
        <p:spPr bwMode="auto">
          <a:xfrm>
            <a:off x="9418959" y="2679090"/>
            <a:ext cx="122238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9" name="Rectangle 62"/>
          <p:cNvSpPr>
            <a:spLocks noChangeArrowheads="1"/>
          </p:cNvSpPr>
          <p:nvPr/>
        </p:nvSpPr>
        <p:spPr bwMode="auto">
          <a:xfrm>
            <a:off x="9441184" y="2445728"/>
            <a:ext cx="77788" cy="25400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0" name="Rectangle 63"/>
          <p:cNvSpPr>
            <a:spLocks noChangeArrowheads="1"/>
          </p:cNvSpPr>
          <p:nvPr/>
        </p:nvSpPr>
        <p:spPr bwMode="auto">
          <a:xfrm>
            <a:off x="9418959" y="2433028"/>
            <a:ext cx="122238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1" name="Rectangle 64"/>
          <p:cNvSpPr>
            <a:spLocks noChangeArrowheads="1"/>
          </p:cNvSpPr>
          <p:nvPr/>
        </p:nvSpPr>
        <p:spPr bwMode="auto">
          <a:xfrm>
            <a:off x="9604696" y="2679090"/>
            <a:ext cx="119063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2" name="Rectangle 65"/>
          <p:cNvSpPr>
            <a:spLocks noChangeArrowheads="1"/>
          </p:cNvSpPr>
          <p:nvPr/>
        </p:nvSpPr>
        <p:spPr bwMode="auto">
          <a:xfrm>
            <a:off x="9625334" y="2445728"/>
            <a:ext cx="76200" cy="25400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3" name="Rectangle 66"/>
          <p:cNvSpPr>
            <a:spLocks noChangeArrowheads="1"/>
          </p:cNvSpPr>
          <p:nvPr/>
        </p:nvSpPr>
        <p:spPr bwMode="auto">
          <a:xfrm>
            <a:off x="9604696" y="2433028"/>
            <a:ext cx="119063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4" name="Rectangle 67"/>
          <p:cNvSpPr>
            <a:spLocks noChangeArrowheads="1"/>
          </p:cNvSpPr>
          <p:nvPr/>
        </p:nvSpPr>
        <p:spPr bwMode="auto">
          <a:xfrm>
            <a:off x="9236396" y="2679090"/>
            <a:ext cx="122238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5" name="Rectangle 68"/>
          <p:cNvSpPr>
            <a:spLocks noChangeArrowheads="1"/>
          </p:cNvSpPr>
          <p:nvPr/>
        </p:nvSpPr>
        <p:spPr bwMode="auto">
          <a:xfrm>
            <a:off x="9257034" y="2445728"/>
            <a:ext cx="79375" cy="25400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6" name="Rectangle 69"/>
          <p:cNvSpPr>
            <a:spLocks noChangeArrowheads="1"/>
          </p:cNvSpPr>
          <p:nvPr/>
        </p:nvSpPr>
        <p:spPr bwMode="auto">
          <a:xfrm>
            <a:off x="9236396" y="2433028"/>
            <a:ext cx="122238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7" name="Rectangle 70"/>
          <p:cNvSpPr>
            <a:spLocks noChangeArrowheads="1"/>
          </p:cNvSpPr>
          <p:nvPr/>
        </p:nvSpPr>
        <p:spPr bwMode="auto">
          <a:xfrm>
            <a:off x="9191946" y="2363178"/>
            <a:ext cx="576263" cy="31750"/>
          </a:xfrm>
          <a:prstGeom prst="rect">
            <a:avLst/>
          </a:pr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8" name="Freeform 71"/>
          <p:cNvSpPr/>
          <p:nvPr/>
        </p:nvSpPr>
        <p:spPr bwMode="auto">
          <a:xfrm>
            <a:off x="9191946" y="2179028"/>
            <a:ext cx="576263" cy="184150"/>
          </a:xfrm>
          <a:custGeom>
            <a:avLst/>
            <a:gdLst>
              <a:gd name="T0" fmla="*/ 181 w 363"/>
              <a:gd name="T1" fmla="*/ 0 h 116"/>
              <a:gd name="T2" fmla="*/ 363 w 363"/>
              <a:gd name="T3" fmla="*/ 116 h 116"/>
              <a:gd name="T4" fmla="*/ 0 w 363"/>
              <a:gd name="T5" fmla="*/ 116 h 116"/>
              <a:gd name="T6" fmla="*/ 181 w 363"/>
              <a:gd name="T7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3" h="116">
                <a:moveTo>
                  <a:pt x="181" y="0"/>
                </a:moveTo>
                <a:lnTo>
                  <a:pt x="363" y="116"/>
                </a:lnTo>
                <a:lnTo>
                  <a:pt x="0" y="116"/>
                </a:lnTo>
                <a:lnTo>
                  <a:pt x="181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09" name="Freeform 72"/>
          <p:cNvSpPr>
            <a:spLocks noEditPoints="1"/>
          </p:cNvSpPr>
          <p:nvPr/>
        </p:nvSpPr>
        <p:spPr bwMode="auto">
          <a:xfrm>
            <a:off x="7607621" y="2345715"/>
            <a:ext cx="800100" cy="522288"/>
          </a:xfrm>
          <a:custGeom>
            <a:avLst/>
            <a:gdLst>
              <a:gd name="T0" fmla="*/ 82 w 367"/>
              <a:gd name="T1" fmla="*/ 27 h 240"/>
              <a:gd name="T2" fmla="*/ 367 w 367"/>
              <a:gd name="T3" fmla="*/ 120 h 240"/>
              <a:gd name="T4" fmla="*/ 82 w 367"/>
              <a:gd name="T5" fmla="*/ 213 h 240"/>
              <a:gd name="T6" fmla="*/ 82 w 367"/>
              <a:gd name="T7" fmla="*/ 177 h 240"/>
              <a:gd name="T8" fmla="*/ 127 w 367"/>
              <a:gd name="T9" fmla="*/ 143 h 240"/>
              <a:gd name="T10" fmla="*/ 127 w 367"/>
              <a:gd name="T11" fmla="*/ 87 h 240"/>
              <a:gd name="T12" fmla="*/ 138 w 367"/>
              <a:gd name="T13" fmla="*/ 87 h 240"/>
              <a:gd name="T14" fmla="*/ 138 w 367"/>
              <a:gd name="T15" fmla="*/ 64 h 240"/>
              <a:gd name="T16" fmla="*/ 127 w 367"/>
              <a:gd name="T17" fmla="*/ 64 h 240"/>
              <a:gd name="T18" fmla="*/ 102 w 367"/>
              <a:gd name="T19" fmla="*/ 64 h 240"/>
              <a:gd name="T20" fmla="*/ 91 w 367"/>
              <a:gd name="T21" fmla="*/ 64 h 240"/>
              <a:gd name="T22" fmla="*/ 91 w 367"/>
              <a:gd name="T23" fmla="*/ 87 h 240"/>
              <a:gd name="T24" fmla="*/ 102 w 367"/>
              <a:gd name="T25" fmla="*/ 87 h 240"/>
              <a:gd name="T26" fmla="*/ 102 w 367"/>
              <a:gd name="T27" fmla="*/ 143 h 240"/>
              <a:gd name="T28" fmla="*/ 82 w 367"/>
              <a:gd name="T29" fmla="*/ 156 h 240"/>
              <a:gd name="T30" fmla="*/ 82 w 367"/>
              <a:gd name="T31" fmla="*/ 27 h 240"/>
              <a:gd name="T32" fmla="*/ 0 w 367"/>
              <a:gd name="T33" fmla="*/ 0 h 240"/>
              <a:gd name="T34" fmla="*/ 82 w 367"/>
              <a:gd name="T35" fmla="*/ 27 h 240"/>
              <a:gd name="T36" fmla="*/ 82 w 367"/>
              <a:gd name="T37" fmla="*/ 156 h 240"/>
              <a:gd name="T38" fmla="*/ 82 w 367"/>
              <a:gd name="T39" fmla="*/ 156 h 240"/>
              <a:gd name="T40" fmla="*/ 62 w 367"/>
              <a:gd name="T41" fmla="*/ 143 h 240"/>
              <a:gd name="T42" fmla="*/ 62 w 367"/>
              <a:gd name="T43" fmla="*/ 87 h 240"/>
              <a:gd name="T44" fmla="*/ 73 w 367"/>
              <a:gd name="T45" fmla="*/ 87 h 240"/>
              <a:gd name="T46" fmla="*/ 73 w 367"/>
              <a:gd name="T47" fmla="*/ 64 h 240"/>
              <a:gd name="T48" fmla="*/ 62 w 367"/>
              <a:gd name="T49" fmla="*/ 64 h 240"/>
              <a:gd name="T50" fmla="*/ 37 w 367"/>
              <a:gd name="T51" fmla="*/ 64 h 240"/>
              <a:gd name="T52" fmla="*/ 26 w 367"/>
              <a:gd name="T53" fmla="*/ 64 h 240"/>
              <a:gd name="T54" fmla="*/ 26 w 367"/>
              <a:gd name="T55" fmla="*/ 87 h 240"/>
              <a:gd name="T56" fmla="*/ 37 w 367"/>
              <a:gd name="T57" fmla="*/ 87 h 240"/>
              <a:gd name="T58" fmla="*/ 37 w 367"/>
              <a:gd name="T59" fmla="*/ 143 h 240"/>
              <a:gd name="T60" fmla="*/ 82 w 367"/>
              <a:gd name="T61" fmla="*/ 177 h 240"/>
              <a:gd name="T62" fmla="*/ 82 w 367"/>
              <a:gd name="T63" fmla="*/ 177 h 240"/>
              <a:gd name="T64" fmla="*/ 82 w 367"/>
              <a:gd name="T65" fmla="*/ 213 h 240"/>
              <a:gd name="T66" fmla="*/ 0 w 367"/>
              <a:gd name="T67" fmla="*/ 240 h 240"/>
              <a:gd name="T68" fmla="*/ 0 w 367"/>
              <a:gd name="T69" fmla="*/ 0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7" h="240">
                <a:moveTo>
                  <a:pt x="82" y="27"/>
                </a:moveTo>
                <a:cubicBezTo>
                  <a:pt x="367" y="120"/>
                  <a:pt x="367" y="120"/>
                  <a:pt x="367" y="120"/>
                </a:cubicBezTo>
                <a:cubicBezTo>
                  <a:pt x="82" y="213"/>
                  <a:pt x="82" y="213"/>
                  <a:pt x="82" y="213"/>
                </a:cubicBezTo>
                <a:cubicBezTo>
                  <a:pt x="82" y="177"/>
                  <a:pt x="82" y="177"/>
                  <a:pt x="82" y="177"/>
                </a:cubicBezTo>
                <a:cubicBezTo>
                  <a:pt x="107" y="177"/>
                  <a:pt x="127" y="162"/>
                  <a:pt x="127" y="143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38" y="87"/>
                  <a:pt x="138" y="87"/>
                  <a:pt x="138" y="87"/>
                </a:cubicBezTo>
                <a:cubicBezTo>
                  <a:pt x="138" y="64"/>
                  <a:pt x="138" y="64"/>
                  <a:pt x="138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102" y="64"/>
                  <a:pt x="102" y="64"/>
                  <a:pt x="102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1" y="87"/>
                  <a:pt x="91" y="87"/>
                  <a:pt x="91" y="87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02" y="143"/>
                  <a:pt x="102" y="143"/>
                  <a:pt x="102" y="143"/>
                </a:cubicBezTo>
                <a:cubicBezTo>
                  <a:pt x="102" y="150"/>
                  <a:pt x="93" y="156"/>
                  <a:pt x="82" y="156"/>
                </a:cubicBezTo>
                <a:lnTo>
                  <a:pt x="82" y="27"/>
                </a:lnTo>
                <a:close/>
                <a:moveTo>
                  <a:pt x="0" y="0"/>
                </a:moveTo>
                <a:cubicBezTo>
                  <a:pt x="82" y="27"/>
                  <a:pt x="82" y="27"/>
                  <a:pt x="82" y="27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71" y="156"/>
                  <a:pt x="62" y="150"/>
                  <a:pt x="62" y="143"/>
                </a:cubicBezTo>
                <a:cubicBezTo>
                  <a:pt x="62" y="87"/>
                  <a:pt x="62" y="87"/>
                  <a:pt x="62" y="87"/>
                </a:cubicBezTo>
                <a:cubicBezTo>
                  <a:pt x="73" y="87"/>
                  <a:pt x="73" y="87"/>
                  <a:pt x="73" y="87"/>
                </a:cubicBezTo>
                <a:cubicBezTo>
                  <a:pt x="73" y="64"/>
                  <a:pt x="73" y="64"/>
                  <a:pt x="73" y="64"/>
                </a:cubicBezTo>
                <a:cubicBezTo>
                  <a:pt x="62" y="64"/>
                  <a:pt x="62" y="64"/>
                  <a:pt x="62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26" y="64"/>
                  <a:pt x="26" y="64"/>
                  <a:pt x="26" y="64"/>
                </a:cubicBezTo>
                <a:cubicBezTo>
                  <a:pt x="26" y="87"/>
                  <a:pt x="26" y="87"/>
                  <a:pt x="26" y="87"/>
                </a:cubicBezTo>
                <a:cubicBezTo>
                  <a:pt x="37" y="87"/>
                  <a:pt x="37" y="87"/>
                  <a:pt x="37" y="87"/>
                </a:cubicBezTo>
                <a:cubicBezTo>
                  <a:pt x="37" y="143"/>
                  <a:pt x="37" y="143"/>
                  <a:pt x="37" y="143"/>
                </a:cubicBezTo>
                <a:cubicBezTo>
                  <a:pt x="37" y="162"/>
                  <a:pt x="57" y="177"/>
                  <a:pt x="82" y="177"/>
                </a:cubicBezTo>
                <a:cubicBezTo>
                  <a:pt x="82" y="177"/>
                  <a:pt x="82" y="177"/>
                  <a:pt x="82" y="177"/>
                </a:cubicBezTo>
                <a:cubicBezTo>
                  <a:pt x="82" y="213"/>
                  <a:pt x="82" y="213"/>
                  <a:pt x="82" y="213"/>
                </a:cubicBezTo>
                <a:cubicBezTo>
                  <a:pt x="0" y="240"/>
                  <a:pt x="0" y="240"/>
                  <a:pt x="0" y="240"/>
                </a:cubicBezTo>
                <a:lnTo>
                  <a:pt x="0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0" name="Freeform 73"/>
          <p:cNvSpPr>
            <a:spLocks noEditPoints="1"/>
          </p:cNvSpPr>
          <p:nvPr/>
        </p:nvSpPr>
        <p:spPr bwMode="auto">
          <a:xfrm>
            <a:off x="9372921" y="2918803"/>
            <a:ext cx="187325" cy="327025"/>
          </a:xfrm>
          <a:custGeom>
            <a:avLst/>
            <a:gdLst>
              <a:gd name="T0" fmla="*/ 37 w 86"/>
              <a:gd name="T1" fmla="*/ 128 h 150"/>
              <a:gd name="T2" fmla="*/ 34 w 86"/>
              <a:gd name="T3" fmla="*/ 127 h 150"/>
              <a:gd name="T4" fmla="*/ 34 w 86"/>
              <a:gd name="T5" fmla="*/ 150 h 150"/>
              <a:gd name="T6" fmla="*/ 45 w 86"/>
              <a:gd name="T7" fmla="*/ 142 h 150"/>
              <a:gd name="T8" fmla="*/ 37 w 86"/>
              <a:gd name="T9" fmla="*/ 128 h 150"/>
              <a:gd name="T10" fmla="*/ 34 w 86"/>
              <a:gd name="T11" fmla="*/ 118 h 150"/>
              <a:gd name="T12" fmla="*/ 34 w 86"/>
              <a:gd name="T13" fmla="*/ 51 h 150"/>
              <a:gd name="T14" fmla="*/ 51 w 86"/>
              <a:gd name="T15" fmla="*/ 46 h 150"/>
              <a:gd name="T16" fmla="*/ 61 w 86"/>
              <a:gd name="T17" fmla="*/ 8 h 150"/>
              <a:gd name="T18" fmla="*/ 72 w 86"/>
              <a:gd name="T19" fmla="*/ 1 h 150"/>
              <a:gd name="T20" fmla="*/ 78 w 86"/>
              <a:gd name="T21" fmla="*/ 12 h 150"/>
              <a:gd name="T22" fmla="*/ 69 w 86"/>
              <a:gd name="T23" fmla="*/ 51 h 150"/>
              <a:gd name="T24" fmla="*/ 82 w 86"/>
              <a:gd name="T25" fmla="*/ 84 h 150"/>
              <a:gd name="T26" fmla="*/ 77 w 86"/>
              <a:gd name="T27" fmla="*/ 103 h 150"/>
              <a:gd name="T28" fmla="*/ 77 w 86"/>
              <a:gd name="T29" fmla="*/ 103 h 150"/>
              <a:gd name="T30" fmla="*/ 86 w 86"/>
              <a:gd name="T31" fmla="*/ 117 h 150"/>
              <a:gd name="T32" fmla="*/ 83 w 86"/>
              <a:gd name="T33" fmla="*/ 130 h 150"/>
              <a:gd name="T34" fmla="*/ 34 w 86"/>
              <a:gd name="T35" fmla="*/ 118 h 150"/>
              <a:gd name="T36" fmla="*/ 34 w 86"/>
              <a:gd name="T37" fmla="*/ 127 h 150"/>
              <a:gd name="T38" fmla="*/ 23 w 86"/>
              <a:gd name="T39" fmla="*/ 136 h 150"/>
              <a:gd name="T40" fmla="*/ 31 w 86"/>
              <a:gd name="T41" fmla="*/ 150 h 150"/>
              <a:gd name="T42" fmla="*/ 34 w 86"/>
              <a:gd name="T43" fmla="*/ 150 h 150"/>
              <a:gd name="T44" fmla="*/ 34 w 86"/>
              <a:gd name="T45" fmla="*/ 127 h 150"/>
              <a:gd name="T46" fmla="*/ 34 w 86"/>
              <a:gd name="T47" fmla="*/ 51 h 150"/>
              <a:gd name="T48" fmla="*/ 34 w 86"/>
              <a:gd name="T49" fmla="*/ 118 h 150"/>
              <a:gd name="T50" fmla="*/ 0 w 86"/>
              <a:gd name="T51" fmla="*/ 109 h 150"/>
              <a:gd name="T52" fmla="*/ 3 w 86"/>
              <a:gd name="T53" fmla="*/ 96 h 150"/>
              <a:gd name="T54" fmla="*/ 18 w 86"/>
              <a:gd name="T55" fmla="*/ 88 h 150"/>
              <a:gd name="T56" fmla="*/ 23 w 86"/>
              <a:gd name="T57" fmla="*/ 69 h 150"/>
              <a:gd name="T58" fmla="*/ 34 w 86"/>
              <a:gd name="T59" fmla="*/ 51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6" h="150">
                <a:moveTo>
                  <a:pt x="37" y="128"/>
                </a:moveTo>
                <a:cubicBezTo>
                  <a:pt x="36" y="127"/>
                  <a:pt x="35" y="127"/>
                  <a:pt x="34" y="127"/>
                </a:cubicBezTo>
                <a:cubicBezTo>
                  <a:pt x="34" y="150"/>
                  <a:pt x="34" y="150"/>
                  <a:pt x="34" y="150"/>
                </a:cubicBezTo>
                <a:cubicBezTo>
                  <a:pt x="39" y="150"/>
                  <a:pt x="44" y="147"/>
                  <a:pt x="45" y="142"/>
                </a:cubicBezTo>
                <a:cubicBezTo>
                  <a:pt x="47" y="136"/>
                  <a:pt x="43" y="129"/>
                  <a:pt x="37" y="128"/>
                </a:cubicBezTo>
                <a:close/>
                <a:moveTo>
                  <a:pt x="34" y="118"/>
                </a:moveTo>
                <a:cubicBezTo>
                  <a:pt x="34" y="51"/>
                  <a:pt x="34" y="51"/>
                  <a:pt x="34" y="51"/>
                </a:cubicBezTo>
                <a:cubicBezTo>
                  <a:pt x="39" y="48"/>
                  <a:pt x="45" y="46"/>
                  <a:pt x="51" y="46"/>
                </a:cubicBezTo>
                <a:cubicBezTo>
                  <a:pt x="61" y="8"/>
                  <a:pt x="61" y="8"/>
                  <a:pt x="61" y="8"/>
                </a:cubicBezTo>
                <a:cubicBezTo>
                  <a:pt x="62" y="3"/>
                  <a:pt x="67" y="0"/>
                  <a:pt x="72" y="1"/>
                </a:cubicBezTo>
                <a:cubicBezTo>
                  <a:pt x="77" y="2"/>
                  <a:pt x="80" y="7"/>
                  <a:pt x="78" y="12"/>
                </a:cubicBezTo>
                <a:cubicBezTo>
                  <a:pt x="69" y="51"/>
                  <a:pt x="69" y="51"/>
                  <a:pt x="69" y="51"/>
                </a:cubicBezTo>
                <a:cubicBezTo>
                  <a:pt x="79" y="57"/>
                  <a:pt x="86" y="68"/>
                  <a:pt x="82" y="84"/>
                </a:cubicBezTo>
                <a:cubicBezTo>
                  <a:pt x="82" y="84"/>
                  <a:pt x="79" y="97"/>
                  <a:pt x="77" y="103"/>
                </a:cubicBezTo>
                <a:cubicBezTo>
                  <a:pt x="77" y="103"/>
                  <a:pt x="77" y="103"/>
                  <a:pt x="77" y="103"/>
                </a:cubicBezTo>
                <a:cubicBezTo>
                  <a:pt x="75" y="112"/>
                  <a:pt x="86" y="117"/>
                  <a:pt x="86" y="117"/>
                </a:cubicBezTo>
                <a:cubicBezTo>
                  <a:pt x="83" y="130"/>
                  <a:pt x="83" y="130"/>
                  <a:pt x="83" y="130"/>
                </a:cubicBezTo>
                <a:lnTo>
                  <a:pt x="34" y="118"/>
                </a:lnTo>
                <a:close/>
                <a:moveTo>
                  <a:pt x="34" y="127"/>
                </a:moveTo>
                <a:cubicBezTo>
                  <a:pt x="29" y="127"/>
                  <a:pt x="24" y="131"/>
                  <a:pt x="23" y="136"/>
                </a:cubicBezTo>
                <a:cubicBezTo>
                  <a:pt x="21" y="142"/>
                  <a:pt x="25" y="148"/>
                  <a:pt x="31" y="150"/>
                </a:cubicBezTo>
                <a:cubicBezTo>
                  <a:pt x="32" y="150"/>
                  <a:pt x="33" y="150"/>
                  <a:pt x="34" y="150"/>
                </a:cubicBezTo>
                <a:cubicBezTo>
                  <a:pt x="34" y="127"/>
                  <a:pt x="34" y="127"/>
                  <a:pt x="34" y="127"/>
                </a:cubicBezTo>
                <a:close/>
                <a:moveTo>
                  <a:pt x="34" y="51"/>
                </a:moveTo>
                <a:cubicBezTo>
                  <a:pt x="34" y="118"/>
                  <a:pt x="34" y="118"/>
                  <a:pt x="34" y="118"/>
                </a:cubicBezTo>
                <a:cubicBezTo>
                  <a:pt x="0" y="109"/>
                  <a:pt x="0" y="109"/>
                  <a:pt x="0" y="109"/>
                </a:cubicBezTo>
                <a:cubicBezTo>
                  <a:pt x="3" y="96"/>
                  <a:pt x="3" y="96"/>
                  <a:pt x="3" y="96"/>
                </a:cubicBezTo>
                <a:cubicBezTo>
                  <a:pt x="3" y="96"/>
                  <a:pt x="16" y="97"/>
                  <a:pt x="18" y="88"/>
                </a:cubicBezTo>
                <a:cubicBezTo>
                  <a:pt x="20" y="80"/>
                  <a:pt x="23" y="69"/>
                  <a:pt x="23" y="69"/>
                </a:cubicBezTo>
                <a:cubicBezTo>
                  <a:pt x="25" y="61"/>
                  <a:pt x="29" y="55"/>
                  <a:pt x="34" y="51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1" name="Freeform 74"/>
          <p:cNvSpPr>
            <a:spLocks noEditPoints="1"/>
          </p:cNvSpPr>
          <p:nvPr/>
        </p:nvSpPr>
        <p:spPr bwMode="auto">
          <a:xfrm>
            <a:off x="7737796" y="1798028"/>
            <a:ext cx="376238" cy="460375"/>
          </a:xfrm>
          <a:custGeom>
            <a:avLst/>
            <a:gdLst>
              <a:gd name="T0" fmla="*/ 172 w 172"/>
              <a:gd name="T1" fmla="*/ 9 h 211"/>
              <a:gd name="T2" fmla="*/ 121 w 172"/>
              <a:gd name="T3" fmla="*/ 37 h 211"/>
              <a:gd name="T4" fmla="*/ 143 w 172"/>
              <a:gd name="T5" fmla="*/ 211 h 211"/>
              <a:gd name="T6" fmla="*/ 124 w 172"/>
              <a:gd name="T7" fmla="*/ 165 h 211"/>
              <a:gd name="T8" fmla="*/ 131 w 172"/>
              <a:gd name="T9" fmla="*/ 108 h 211"/>
              <a:gd name="T10" fmla="*/ 121 w 172"/>
              <a:gd name="T11" fmla="*/ 86 h 211"/>
              <a:gd name="T12" fmla="*/ 129 w 172"/>
              <a:gd name="T13" fmla="*/ 146 h 211"/>
              <a:gd name="T14" fmla="*/ 127 w 172"/>
              <a:gd name="T15" fmla="*/ 116 h 211"/>
              <a:gd name="T16" fmla="*/ 121 w 172"/>
              <a:gd name="T17" fmla="*/ 156 h 211"/>
              <a:gd name="T18" fmla="*/ 121 w 172"/>
              <a:gd name="T19" fmla="*/ 9 h 211"/>
              <a:gd name="T20" fmla="*/ 98 w 172"/>
              <a:gd name="T21" fmla="*/ 37 h 211"/>
              <a:gd name="T22" fmla="*/ 110 w 172"/>
              <a:gd name="T23" fmla="*/ 88 h 211"/>
              <a:gd name="T24" fmla="*/ 100 w 172"/>
              <a:gd name="T25" fmla="*/ 81 h 211"/>
              <a:gd name="T26" fmla="*/ 121 w 172"/>
              <a:gd name="T27" fmla="*/ 211 h 211"/>
              <a:gd name="T28" fmla="*/ 101 w 172"/>
              <a:gd name="T29" fmla="*/ 163 h 211"/>
              <a:gd name="T30" fmla="*/ 121 w 172"/>
              <a:gd name="T31" fmla="*/ 211 h 211"/>
              <a:gd name="T32" fmla="*/ 113 w 172"/>
              <a:gd name="T33" fmla="*/ 148 h 211"/>
              <a:gd name="T34" fmla="*/ 121 w 172"/>
              <a:gd name="T35" fmla="*/ 156 h 211"/>
              <a:gd name="T36" fmla="*/ 98 w 172"/>
              <a:gd name="T37" fmla="*/ 0 h 211"/>
              <a:gd name="T38" fmla="*/ 71 w 172"/>
              <a:gd name="T39" fmla="*/ 0 h 211"/>
              <a:gd name="T40" fmla="*/ 98 w 172"/>
              <a:gd name="T41" fmla="*/ 80 h 211"/>
              <a:gd name="T42" fmla="*/ 71 w 172"/>
              <a:gd name="T43" fmla="*/ 37 h 211"/>
              <a:gd name="T44" fmla="*/ 71 w 172"/>
              <a:gd name="T45" fmla="*/ 166 h 211"/>
              <a:gd name="T46" fmla="*/ 98 w 172"/>
              <a:gd name="T47" fmla="*/ 141 h 211"/>
              <a:gd name="T48" fmla="*/ 98 w 172"/>
              <a:gd name="T49" fmla="*/ 160 h 211"/>
              <a:gd name="T50" fmla="*/ 74 w 172"/>
              <a:gd name="T51" fmla="*/ 124 h 211"/>
              <a:gd name="T52" fmla="*/ 71 w 172"/>
              <a:gd name="T53" fmla="*/ 118 h 211"/>
              <a:gd name="T54" fmla="*/ 71 w 172"/>
              <a:gd name="T55" fmla="*/ 98 h 211"/>
              <a:gd name="T56" fmla="*/ 71 w 172"/>
              <a:gd name="T57" fmla="*/ 0 h 211"/>
              <a:gd name="T58" fmla="*/ 60 w 172"/>
              <a:gd name="T59" fmla="*/ 0 h 211"/>
              <a:gd name="T60" fmla="*/ 71 w 172"/>
              <a:gd name="T61" fmla="*/ 88 h 211"/>
              <a:gd name="T62" fmla="*/ 60 w 172"/>
              <a:gd name="T63" fmla="*/ 37 h 211"/>
              <a:gd name="T64" fmla="*/ 60 w 172"/>
              <a:gd name="T65" fmla="*/ 120 h 211"/>
              <a:gd name="T66" fmla="*/ 65 w 172"/>
              <a:gd name="T67" fmla="*/ 166 h 211"/>
              <a:gd name="T68" fmla="*/ 71 w 172"/>
              <a:gd name="T69" fmla="*/ 98 h 211"/>
              <a:gd name="T70" fmla="*/ 71 w 172"/>
              <a:gd name="T71" fmla="*/ 98 h 211"/>
              <a:gd name="T72" fmla="*/ 60 w 172"/>
              <a:gd name="T73" fmla="*/ 9 h 211"/>
              <a:gd name="T74" fmla="*/ 12 w 172"/>
              <a:gd name="T75" fmla="*/ 23 h 211"/>
              <a:gd name="T76" fmla="*/ 60 w 172"/>
              <a:gd name="T77" fmla="*/ 100 h 211"/>
              <a:gd name="T78" fmla="*/ 28 w 172"/>
              <a:gd name="T79" fmla="*/ 118 h 211"/>
              <a:gd name="T80" fmla="*/ 29 w 172"/>
              <a:gd name="T81" fmla="*/ 134 h 211"/>
              <a:gd name="T82" fmla="*/ 34 w 172"/>
              <a:gd name="T83" fmla="*/ 127 h 211"/>
              <a:gd name="T84" fmla="*/ 47 w 172"/>
              <a:gd name="T85" fmla="*/ 120 h 211"/>
              <a:gd name="T86" fmla="*/ 36 w 172"/>
              <a:gd name="T87" fmla="*/ 178 h 211"/>
              <a:gd name="T88" fmla="*/ 45 w 172"/>
              <a:gd name="T89" fmla="*/ 163 h 211"/>
              <a:gd name="T90" fmla="*/ 60 w 172"/>
              <a:gd name="T91" fmla="*/ 211 h 211"/>
              <a:gd name="T92" fmla="*/ 0 w 172"/>
              <a:gd name="T93" fmla="*/ 2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72" h="211">
                <a:moveTo>
                  <a:pt x="121" y="0"/>
                </a:moveTo>
                <a:cubicBezTo>
                  <a:pt x="172" y="0"/>
                  <a:pt x="172" y="0"/>
                  <a:pt x="172" y="0"/>
                </a:cubicBezTo>
                <a:cubicBezTo>
                  <a:pt x="172" y="9"/>
                  <a:pt x="172" y="9"/>
                  <a:pt x="172" y="9"/>
                </a:cubicBezTo>
                <a:cubicBezTo>
                  <a:pt x="121" y="9"/>
                  <a:pt x="121" y="9"/>
                  <a:pt x="121" y="9"/>
                </a:cubicBezTo>
                <a:cubicBezTo>
                  <a:pt x="121" y="0"/>
                  <a:pt x="121" y="0"/>
                  <a:pt x="121" y="0"/>
                </a:cubicBezTo>
                <a:close/>
                <a:moveTo>
                  <a:pt x="121" y="37"/>
                </a:moveTo>
                <a:cubicBezTo>
                  <a:pt x="172" y="37"/>
                  <a:pt x="172" y="37"/>
                  <a:pt x="172" y="37"/>
                </a:cubicBezTo>
                <a:cubicBezTo>
                  <a:pt x="172" y="183"/>
                  <a:pt x="172" y="183"/>
                  <a:pt x="172" y="183"/>
                </a:cubicBezTo>
                <a:cubicBezTo>
                  <a:pt x="172" y="198"/>
                  <a:pt x="159" y="211"/>
                  <a:pt x="143" y="211"/>
                </a:cubicBezTo>
                <a:cubicBezTo>
                  <a:pt x="121" y="211"/>
                  <a:pt x="121" y="211"/>
                  <a:pt x="121" y="211"/>
                </a:cubicBezTo>
                <a:cubicBezTo>
                  <a:pt x="121" y="166"/>
                  <a:pt x="121" y="166"/>
                  <a:pt x="121" y="166"/>
                </a:cubicBezTo>
                <a:cubicBezTo>
                  <a:pt x="122" y="166"/>
                  <a:pt x="123" y="166"/>
                  <a:pt x="124" y="165"/>
                </a:cubicBezTo>
                <a:cubicBezTo>
                  <a:pt x="130" y="163"/>
                  <a:pt x="134" y="159"/>
                  <a:pt x="138" y="153"/>
                </a:cubicBezTo>
                <a:cubicBezTo>
                  <a:pt x="142" y="145"/>
                  <a:pt x="145" y="137"/>
                  <a:pt x="145" y="128"/>
                </a:cubicBezTo>
                <a:cubicBezTo>
                  <a:pt x="145" y="115"/>
                  <a:pt x="140" y="108"/>
                  <a:pt x="131" y="108"/>
                </a:cubicBezTo>
                <a:cubicBezTo>
                  <a:pt x="128" y="108"/>
                  <a:pt x="125" y="109"/>
                  <a:pt x="121" y="111"/>
                </a:cubicBezTo>
                <a:cubicBezTo>
                  <a:pt x="127" y="85"/>
                  <a:pt x="127" y="85"/>
                  <a:pt x="127" y="85"/>
                </a:cubicBezTo>
                <a:cubicBezTo>
                  <a:pt x="121" y="86"/>
                  <a:pt x="121" y="86"/>
                  <a:pt x="121" y="86"/>
                </a:cubicBezTo>
                <a:cubicBezTo>
                  <a:pt x="121" y="37"/>
                  <a:pt x="121" y="37"/>
                  <a:pt x="121" y="37"/>
                </a:cubicBezTo>
                <a:close/>
                <a:moveTo>
                  <a:pt x="121" y="156"/>
                </a:moveTo>
                <a:cubicBezTo>
                  <a:pt x="123" y="155"/>
                  <a:pt x="126" y="152"/>
                  <a:pt x="129" y="146"/>
                </a:cubicBezTo>
                <a:cubicBezTo>
                  <a:pt x="131" y="140"/>
                  <a:pt x="133" y="134"/>
                  <a:pt x="133" y="129"/>
                </a:cubicBezTo>
                <a:cubicBezTo>
                  <a:pt x="133" y="123"/>
                  <a:pt x="132" y="119"/>
                  <a:pt x="129" y="117"/>
                </a:cubicBezTo>
                <a:cubicBezTo>
                  <a:pt x="129" y="117"/>
                  <a:pt x="128" y="116"/>
                  <a:pt x="127" y="116"/>
                </a:cubicBezTo>
                <a:cubicBezTo>
                  <a:pt x="126" y="116"/>
                  <a:pt x="124" y="117"/>
                  <a:pt x="123" y="117"/>
                </a:cubicBezTo>
                <a:cubicBezTo>
                  <a:pt x="122" y="117"/>
                  <a:pt x="121" y="117"/>
                  <a:pt x="121" y="118"/>
                </a:cubicBezTo>
                <a:lnTo>
                  <a:pt x="121" y="156"/>
                </a:lnTo>
                <a:close/>
                <a:moveTo>
                  <a:pt x="98" y="0"/>
                </a:moveTo>
                <a:cubicBezTo>
                  <a:pt x="121" y="0"/>
                  <a:pt x="121" y="0"/>
                  <a:pt x="121" y="0"/>
                </a:cubicBezTo>
                <a:cubicBezTo>
                  <a:pt x="121" y="9"/>
                  <a:pt x="121" y="9"/>
                  <a:pt x="121" y="9"/>
                </a:cubicBezTo>
                <a:cubicBezTo>
                  <a:pt x="98" y="9"/>
                  <a:pt x="98" y="9"/>
                  <a:pt x="98" y="9"/>
                </a:cubicBezTo>
                <a:cubicBezTo>
                  <a:pt x="98" y="0"/>
                  <a:pt x="98" y="0"/>
                  <a:pt x="98" y="0"/>
                </a:cubicBezTo>
                <a:close/>
                <a:moveTo>
                  <a:pt x="98" y="37"/>
                </a:moveTo>
                <a:cubicBezTo>
                  <a:pt x="121" y="37"/>
                  <a:pt x="121" y="37"/>
                  <a:pt x="121" y="37"/>
                </a:cubicBezTo>
                <a:cubicBezTo>
                  <a:pt x="121" y="86"/>
                  <a:pt x="121" y="86"/>
                  <a:pt x="121" y="86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98" y="141"/>
                  <a:pt x="98" y="141"/>
                  <a:pt x="98" y="141"/>
                </a:cubicBezTo>
                <a:cubicBezTo>
                  <a:pt x="98" y="90"/>
                  <a:pt x="98" y="90"/>
                  <a:pt x="98" y="90"/>
                </a:cubicBezTo>
                <a:cubicBezTo>
                  <a:pt x="100" y="81"/>
                  <a:pt x="100" y="81"/>
                  <a:pt x="100" y="81"/>
                </a:cubicBezTo>
                <a:cubicBezTo>
                  <a:pt x="100" y="81"/>
                  <a:pt x="99" y="81"/>
                  <a:pt x="98" y="80"/>
                </a:cubicBezTo>
                <a:cubicBezTo>
                  <a:pt x="98" y="37"/>
                  <a:pt x="98" y="37"/>
                  <a:pt x="98" y="37"/>
                </a:cubicBezTo>
                <a:close/>
                <a:moveTo>
                  <a:pt x="121" y="211"/>
                </a:moveTo>
                <a:cubicBezTo>
                  <a:pt x="98" y="211"/>
                  <a:pt x="98" y="211"/>
                  <a:pt x="98" y="211"/>
                </a:cubicBezTo>
                <a:cubicBezTo>
                  <a:pt x="98" y="160"/>
                  <a:pt x="98" y="160"/>
                  <a:pt x="98" y="160"/>
                </a:cubicBezTo>
                <a:cubicBezTo>
                  <a:pt x="99" y="161"/>
                  <a:pt x="100" y="162"/>
                  <a:pt x="101" y="163"/>
                </a:cubicBezTo>
                <a:cubicBezTo>
                  <a:pt x="103" y="166"/>
                  <a:pt x="107" y="167"/>
                  <a:pt x="112" y="167"/>
                </a:cubicBezTo>
                <a:cubicBezTo>
                  <a:pt x="115" y="167"/>
                  <a:pt x="118" y="167"/>
                  <a:pt x="121" y="166"/>
                </a:cubicBezTo>
                <a:cubicBezTo>
                  <a:pt x="121" y="211"/>
                  <a:pt x="121" y="211"/>
                  <a:pt x="121" y="211"/>
                </a:cubicBezTo>
                <a:close/>
                <a:moveTo>
                  <a:pt x="121" y="118"/>
                </a:moveTo>
                <a:cubicBezTo>
                  <a:pt x="120" y="118"/>
                  <a:pt x="120" y="118"/>
                  <a:pt x="120" y="119"/>
                </a:cubicBezTo>
                <a:cubicBezTo>
                  <a:pt x="113" y="148"/>
                  <a:pt x="113" y="148"/>
                  <a:pt x="113" y="148"/>
                </a:cubicBezTo>
                <a:cubicBezTo>
                  <a:pt x="113" y="149"/>
                  <a:pt x="113" y="150"/>
                  <a:pt x="113" y="151"/>
                </a:cubicBezTo>
                <a:cubicBezTo>
                  <a:pt x="113" y="154"/>
                  <a:pt x="115" y="156"/>
                  <a:pt x="119" y="156"/>
                </a:cubicBezTo>
                <a:cubicBezTo>
                  <a:pt x="120" y="156"/>
                  <a:pt x="120" y="156"/>
                  <a:pt x="121" y="156"/>
                </a:cubicBezTo>
                <a:lnTo>
                  <a:pt x="121" y="118"/>
                </a:lnTo>
                <a:close/>
                <a:moveTo>
                  <a:pt x="71" y="0"/>
                </a:moveTo>
                <a:cubicBezTo>
                  <a:pt x="98" y="0"/>
                  <a:pt x="98" y="0"/>
                  <a:pt x="98" y="0"/>
                </a:cubicBezTo>
                <a:cubicBezTo>
                  <a:pt x="98" y="9"/>
                  <a:pt x="98" y="9"/>
                  <a:pt x="98" y="9"/>
                </a:cubicBezTo>
                <a:cubicBezTo>
                  <a:pt x="71" y="9"/>
                  <a:pt x="71" y="9"/>
                  <a:pt x="71" y="9"/>
                </a:cubicBezTo>
                <a:cubicBezTo>
                  <a:pt x="71" y="0"/>
                  <a:pt x="71" y="0"/>
                  <a:pt x="71" y="0"/>
                </a:cubicBezTo>
                <a:close/>
                <a:moveTo>
                  <a:pt x="71" y="37"/>
                </a:moveTo>
                <a:cubicBezTo>
                  <a:pt x="98" y="37"/>
                  <a:pt x="98" y="37"/>
                  <a:pt x="98" y="37"/>
                </a:cubicBezTo>
                <a:cubicBezTo>
                  <a:pt x="98" y="80"/>
                  <a:pt x="98" y="80"/>
                  <a:pt x="98" y="80"/>
                </a:cubicBezTo>
                <a:cubicBezTo>
                  <a:pt x="96" y="80"/>
                  <a:pt x="94" y="80"/>
                  <a:pt x="91" y="80"/>
                </a:cubicBezTo>
                <a:cubicBezTo>
                  <a:pt x="85" y="80"/>
                  <a:pt x="78" y="83"/>
                  <a:pt x="71" y="88"/>
                </a:cubicBezTo>
                <a:cubicBezTo>
                  <a:pt x="71" y="37"/>
                  <a:pt x="71" y="37"/>
                  <a:pt x="71" y="37"/>
                </a:cubicBezTo>
                <a:close/>
                <a:moveTo>
                  <a:pt x="98" y="211"/>
                </a:moveTo>
                <a:cubicBezTo>
                  <a:pt x="71" y="211"/>
                  <a:pt x="71" y="211"/>
                  <a:pt x="71" y="211"/>
                </a:cubicBezTo>
                <a:cubicBezTo>
                  <a:pt x="71" y="166"/>
                  <a:pt x="71" y="166"/>
                  <a:pt x="71" y="166"/>
                </a:cubicBezTo>
                <a:cubicBezTo>
                  <a:pt x="82" y="166"/>
                  <a:pt x="82" y="166"/>
                  <a:pt x="82" y="166"/>
                </a:cubicBezTo>
                <a:cubicBezTo>
                  <a:pt x="98" y="90"/>
                  <a:pt x="98" y="90"/>
                  <a:pt x="98" y="90"/>
                </a:cubicBezTo>
                <a:cubicBezTo>
                  <a:pt x="98" y="141"/>
                  <a:pt x="98" y="141"/>
                  <a:pt x="98" y="141"/>
                </a:cubicBezTo>
                <a:cubicBezTo>
                  <a:pt x="97" y="146"/>
                  <a:pt x="97" y="146"/>
                  <a:pt x="97" y="146"/>
                </a:cubicBezTo>
                <a:cubicBezTo>
                  <a:pt x="97" y="148"/>
                  <a:pt x="97" y="150"/>
                  <a:pt x="97" y="152"/>
                </a:cubicBezTo>
                <a:cubicBezTo>
                  <a:pt x="97" y="155"/>
                  <a:pt x="97" y="158"/>
                  <a:pt x="98" y="160"/>
                </a:cubicBezTo>
                <a:cubicBezTo>
                  <a:pt x="98" y="211"/>
                  <a:pt x="98" y="211"/>
                  <a:pt x="98" y="211"/>
                </a:cubicBezTo>
                <a:close/>
                <a:moveTo>
                  <a:pt x="71" y="137"/>
                </a:moveTo>
                <a:cubicBezTo>
                  <a:pt x="74" y="124"/>
                  <a:pt x="74" y="124"/>
                  <a:pt x="74" y="124"/>
                </a:cubicBezTo>
                <a:cubicBezTo>
                  <a:pt x="73" y="124"/>
                  <a:pt x="72" y="124"/>
                  <a:pt x="71" y="123"/>
                </a:cubicBezTo>
                <a:cubicBezTo>
                  <a:pt x="71" y="137"/>
                  <a:pt x="71" y="137"/>
                  <a:pt x="71" y="137"/>
                </a:cubicBezTo>
                <a:close/>
                <a:moveTo>
                  <a:pt x="71" y="118"/>
                </a:moveTo>
                <a:cubicBezTo>
                  <a:pt x="73" y="118"/>
                  <a:pt x="74" y="119"/>
                  <a:pt x="75" y="119"/>
                </a:cubicBezTo>
                <a:cubicBezTo>
                  <a:pt x="82" y="88"/>
                  <a:pt x="82" y="88"/>
                  <a:pt x="82" y="88"/>
                </a:cubicBezTo>
                <a:cubicBezTo>
                  <a:pt x="79" y="90"/>
                  <a:pt x="75" y="93"/>
                  <a:pt x="71" y="98"/>
                </a:cubicBezTo>
                <a:lnTo>
                  <a:pt x="71" y="118"/>
                </a:lnTo>
                <a:close/>
                <a:moveTo>
                  <a:pt x="60" y="0"/>
                </a:moveTo>
                <a:cubicBezTo>
                  <a:pt x="71" y="0"/>
                  <a:pt x="71" y="0"/>
                  <a:pt x="71" y="0"/>
                </a:cubicBezTo>
                <a:cubicBezTo>
                  <a:pt x="71" y="9"/>
                  <a:pt x="71" y="9"/>
                  <a:pt x="71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0" y="0"/>
                  <a:pt x="60" y="0"/>
                  <a:pt x="60" y="0"/>
                </a:cubicBezTo>
                <a:close/>
                <a:moveTo>
                  <a:pt x="60" y="37"/>
                </a:moveTo>
                <a:cubicBezTo>
                  <a:pt x="71" y="37"/>
                  <a:pt x="71" y="37"/>
                  <a:pt x="71" y="37"/>
                </a:cubicBezTo>
                <a:cubicBezTo>
                  <a:pt x="71" y="88"/>
                  <a:pt x="71" y="88"/>
                  <a:pt x="71" y="88"/>
                </a:cubicBezTo>
                <a:cubicBezTo>
                  <a:pt x="71" y="89"/>
                  <a:pt x="71" y="89"/>
                  <a:pt x="71" y="89"/>
                </a:cubicBezTo>
                <a:cubicBezTo>
                  <a:pt x="67" y="92"/>
                  <a:pt x="64" y="96"/>
                  <a:pt x="60" y="100"/>
                </a:cubicBezTo>
                <a:cubicBezTo>
                  <a:pt x="60" y="37"/>
                  <a:pt x="60" y="37"/>
                  <a:pt x="60" y="37"/>
                </a:cubicBezTo>
                <a:close/>
                <a:moveTo>
                  <a:pt x="71" y="211"/>
                </a:moveTo>
                <a:cubicBezTo>
                  <a:pt x="60" y="211"/>
                  <a:pt x="60" y="211"/>
                  <a:pt x="60" y="211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4" y="121"/>
                  <a:pt x="68" y="122"/>
                  <a:pt x="71" y="123"/>
                </a:cubicBezTo>
                <a:cubicBezTo>
                  <a:pt x="71" y="137"/>
                  <a:pt x="71" y="137"/>
                  <a:pt x="71" y="137"/>
                </a:cubicBezTo>
                <a:cubicBezTo>
                  <a:pt x="65" y="166"/>
                  <a:pt x="65" y="166"/>
                  <a:pt x="65" y="166"/>
                </a:cubicBezTo>
                <a:cubicBezTo>
                  <a:pt x="71" y="166"/>
                  <a:pt x="71" y="166"/>
                  <a:pt x="71" y="166"/>
                </a:cubicBezTo>
                <a:cubicBezTo>
                  <a:pt x="71" y="211"/>
                  <a:pt x="71" y="211"/>
                  <a:pt x="71" y="211"/>
                </a:cubicBezTo>
                <a:close/>
                <a:moveTo>
                  <a:pt x="71" y="98"/>
                </a:moveTo>
                <a:cubicBezTo>
                  <a:pt x="68" y="102"/>
                  <a:pt x="65" y="108"/>
                  <a:pt x="61" y="115"/>
                </a:cubicBezTo>
                <a:cubicBezTo>
                  <a:pt x="65" y="116"/>
                  <a:pt x="68" y="117"/>
                  <a:pt x="71" y="118"/>
                </a:cubicBezTo>
                <a:lnTo>
                  <a:pt x="71" y="98"/>
                </a:lnTo>
                <a:close/>
                <a:moveTo>
                  <a:pt x="29" y="0"/>
                </a:moveTo>
                <a:cubicBezTo>
                  <a:pt x="60" y="0"/>
                  <a:pt x="60" y="0"/>
                  <a:pt x="60" y="0"/>
                </a:cubicBezTo>
                <a:cubicBezTo>
                  <a:pt x="60" y="9"/>
                  <a:pt x="60" y="9"/>
                  <a:pt x="60" y="9"/>
                </a:cubicBezTo>
                <a:cubicBezTo>
                  <a:pt x="26" y="9"/>
                  <a:pt x="26" y="9"/>
                  <a:pt x="26" y="9"/>
                </a:cubicBezTo>
                <a:cubicBezTo>
                  <a:pt x="18" y="9"/>
                  <a:pt x="12" y="15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30"/>
                  <a:pt x="18" y="37"/>
                  <a:pt x="26" y="37"/>
                </a:cubicBezTo>
                <a:cubicBezTo>
                  <a:pt x="60" y="37"/>
                  <a:pt x="60" y="37"/>
                  <a:pt x="60" y="37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57" y="104"/>
                  <a:pt x="54" y="109"/>
                  <a:pt x="51" y="114"/>
                </a:cubicBezTo>
                <a:cubicBezTo>
                  <a:pt x="48" y="114"/>
                  <a:pt x="46" y="113"/>
                  <a:pt x="45" y="113"/>
                </a:cubicBezTo>
                <a:cubicBezTo>
                  <a:pt x="38" y="113"/>
                  <a:pt x="32" y="115"/>
                  <a:pt x="28" y="118"/>
                </a:cubicBezTo>
                <a:cubicBezTo>
                  <a:pt x="23" y="120"/>
                  <a:pt x="21" y="124"/>
                  <a:pt x="21" y="128"/>
                </a:cubicBezTo>
                <a:cubicBezTo>
                  <a:pt x="21" y="130"/>
                  <a:pt x="22" y="131"/>
                  <a:pt x="23" y="133"/>
                </a:cubicBezTo>
                <a:cubicBezTo>
                  <a:pt x="24" y="134"/>
                  <a:pt x="26" y="134"/>
                  <a:pt x="29" y="134"/>
                </a:cubicBezTo>
                <a:cubicBezTo>
                  <a:pt x="30" y="134"/>
                  <a:pt x="31" y="134"/>
                  <a:pt x="33" y="133"/>
                </a:cubicBezTo>
                <a:cubicBezTo>
                  <a:pt x="34" y="132"/>
                  <a:pt x="35" y="131"/>
                  <a:pt x="35" y="130"/>
                </a:cubicBezTo>
                <a:cubicBezTo>
                  <a:pt x="35" y="129"/>
                  <a:pt x="34" y="128"/>
                  <a:pt x="34" y="127"/>
                </a:cubicBezTo>
                <a:cubicBezTo>
                  <a:pt x="34" y="127"/>
                  <a:pt x="33" y="126"/>
                  <a:pt x="33" y="126"/>
                </a:cubicBezTo>
                <a:cubicBezTo>
                  <a:pt x="34" y="124"/>
                  <a:pt x="35" y="123"/>
                  <a:pt x="38" y="122"/>
                </a:cubicBezTo>
                <a:cubicBezTo>
                  <a:pt x="40" y="121"/>
                  <a:pt x="43" y="120"/>
                  <a:pt x="47" y="120"/>
                </a:cubicBezTo>
                <a:cubicBezTo>
                  <a:pt x="44" y="125"/>
                  <a:pt x="42" y="129"/>
                  <a:pt x="40" y="134"/>
                </a:cubicBezTo>
                <a:cubicBezTo>
                  <a:pt x="33" y="148"/>
                  <a:pt x="30" y="159"/>
                  <a:pt x="30" y="167"/>
                </a:cubicBezTo>
                <a:cubicBezTo>
                  <a:pt x="30" y="173"/>
                  <a:pt x="32" y="176"/>
                  <a:pt x="36" y="178"/>
                </a:cubicBezTo>
                <a:cubicBezTo>
                  <a:pt x="37" y="179"/>
                  <a:pt x="41" y="180"/>
                  <a:pt x="45" y="180"/>
                </a:cubicBezTo>
                <a:cubicBezTo>
                  <a:pt x="44" y="178"/>
                  <a:pt x="44" y="176"/>
                  <a:pt x="44" y="173"/>
                </a:cubicBezTo>
                <a:cubicBezTo>
                  <a:pt x="44" y="170"/>
                  <a:pt x="44" y="167"/>
                  <a:pt x="45" y="163"/>
                </a:cubicBezTo>
                <a:cubicBezTo>
                  <a:pt x="47" y="150"/>
                  <a:pt x="52" y="136"/>
                  <a:pt x="59" y="120"/>
                </a:cubicBezTo>
                <a:cubicBezTo>
                  <a:pt x="59" y="120"/>
                  <a:pt x="60" y="120"/>
                  <a:pt x="60" y="120"/>
                </a:cubicBezTo>
                <a:cubicBezTo>
                  <a:pt x="60" y="211"/>
                  <a:pt x="60" y="211"/>
                  <a:pt x="60" y="211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13" y="211"/>
                  <a:pt x="0" y="198"/>
                  <a:pt x="0" y="183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2" name="Freeform 75"/>
          <p:cNvSpPr>
            <a:spLocks noEditPoints="1"/>
          </p:cNvSpPr>
          <p:nvPr/>
        </p:nvSpPr>
        <p:spPr bwMode="auto">
          <a:xfrm>
            <a:off x="8461696" y="2282215"/>
            <a:ext cx="569913" cy="571500"/>
          </a:xfrm>
          <a:custGeom>
            <a:avLst/>
            <a:gdLst>
              <a:gd name="T0" fmla="*/ 249 w 261"/>
              <a:gd name="T1" fmla="*/ 220 h 262"/>
              <a:gd name="T2" fmla="*/ 261 w 261"/>
              <a:gd name="T3" fmla="*/ 70 h 262"/>
              <a:gd name="T4" fmla="*/ 249 w 261"/>
              <a:gd name="T5" fmla="*/ 70 h 262"/>
              <a:gd name="T6" fmla="*/ 249 w 261"/>
              <a:gd name="T7" fmla="*/ 154 h 262"/>
              <a:gd name="T8" fmla="*/ 227 w 261"/>
              <a:gd name="T9" fmla="*/ 180 h 262"/>
              <a:gd name="T10" fmla="*/ 209 w 261"/>
              <a:gd name="T11" fmla="*/ 262 h 262"/>
              <a:gd name="T12" fmla="*/ 209 w 261"/>
              <a:gd name="T13" fmla="*/ 262 h 262"/>
              <a:gd name="T14" fmla="*/ 209 w 261"/>
              <a:gd name="T15" fmla="*/ 15 h 262"/>
              <a:gd name="T16" fmla="*/ 203 w 261"/>
              <a:gd name="T17" fmla="*/ 28 h 262"/>
              <a:gd name="T18" fmla="*/ 209 w 261"/>
              <a:gd name="T19" fmla="*/ 50 h 262"/>
              <a:gd name="T20" fmla="*/ 201 w 261"/>
              <a:gd name="T21" fmla="*/ 120 h 262"/>
              <a:gd name="T22" fmla="*/ 209 w 261"/>
              <a:gd name="T23" fmla="*/ 197 h 262"/>
              <a:gd name="T24" fmla="*/ 209 w 261"/>
              <a:gd name="T25" fmla="*/ 197 h 262"/>
              <a:gd name="T26" fmla="*/ 195 w 261"/>
              <a:gd name="T27" fmla="*/ 232 h 262"/>
              <a:gd name="T28" fmla="*/ 168 w 261"/>
              <a:gd name="T29" fmla="*/ 36 h 262"/>
              <a:gd name="T30" fmla="*/ 195 w 261"/>
              <a:gd name="T31" fmla="*/ 20 h 262"/>
              <a:gd name="T32" fmla="*/ 195 w 261"/>
              <a:gd name="T33" fmla="*/ 50 h 262"/>
              <a:gd name="T34" fmla="*/ 195 w 261"/>
              <a:gd name="T35" fmla="*/ 120 h 262"/>
              <a:gd name="T36" fmla="*/ 168 w 261"/>
              <a:gd name="T37" fmla="*/ 220 h 262"/>
              <a:gd name="T38" fmla="*/ 192 w 261"/>
              <a:gd name="T39" fmla="*/ 249 h 262"/>
              <a:gd name="T40" fmla="*/ 168 w 261"/>
              <a:gd name="T41" fmla="*/ 21 h 262"/>
              <a:gd name="T42" fmla="*/ 168 w 261"/>
              <a:gd name="T43" fmla="*/ 44 h 262"/>
              <a:gd name="T44" fmla="*/ 135 w 261"/>
              <a:gd name="T45" fmla="*/ 120 h 262"/>
              <a:gd name="T46" fmla="*/ 167 w 261"/>
              <a:gd name="T47" fmla="*/ 198 h 262"/>
              <a:gd name="T48" fmla="*/ 167 w 261"/>
              <a:gd name="T49" fmla="*/ 167 h 262"/>
              <a:gd name="T50" fmla="*/ 130 w 261"/>
              <a:gd name="T51" fmla="*/ 147 h 262"/>
              <a:gd name="T52" fmla="*/ 93 w 261"/>
              <a:gd name="T53" fmla="*/ 44 h 262"/>
              <a:gd name="T54" fmla="*/ 130 w 261"/>
              <a:gd name="T55" fmla="*/ 0 h 262"/>
              <a:gd name="T56" fmla="*/ 126 w 261"/>
              <a:gd name="T57" fmla="*/ 120 h 262"/>
              <a:gd name="T58" fmla="*/ 130 w 261"/>
              <a:gd name="T59" fmla="*/ 159 h 262"/>
              <a:gd name="T60" fmla="*/ 130 w 261"/>
              <a:gd name="T61" fmla="*/ 179 h 262"/>
              <a:gd name="T62" fmla="*/ 130 w 261"/>
              <a:gd name="T63" fmla="*/ 198 h 262"/>
              <a:gd name="T64" fmla="*/ 93 w 261"/>
              <a:gd name="T65" fmla="*/ 3 h 262"/>
              <a:gd name="T66" fmla="*/ 93 w 261"/>
              <a:gd name="T67" fmla="*/ 36 h 262"/>
              <a:gd name="T68" fmla="*/ 67 w 261"/>
              <a:gd name="T69" fmla="*/ 20 h 262"/>
              <a:gd name="T70" fmla="*/ 67 w 261"/>
              <a:gd name="T71" fmla="*/ 70 h 262"/>
              <a:gd name="T72" fmla="*/ 92 w 261"/>
              <a:gd name="T73" fmla="*/ 147 h 262"/>
              <a:gd name="T74" fmla="*/ 92 w 261"/>
              <a:gd name="T75" fmla="*/ 179 h 262"/>
              <a:gd name="T76" fmla="*/ 93 w 261"/>
              <a:gd name="T77" fmla="*/ 198 h 262"/>
              <a:gd name="T78" fmla="*/ 67 w 261"/>
              <a:gd name="T79" fmla="*/ 171 h 262"/>
              <a:gd name="T80" fmla="*/ 69 w 261"/>
              <a:gd name="T81" fmla="*/ 232 h 262"/>
              <a:gd name="T82" fmla="*/ 58 w 261"/>
              <a:gd name="T83" fmla="*/ 28 h 262"/>
              <a:gd name="T84" fmla="*/ 67 w 261"/>
              <a:gd name="T85" fmla="*/ 9 h 262"/>
              <a:gd name="T86" fmla="*/ 67 w 261"/>
              <a:gd name="T87" fmla="*/ 120 h 262"/>
              <a:gd name="T88" fmla="*/ 67 w 261"/>
              <a:gd name="T89" fmla="*/ 188 h 262"/>
              <a:gd name="T90" fmla="*/ 67 w 261"/>
              <a:gd name="T91" fmla="*/ 232 h 262"/>
              <a:gd name="T92" fmla="*/ 67 w 261"/>
              <a:gd name="T93" fmla="*/ 232 h 262"/>
              <a:gd name="T94" fmla="*/ 52 w 261"/>
              <a:gd name="T95" fmla="*/ 50 h 262"/>
              <a:gd name="T96" fmla="*/ 12 w 261"/>
              <a:gd name="T97" fmla="*/ 220 h 262"/>
              <a:gd name="T98" fmla="*/ 52 w 261"/>
              <a:gd name="T99" fmla="*/ 232 h 262"/>
              <a:gd name="T100" fmla="*/ 52 w 261"/>
              <a:gd name="T101" fmla="*/ 232 h 262"/>
              <a:gd name="T102" fmla="*/ 12 w 261"/>
              <a:gd name="T103" fmla="*/ 114 h 262"/>
              <a:gd name="T104" fmla="*/ 0 w 261"/>
              <a:gd name="T105" fmla="*/ 104 h 262"/>
              <a:gd name="T106" fmla="*/ 12 w 261"/>
              <a:gd name="T107" fmla="*/ 154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61" h="262">
                <a:moveTo>
                  <a:pt x="249" y="220"/>
                </a:moveTo>
                <a:cubicBezTo>
                  <a:pt x="249" y="154"/>
                  <a:pt x="249" y="154"/>
                  <a:pt x="249" y="154"/>
                </a:cubicBezTo>
                <a:cubicBezTo>
                  <a:pt x="251" y="157"/>
                  <a:pt x="252" y="160"/>
                  <a:pt x="252" y="164"/>
                </a:cubicBezTo>
                <a:cubicBezTo>
                  <a:pt x="252" y="220"/>
                  <a:pt x="252" y="220"/>
                  <a:pt x="252" y="220"/>
                </a:cubicBezTo>
                <a:cubicBezTo>
                  <a:pt x="249" y="220"/>
                  <a:pt x="249" y="220"/>
                  <a:pt x="249" y="220"/>
                </a:cubicBezTo>
                <a:close/>
                <a:moveTo>
                  <a:pt x="249" y="114"/>
                </a:moveTo>
                <a:cubicBezTo>
                  <a:pt x="249" y="70"/>
                  <a:pt x="249" y="70"/>
                  <a:pt x="249" y="70"/>
                </a:cubicBezTo>
                <a:cubicBezTo>
                  <a:pt x="250" y="70"/>
                  <a:pt x="250" y="70"/>
                  <a:pt x="250" y="69"/>
                </a:cubicBezTo>
                <a:cubicBezTo>
                  <a:pt x="257" y="67"/>
                  <a:pt x="257" y="67"/>
                  <a:pt x="257" y="67"/>
                </a:cubicBezTo>
                <a:cubicBezTo>
                  <a:pt x="259" y="66"/>
                  <a:pt x="261" y="67"/>
                  <a:pt x="261" y="70"/>
                </a:cubicBezTo>
                <a:cubicBezTo>
                  <a:pt x="261" y="104"/>
                  <a:pt x="261" y="104"/>
                  <a:pt x="261" y="104"/>
                </a:cubicBezTo>
                <a:cubicBezTo>
                  <a:pt x="261" y="107"/>
                  <a:pt x="259" y="110"/>
                  <a:pt x="257" y="111"/>
                </a:cubicBezTo>
                <a:cubicBezTo>
                  <a:pt x="250" y="113"/>
                  <a:pt x="250" y="113"/>
                  <a:pt x="250" y="113"/>
                </a:cubicBezTo>
                <a:cubicBezTo>
                  <a:pt x="250" y="114"/>
                  <a:pt x="250" y="114"/>
                  <a:pt x="249" y="114"/>
                </a:cubicBezTo>
                <a:close/>
                <a:moveTo>
                  <a:pt x="249" y="70"/>
                </a:moveTo>
                <a:cubicBezTo>
                  <a:pt x="249" y="114"/>
                  <a:pt x="249" y="114"/>
                  <a:pt x="249" y="114"/>
                </a:cubicBezTo>
                <a:cubicBezTo>
                  <a:pt x="248" y="114"/>
                  <a:pt x="246" y="112"/>
                  <a:pt x="246" y="110"/>
                </a:cubicBezTo>
                <a:cubicBezTo>
                  <a:pt x="246" y="76"/>
                  <a:pt x="246" y="76"/>
                  <a:pt x="246" y="76"/>
                </a:cubicBezTo>
                <a:cubicBezTo>
                  <a:pt x="246" y="74"/>
                  <a:pt x="248" y="71"/>
                  <a:pt x="249" y="70"/>
                </a:cubicBezTo>
                <a:close/>
                <a:moveTo>
                  <a:pt x="249" y="154"/>
                </a:moveTo>
                <a:cubicBezTo>
                  <a:pt x="246" y="150"/>
                  <a:pt x="241" y="146"/>
                  <a:pt x="235" y="146"/>
                </a:cubicBezTo>
                <a:cubicBezTo>
                  <a:pt x="235" y="50"/>
                  <a:pt x="235" y="50"/>
                  <a:pt x="235" y="50"/>
                </a:cubicBezTo>
                <a:cubicBezTo>
                  <a:pt x="209" y="50"/>
                  <a:pt x="209" y="50"/>
                  <a:pt x="209" y="50"/>
                </a:cubicBezTo>
                <a:cubicBezTo>
                  <a:pt x="209" y="162"/>
                  <a:pt x="209" y="162"/>
                  <a:pt x="209" y="162"/>
                </a:cubicBezTo>
                <a:cubicBezTo>
                  <a:pt x="219" y="162"/>
                  <a:pt x="227" y="170"/>
                  <a:pt x="227" y="180"/>
                </a:cubicBezTo>
                <a:cubicBezTo>
                  <a:pt x="227" y="189"/>
                  <a:pt x="219" y="197"/>
                  <a:pt x="209" y="197"/>
                </a:cubicBezTo>
                <a:cubicBezTo>
                  <a:pt x="209" y="220"/>
                  <a:pt x="209" y="220"/>
                  <a:pt x="209" y="220"/>
                </a:cubicBezTo>
                <a:cubicBezTo>
                  <a:pt x="249" y="220"/>
                  <a:pt x="249" y="220"/>
                  <a:pt x="249" y="220"/>
                </a:cubicBezTo>
                <a:cubicBezTo>
                  <a:pt x="249" y="154"/>
                  <a:pt x="249" y="154"/>
                  <a:pt x="249" y="154"/>
                </a:cubicBezTo>
                <a:close/>
                <a:moveTo>
                  <a:pt x="209" y="262"/>
                </a:moveTo>
                <a:cubicBezTo>
                  <a:pt x="209" y="232"/>
                  <a:pt x="209" y="232"/>
                  <a:pt x="209" y="232"/>
                </a:cubicBezTo>
                <a:cubicBezTo>
                  <a:pt x="226" y="232"/>
                  <a:pt x="226" y="232"/>
                  <a:pt x="226" y="232"/>
                </a:cubicBezTo>
                <a:cubicBezTo>
                  <a:pt x="226" y="249"/>
                  <a:pt x="226" y="249"/>
                  <a:pt x="226" y="249"/>
                </a:cubicBezTo>
                <a:cubicBezTo>
                  <a:pt x="226" y="257"/>
                  <a:pt x="220" y="262"/>
                  <a:pt x="213" y="262"/>
                </a:cubicBezTo>
                <a:cubicBezTo>
                  <a:pt x="209" y="262"/>
                  <a:pt x="209" y="262"/>
                  <a:pt x="209" y="262"/>
                </a:cubicBezTo>
                <a:close/>
                <a:moveTo>
                  <a:pt x="209" y="44"/>
                </a:moveTo>
                <a:cubicBezTo>
                  <a:pt x="209" y="15"/>
                  <a:pt x="209" y="15"/>
                  <a:pt x="209" y="15"/>
                </a:cubicBezTo>
                <a:cubicBezTo>
                  <a:pt x="225" y="23"/>
                  <a:pt x="235" y="33"/>
                  <a:pt x="235" y="44"/>
                </a:cubicBezTo>
                <a:lnTo>
                  <a:pt x="209" y="44"/>
                </a:lnTo>
                <a:close/>
                <a:moveTo>
                  <a:pt x="209" y="15"/>
                </a:moveTo>
                <a:cubicBezTo>
                  <a:pt x="209" y="44"/>
                  <a:pt x="209" y="44"/>
                  <a:pt x="209" y="44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37"/>
                  <a:pt x="195" y="37"/>
                  <a:pt x="195" y="37"/>
                </a:cubicBezTo>
                <a:cubicBezTo>
                  <a:pt x="195" y="37"/>
                  <a:pt x="195" y="37"/>
                  <a:pt x="195" y="37"/>
                </a:cubicBezTo>
                <a:cubicBezTo>
                  <a:pt x="199" y="37"/>
                  <a:pt x="203" y="33"/>
                  <a:pt x="203" y="28"/>
                </a:cubicBezTo>
                <a:cubicBezTo>
                  <a:pt x="203" y="24"/>
                  <a:pt x="199" y="20"/>
                  <a:pt x="195" y="20"/>
                </a:cubicBezTo>
                <a:cubicBezTo>
                  <a:pt x="195" y="20"/>
                  <a:pt x="195" y="20"/>
                  <a:pt x="195" y="20"/>
                </a:cubicBezTo>
                <a:cubicBezTo>
                  <a:pt x="195" y="9"/>
                  <a:pt x="195" y="9"/>
                  <a:pt x="195" y="9"/>
                </a:cubicBezTo>
                <a:cubicBezTo>
                  <a:pt x="200" y="11"/>
                  <a:pt x="205" y="13"/>
                  <a:pt x="209" y="15"/>
                </a:cubicBezTo>
                <a:close/>
                <a:moveTo>
                  <a:pt x="209" y="50"/>
                </a:moveTo>
                <a:cubicBezTo>
                  <a:pt x="209" y="162"/>
                  <a:pt x="209" y="162"/>
                  <a:pt x="209" y="162"/>
                </a:cubicBezTo>
                <a:cubicBezTo>
                  <a:pt x="209" y="162"/>
                  <a:pt x="209" y="162"/>
                  <a:pt x="209" y="162"/>
                </a:cubicBezTo>
                <a:cubicBezTo>
                  <a:pt x="203" y="162"/>
                  <a:pt x="198" y="166"/>
                  <a:pt x="195" y="171"/>
                </a:cubicBezTo>
                <a:cubicBezTo>
                  <a:pt x="195" y="120"/>
                  <a:pt x="195" y="120"/>
                  <a:pt x="195" y="120"/>
                </a:cubicBezTo>
                <a:cubicBezTo>
                  <a:pt x="201" y="120"/>
                  <a:pt x="201" y="120"/>
                  <a:pt x="201" y="120"/>
                </a:cubicBezTo>
                <a:cubicBezTo>
                  <a:pt x="201" y="70"/>
                  <a:pt x="201" y="70"/>
                  <a:pt x="201" y="70"/>
                </a:cubicBezTo>
                <a:cubicBezTo>
                  <a:pt x="195" y="70"/>
                  <a:pt x="195" y="70"/>
                  <a:pt x="195" y="70"/>
                </a:cubicBezTo>
                <a:cubicBezTo>
                  <a:pt x="195" y="50"/>
                  <a:pt x="195" y="50"/>
                  <a:pt x="195" y="50"/>
                </a:cubicBezTo>
                <a:cubicBezTo>
                  <a:pt x="209" y="50"/>
                  <a:pt x="209" y="50"/>
                  <a:pt x="209" y="50"/>
                </a:cubicBezTo>
                <a:close/>
                <a:moveTo>
                  <a:pt x="209" y="197"/>
                </a:moveTo>
                <a:cubicBezTo>
                  <a:pt x="209" y="220"/>
                  <a:pt x="209" y="220"/>
                  <a:pt x="209" y="220"/>
                </a:cubicBezTo>
                <a:cubicBezTo>
                  <a:pt x="195" y="220"/>
                  <a:pt x="195" y="220"/>
                  <a:pt x="195" y="220"/>
                </a:cubicBezTo>
                <a:cubicBezTo>
                  <a:pt x="195" y="188"/>
                  <a:pt x="195" y="188"/>
                  <a:pt x="195" y="188"/>
                </a:cubicBezTo>
                <a:cubicBezTo>
                  <a:pt x="198" y="193"/>
                  <a:pt x="203" y="197"/>
                  <a:pt x="209" y="197"/>
                </a:cubicBezTo>
                <a:cubicBezTo>
                  <a:pt x="209" y="197"/>
                  <a:pt x="209" y="197"/>
                  <a:pt x="209" y="197"/>
                </a:cubicBezTo>
                <a:close/>
                <a:moveTo>
                  <a:pt x="209" y="232"/>
                </a:moveTo>
                <a:cubicBezTo>
                  <a:pt x="209" y="262"/>
                  <a:pt x="209" y="262"/>
                  <a:pt x="209" y="262"/>
                </a:cubicBezTo>
                <a:cubicBezTo>
                  <a:pt x="206" y="262"/>
                  <a:pt x="206" y="262"/>
                  <a:pt x="206" y="262"/>
                </a:cubicBezTo>
                <a:cubicBezTo>
                  <a:pt x="201" y="262"/>
                  <a:pt x="197" y="260"/>
                  <a:pt x="195" y="257"/>
                </a:cubicBezTo>
                <a:cubicBezTo>
                  <a:pt x="195" y="232"/>
                  <a:pt x="195" y="232"/>
                  <a:pt x="195" y="232"/>
                </a:cubicBezTo>
                <a:lnTo>
                  <a:pt x="209" y="232"/>
                </a:lnTo>
                <a:close/>
                <a:moveTo>
                  <a:pt x="171" y="20"/>
                </a:moveTo>
                <a:cubicBezTo>
                  <a:pt x="175" y="20"/>
                  <a:pt x="179" y="24"/>
                  <a:pt x="179" y="28"/>
                </a:cubicBezTo>
                <a:cubicBezTo>
                  <a:pt x="179" y="33"/>
                  <a:pt x="175" y="37"/>
                  <a:pt x="171" y="37"/>
                </a:cubicBezTo>
                <a:cubicBezTo>
                  <a:pt x="170" y="37"/>
                  <a:pt x="169" y="37"/>
                  <a:pt x="168" y="36"/>
                </a:cubicBezTo>
                <a:cubicBezTo>
                  <a:pt x="168" y="44"/>
                  <a:pt x="168" y="44"/>
                  <a:pt x="168" y="44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37"/>
                  <a:pt x="195" y="37"/>
                  <a:pt x="195" y="37"/>
                </a:cubicBezTo>
                <a:cubicBezTo>
                  <a:pt x="190" y="37"/>
                  <a:pt x="186" y="33"/>
                  <a:pt x="186" y="28"/>
                </a:cubicBezTo>
                <a:cubicBezTo>
                  <a:pt x="186" y="24"/>
                  <a:pt x="190" y="20"/>
                  <a:pt x="195" y="20"/>
                </a:cubicBezTo>
                <a:cubicBezTo>
                  <a:pt x="195" y="9"/>
                  <a:pt x="195" y="9"/>
                  <a:pt x="195" y="9"/>
                </a:cubicBezTo>
                <a:cubicBezTo>
                  <a:pt x="187" y="6"/>
                  <a:pt x="178" y="4"/>
                  <a:pt x="168" y="3"/>
                </a:cubicBezTo>
                <a:cubicBezTo>
                  <a:pt x="168" y="21"/>
                  <a:pt x="168" y="21"/>
                  <a:pt x="168" y="21"/>
                </a:cubicBezTo>
                <a:cubicBezTo>
                  <a:pt x="169" y="20"/>
                  <a:pt x="170" y="20"/>
                  <a:pt x="171" y="20"/>
                </a:cubicBezTo>
                <a:close/>
                <a:moveTo>
                  <a:pt x="195" y="50"/>
                </a:moveTo>
                <a:cubicBezTo>
                  <a:pt x="195" y="70"/>
                  <a:pt x="195" y="70"/>
                  <a:pt x="195" y="70"/>
                </a:cubicBezTo>
                <a:cubicBezTo>
                  <a:pt x="168" y="70"/>
                  <a:pt x="168" y="70"/>
                  <a:pt x="168" y="70"/>
                </a:cubicBezTo>
                <a:cubicBezTo>
                  <a:pt x="168" y="50"/>
                  <a:pt x="168" y="50"/>
                  <a:pt x="168" y="50"/>
                </a:cubicBezTo>
                <a:cubicBezTo>
                  <a:pt x="195" y="50"/>
                  <a:pt x="195" y="50"/>
                  <a:pt x="195" y="50"/>
                </a:cubicBezTo>
                <a:close/>
                <a:moveTo>
                  <a:pt x="195" y="120"/>
                </a:moveTo>
                <a:cubicBezTo>
                  <a:pt x="195" y="171"/>
                  <a:pt x="195" y="171"/>
                  <a:pt x="195" y="171"/>
                </a:cubicBezTo>
                <a:cubicBezTo>
                  <a:pt x="193" y="173"/>
                  <a:pt x="192" y="176"/>
                  <a:pt x="192" y="180"/>
                </a:cubicBezTo>
                <a:cubicBezTo>
                  <a:pt x="192" y="183"/>
                  <a:pt x="193" y="186"/>
                  <a:pt x="195" y="188"/>
                </a:cubicBezTo>
                <a:cubicBezTo>
                  <a:pt x="195" y="220"/>
                  <a:pt x="195" y="220"/>
                  <a:pt x="195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20"/>
                  <a:pt x="168" y="120"/>
                  <a:pt x="168" y="120"/>
                </a:cubicBezTo>
                <a:cubicBezTo>
                  <a:pt x="195" y="120"/>
                  <a:pt x="195" y="120"/>
                  <a:pt x="195" y="120"/>
                </a:cubicBezTo>
                <a:close/>
                <a:moveTo>
                  <a:pt x="195" y="232"/>
                </a:moveTo>
                <a:cubicBezTo>
                  <a:pt x="195" y="257"/>
                  <a:pt x="195" y="257"/>
                  <a:pt x="195" y="257"/>
                </a:cubicBezTo>
                <a:cubicBezTo>
                  <a:pt x="193" y="254"/>
                  <a:pt x="192" y="252"/>
                  <a:pt x="192" y="249"/>
                </a:cubicBezTo>
                <a:cubicBezTo>
                  <a:pt x="192" y="232"/>
                  <a:pt x="192" y="232"/>
                  <a:pt x="192" y="232"/>
                </a:cubicBezTo>
                <a:lnTo>
                  <a:pt x="195" y="232"/>
                </a:lnTo>
                <a:close/>
                <a:moveTo>
                  <a:pt x="168" y="36"/>
                </a:moveTo>
                <a:cubicBezTo>
                  <a:pt x="165" y="35"/>
                  <a:pt x="162" y="32"/>
                  <a:pt x="162" y="28"/>
                </a:cubicBezTo>
                <a:cubicBezTo>
                  <a:pt x="162" y="25"/>
                  <a:pt x="165" y="22"/>
                  <a:pt x="168" y="21"/>
                </a:cubicBezTo>
                <a:cubicBezTo>
                  <a:pt x="168" y="3"/>
                  <a:pt x="168" y="3"/>
                  <a:pt x="168" y="3"/>
                </a:cubicBezTo>
                <a:cubicBezTo>
                  <a:pt x="157" y="1"/>
                  <a:pt x="144" y="0"/>
                  <a:pt x="131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130" y="44"/>
                  <a:pt x="130" y="44"/>
                  <a:pt x="130" y="44"/>
                </a:cubicBezTo>
                <a:cubicBezTo>
                  <a:pt x="168" y="44"/>
                  <a:pt x="168" y="44"/>
                  <a:pt x="168" y="44"/>
                </a:cubicBezTo>
                <a:cubicBezTo>
                  <a:pt x="168" y="36"/>
                  <a:pt x="168" y="36"/>
                  <a:pt x="168" y="36"/>
                </a:cubicBezTo>
                <a:close/>
                <a:moveTo>
                  <a:pt x="168" y="50"/>
                </a:moveTo>
                <a:cubicBezTo>
                  <a:pt x="168" y="70"/>
                  <a:pt x="168" y="70"/>
                  <a:pt x="168" y="70"/>
                </a:cubicBezTo>
                <a:cubicBezTo>
                  <a:pt x="135" y="70"/>
                  <a:pt x="135" y="70"/>
                  <a:pt x="135" y="70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68" y="120"/>
                  <a:pt x="168" y="120"/>
                  <a:pt x="168" y="1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30" y="220"/>
                  <a:pt x="130" y="220"/>
                  <a:pt x="130" y="220"/>
                </a:cubicBezTo>
                <a:cubicBezTo>
                  <a:pt x="130" y="198"/>
                  <a:pt x="130" y="198"/>
                  <a:pt x="130" y="198"/>
                </a:cubicBezTo>
                <a:cubicBezTo>
                  <a:pt x="167" y="198"/>
                  <a:pt x="167" y="198"/>
                  <a:pt x="167" y="198"/>
                </a:cubicBezTo>
                <a:cubicBezTo>
                  <a:pt x="167" y="187"/>
                  <a:pt x="167" y="187"/>
                  <a:pt x="167" y="187"/>
                </a:cubicBezTo>
                <a:cubicBezTo>
                  <a:pt x="130" y="187"/>
                  <a:pt x="130" y="187"/>
                  <a:pt x="130" y="187"/>
                </a:cubicBezTo>
                <a:cubicBezTo>
                  <a:pt x="130" y="179"/>
                  <a:pt x="130" y="179"/>
                  <a:pt x="130" y="179"/>
                </a:cubicBezTo>
                <a:cubicBezTo>
                  <a:pt x="167" y="179"/>
                  <a:pt x="167" y="179"/>
                  <a:pt x="167" y="179"/>
                </a:cubicBezTo>
                <a:cubicBezTo>
                  <a:pt x="167" y="167"/>
                  <a:pt x="167" y="167"/>
                  <a:pt x="167" y="167"/>
                </a:cubicBezTo>
                <a:cubicBezTo>
                  <a:pt x="130" y="167"/>
                  <a:pt x="130" y="167"/>
                  <a:pt x="130" y="167"/>
                </a:cubicBezTo>
                <a:cubicBezTo>
                  <a:pt x="130" y="159"/>
                  <a:pt x="130" y="159"/>
                  <a:pt x="130" y="159"/>
                </a:cubicBezTo>
                <a:cubicBezTo>
                  <a:pt x="167" y="159"/>
                  <a:pt x="167" y="159"/>
                  <a:pt x="167" y="159"/>
                </a:cubicBezTo>
                <a:cubicBezTo>
                  <a:pt x="167" y="147"/>
                  <a:pt x="167" y="147"/>
                  <a:pt x="167" y="147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50"/>
                  <a:pt x="130" y="50"/>
                  <a:pt x="130" y="50"/>
                </a:cubicBezTo>
                <a:lnTo>
                  <a:pt x="168" y="50"/>
                </a:lnTo>
                <a:close/>
                <a:moveTo>
                  <a:pt x="130" y="0"/>
                </a:moveTo>
                <a:cubicBezTo>
                  <a:pt x="130" y="44"/>
                  <a:pt x="130" y="44"/>
                  <a:pt x="130" y="44"/>
                </a:cubicBezTo>
                <a:cubicBezTo>
                  <a:pt x="93" y="44"/>
                  <a:pt x="93" y="44"/>
                  <a:pt x="93" y="44"/>
                </a:cubicBezTo>
                <a:cubicBezTo>
                  <a:pt x="93" y="36"/>
                  <a:pt x="93" y="36"/>
                  <a:pt x="93" y="36"/>
                </a:cubicBezTo>
                <a:cubicBezTo>
                  <a:pt x="96" y="35"/>
                  <a:pt x="99" y="32"/>
                  <a:pt x="99" y="28"/>
                </a:cubicBezTo>
                <a:cubicBezTo>
                  <a:pt x="99" y="25"/>
                  <a:pt x="96" y="22"/>
                  <a:pt x="93" y="21"/>
                </a:cubicBezTo>
                <a:cubicBezTo>
                  <a:pt x="93" y="3"/>
                  <a:pt x="93" y="3"/>
                  <a:pt x="93" y="3"/>
                </a:cubicBezTo>
                <a:cubicBezTo>
                  <a:pt x="104" y="1"/>
                  <a:pt x="117" y="0"/>
                  <a:pt x="130" y="0"/>
                </a:cubicBezTo>
                <a:close/>
                <a:moveTo>
                  <a:pt x="130" y="50"/>
                </a:moveTo>
                <a:cubicBezTo>
                  <a:pt x="130" y="147"/>
                  <a:pt x="130" y="147"/>
                  <a:pt x="130" y="147"/>
                </a:cubicBezTo>
                <a:cubicBezTo>
                  <a:pt x="93" y="147"/>
                  <a:pt x="93" y="147"/>
                  <a:pt x="93" y="147"/>
                </a:cubicBezTo>
                <a:cubicBezTo>
                  <a:pt x="93" y="120"/>
                  <a:pt x="93" y="120"/>
                  <a:pt x="93" y="120"/>
                </a:cubicBezTo>
                <a:cubicBezTo>
                  <a:pt x="126" y="120"/>
                  <a:pt x="126" y="120"/>
                  <a:pt x="126" y="120"/>
                </a:cubicBezTo>
                <a:cubicBezTo>
                  <a:pt x="126" y="70"/>
                  <a:pt x="126" y="70"/>
                  <a:pt x="126" y="70"/>
                </a:cubicBezTo>
                <a:cubicBezTo>
                  <a:pt x="93" y="70"/>
                  <a:pt x="93" y="70"/>
                  <a:pt x="93" y="70"/>
                </a:cubicBezTo>
                <a:cubicBezTo>
                  <a:pt x="93" y="50"/>
                  <a:pt x="93" y="50"/>
                  <a:pt x="93" y="50"/>
                </a:cubicBezTo>
                <a:cubicBezTo>
                  <a:pt x="130" y="50"/>
                  <a:pt x="130" y="50"/>
                  <a:pt x="130" y="50"/>
                </a:cubicBezTo>
                <a:close/>
                <a:moveTo>
                  <a:pt x="130" y="159"/>
                </a:moveTo>
                <a:cubicBezTo>
                  <a:pt x="130" y="167"/>
                  <a:pt x="130" y="167"/>
                  <a:pt x="130" y="167"/>
                </a:cubicBezTo>
                <a:cubicBezTo>
                  <a:pt x="93" y="167"/>
                  <a:pt x="93" y="167"/>
                  <a:pt x="93" y="167"/>
                </a:cubicBezTo>
                <a:cubicBezTo>
                  <a:pt x="93" y="159"/>
                  <a:pt x="93" y="159"/>
                  <a:pt x="93" y="159"/>
                </a:cubicBezTo>
                <a:cubicBezTo>
                  <a:pt x="130" y="159"/>
                  <a:pt x="130" y="159"/>
                  <a:pt x="130" y="159"/>
                </a:cubicBezTo>
                <a:close/>
                <a:moveTo>
                  <a:pt x="130" y="179"/>
                </a:moveTo>
                <a:cubicBezTo>
                  <a:pt x="130" y="187"/>
                  <a:pt x="130" y="187"/>
                  <a:pt x="130" y="187"/>
                </a:cubicBezTo>
                <a:cubicBezTo>
                  <a:pt x="93" y="187"/>
                  <a:pt x="93" y="187"/>
                  <a:pt x="93" y="187"/>
                </a:cubicBezTo>
                <a:cubicBezTo>
                  <a:pt x="93" y="179"/>
                  <a:pt x="93" y="179"/>
                  <a:pt x="93" y="179"/>
                </a:cubicBezTo>
                <a:cubicBezTo>
                  <a:pt x="130" y="179"/>
                  <a:pt x="130" y="179"/>
                  <a:pt x="130" y="179"/>
                </a:cubicBezTo>
                <a:close/>
                <a:moveTo>
                  <a:pt x="130" y="198"/>
                </a:moveTo>
                <a:cubicBezTo>
                  <a:pt x="130" y="220"/>
                  <a:pt x="130" y="220"/>
                  <a:pt x="130" y="220"/>
                </a:cubicBezTo>
                <a:cubicBezTo>
                  <a:pt x="93" y="220"/>
                  <a:pt x="93" y="220"/>
                  <a:pt x="93" y="220"/>
                </a:cubicBezTo>
                <a:cubicBezTo>
                  <a:pt x="93" y="198"/>
                  <a:pt x="93" y="198"/>
                  <a:pt x="93" y="198"/>
                </a:cubicBezTo>
                <a:lnTo>
                  <a:pt x="130" y="198"/>
                </a:lnTo>
                <a:close/>
                <a:moveTo>
                  <a:pt x="93" y="3"/>
                </a:moveTo>
                <a:cubicBezTo>
                  <a:pt x="93" y="21"/>
                  <a:pt x="93" y="21"/>
                  <a:pt x="93" y="21"/>
                </a:cubicBezTo>
                <a:cubicBezTo>
                  <a:pt x="92" y="20"/>
                  <a:pt x="92" y="20"/>
                  <a:pt x="91" y="20"/>
                </a:cubicBezTo>
                <a:cubicBezTo>
                  <a:pt x="86" y="20"/>
                  <a:pt x="83" y="24"/>
                  <a:pt x="83" y="28"/>
                </a:cubicBezTo>
                <a:cubicBezTo>
                  <a:pt x="83" y="33"/>
                  <a:pt x="86" y="37"/>
                  <a:pt x="91" y="37"/>
                </a:cubicBezTo>
                <a:cubicBezTo>
                  <a:pt x="92" y="37"/>
                  <a:pt x="92" y="37"/>
                  <a:pt x="93" y="36"/>
                </a:cubicBezTo>
                <a:cubicBezTo>
                  <a:pt x="93" y="44"/>
                  <a:pt x="93" y="44"/>
                  <a:pt x="93" y="44"/>
                </a:cubicBezTo>
                <a:cubicBezTo>
                  <a:pt x="67" y="44"/>
                  <a:pt x="67" y="44"/>
                  <a:pt x="67" y="44"/>
                </a:cubicBezTo>
                <a:cubicBezTo>
                  <a:pt x="67" y="37"/>
                  <a:pt x="67" y="37"/>
                  <a:pt x="67" y="37"/>
                </a:cubicBezTo>
                <a:cubicBezTo>
                  <a:pt x="71" y="37"/>
                  <a:pt x="75" y="33"/>
                  <a:pt x="75" y="28"/>
                </a:cubicBezTo>
                <a:cubicBezTo>
                  <a:pt x="75" y="24"/>
                  <a:pt x="71" y="20"/>
                  <a:pt x="67" y="20"/>
                </a:cubicBezTo>
                <a:cubicBezTo>
                  <a:pt x="67" y="9"/>
                  <a:pt x="67" y="9"/>
                  <a:pt x="67" y="9"/>
                </a:cubicBezTo>
                <a:cubicBezTo>
                  <a:pt x="75" y="6"/>
                  <a:pt x="84" y="4"/>
                  <a:pt x="93" y="3"/>
                </a:cubicBezTo>
                <a:close/>
                <a:moveTo>
                  <a:pt x="93" y="50"/>
                </a:moveTo>
                <a:cubicBezTo>
                  <a:pt x="93" y="70"/>
                  <a:pt x="93" y="70"/>
                  <a:pt x="93" y="70"/>
                </a:cubicBezTo>
                <a:cubicBezTo>
                  <a:pt x="67" y="70"/>
                  <a:pt x="67" y="70"/>
                  <a:pt x="67" y="70"/>
                </a:cubicBezTo>
                <a:cubicBezTo>
                  <a:pt x="67" y="50"/>
                  <a:pt x="67" y="50"/>
                  <a:pt x="67" y="50"/>
                </a:cubicBezTo>
                <a:cubicBezTo>
                  <a:pt x="93" y="50"/>
                  <a:pt x="93" y="50"/>
                  <a:pt x="93" y="50"/>
                </a:cubicBezTo>
                <a:close/>
                <a:moveTo>
                  <a:pt x="93" y="120"/>
                </a:moveTo>
                <a:cubicBezTo>
                  <a:pt x="93" y="147"/>
                  <a:pt x="93" y="147"/>
                  <a:pt x="93" y="147"/>
                </a:cubicBezTo>
                <a:cubicBezTo>
                  <a:pt x="92" y="147"/>
                  <a:pt x="92" y="147"/>
                  <a:pt x="92" y="147"/>
                </a:cubicBezTo>
                <a:cubicBezTo>
                  <a:pt x="92" y="159"/>
                  <a:pt x="92" y="159"/>
                  <a:pt x="92" y="159"/>
                </a:cubicBezTo>
                <a:cubicBezTo>
                  <a:pt x="93" y="159"/>
                  <a:pt x="93" y="159"/>
                  <a:pt x="93" y="159"/>
                </a:cubicBezTo>
                <a:cubicBezTo>
                  <a:pt x="93" y="167"/>
                  <a:pt x="93" y="167"/>
                  <a:pt x="93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79"/>
                  <a:pt x="92" y="179"/>
                  <a:pt x="92" y="179"/>
                </a:cubicBezTo>
                <a:cubicBezTo>
                  <a:pt x="93" y="179"/>
                  <a:pt x="93" y="179"/>
                  <a:pt x="93" y="179"/>
                </a:cubicBezTo>
                <a:cubicBezTo>
                  <a:pt x="93" y="187"/>
                  <a:pt x="93" y="187"/>
                  <a:pt x="93" y="187"/>
                </a:cubicBezTo>
                <a:cubicBezTo>
                  <a:pt x="92" y="187"/>
                  <a:pt x="92" y="187"/>
                  <a:pt x="92" y="187"/>
                </a:cubicBezTo>
                <a:cubicBezTo>
                  <a:pt x="92" y="198"/>
                  <a:pt x="92" y="198"/>
                  <a:pt x="92" y="198"/>
                </a:cubicBezTo>
                <a:cubicBezTo>
                  <a:pt x="93" y="198"/>
                  <a:pt x="93" y="198"/>
                  <a:pt x="93" y="198"/>
                </a:cubicBezTo>
                <a:cubicBezTo>
                  <a:pt x="93" y="220"/>
                  <a:pt x="93" y="220"/>
                  <a:pt x="93" y="220"/>
                </a:cubicBezTo>
                <a:cubicBezTo>
                  <a:pt x="67" y="220"/>
                  <a:pt x="67" y="220"/>
                  <a:pt x="67" y="220"/>
                </a:cubicBezTo>
                <a:cubicBezTo>
                  <a:pt x="67" y="188"/>
                  <a:pt x="67" y="188"/>
                  <a:pt x="67" y="188"/>
                </a:cubicBezTo>
                <a:cubicBezTo>
                  <a:pt x="68" y="186"/>
                  <a:pt x="69" y="183"/>
                  <a:pt x="69" y="180"/>
                </a:cubicBezTo>
                <a:cubicBezTo>
                  <a:pt x="69" y="176"/>
                  <a:pt x="68" y="173"/>
                  <a:pt x="67" y="171"/>
                </a:cubicBezTo>
                <a:cubicBezTo>
                  <a:pt x="67" y="120"/>
                  <a:pt x="67" y="120"/>
                  <a:pt x="67" y="120"/>
                </a:cubicBezTo>
                <a:cubicBezTo>
                  <a:pt x="93" y="120"/>
                  <a:pt x="93" y="120"/>
                  <a:pt x="93" y="120"/>
                </a:cubicBezTo>
                <a:close/>
                <a:moveTo>
                  <a:pt x="67" y="257"/>
                </a:moveTo>
                <a:cubicBezTo>
                  <a:pt x="67" y="232"/>
                  <a:pt x="67" y="232"/>
                  <a:pt x="67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9" y="249"/>
                  <a:pt x="69" y="249"/>
                  <a:pt x="69" y="249"/>
                </a:cubicBezTo>
                <a:cubicBezTo>
                  <a:pt x="69" y="252"/>
                  <a:pt x="68" y="254"/>
                  <a:pt x="67" y="257"/>
                </a:cubicBezTo>
                <a:close/>
                <a:moveTo>
                  <a:pt x="67" y="9"/>
                </a:moveTo>
                <a:cubicBezTo>
                  <a:pt x="67" y="20"/>
                  <a:pt x="67" y="20"/>
                  <a:pt x="67" y="20"/>
                </a:cubicBezTo>
                <a:cubicBezTo>
                  <a:pt x="62" y="20"/>
                  <a:pt x="58" y="24"/>
                  <a:pt x="58" y="28"/>
                </a:cubicBezTo>
                <a:cubicBezTo>
                  <a:pt x="58" y="33"/>
                  <a:pt x="62" y="37"/>
                  <a:pt x="67" y="37"/>
                </a:cubicBezTo>
                <a:cubicBezTo>
                  <a:pt x="67" y="44"/>
                  <a:pt x="67" y="44"/>
                  <a:pt x="67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2" y="15"/>
                  <a:pt x="52" y="15"/>
                  <a:pt x="52" y="15"/>
                </a:cubicBezTo>
                <a:cubicBezTo>
                  <a:pt x="56" y="13"/>
                  <a:pt x="61" y="11"/>
                  <a:pt x="67" y="9"/>
                </a:cubicBezTo>
                <a:close/>
                <a:moveTo>
                  <a:pt x="67" y="50"/>
                </a:moveTo>
                <a:cubicBezTo>
                  <a:pt x="67" y="70"/>
                  <a:pt x="67" y="70"/>
                  <a:pt x="67" y="70"/>
                </a:cubicBezTo>
                <a:cubicBezTo>
                  <a:pt x="60" y="70"/>
                  <a:pt x="60" y="70"/>
                  <a:pt x="60" y="7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7" y="120"/>
                  <a:pt x="67" y="120"/>
                  <a:pt x="67" y="120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64" y="166"/>
                  <a:pt x="58" y="162"/>
                  <a:pt x="52" y="162"/>
                </a:cubicBezTo>
                <a:cubicBezTo>
                  <a:pt x="52" y="50"/>
                  <a:pt x="52" y="50"/>
                  <a:pt x="52" y="50"/>
                </a:cubicBezTo>
                <a:cubicBezTo>
                  <a:pt x="67" y="50"/>
                  <a:pt x="67" y="50"/>
                  <a:pt x="67" y="50"/>
                </a:cubicBezTo>
                <a:close/>
                <a:moveTo>
                  <a:pt x="67" y="188"/>
                </a:moveTo>
                <a:cubicBezTo>
                  <a:pt x="67" y="220"/>
                  <a:pt x="67" y="220"/>
                  <a:pt x="67" y="220"/>
                </a:cubicBezTo>
                <a:cubicBezTo>
                  <a:pt x="52" y="220"/>
                  <a:pt x="52" y="220"/>
                  <a:pt x="52" y="220"/>
                </a:cubicBezTo>
                <a:cubicBezTo>
                  <a:pt x="52" y="197"/>
                  <a:pt x="52" y="197"/>
                  <a:pt x="52" y="197"/>
                </a:cubicBezTo>
                <a:cubicBezTo>
                  <a:pt x="58" y="197"/>
                  <a:pt x="64" y="193"/>
                  <a:pt x="67" y="188"/>
                </a:cubicBezTo>
                <a:close/>
                <a:moveTo>
                  <a:pt x="67" y="232"/>
                </a:moveTo>
                <a:cubicBezTo>
                  <a:pt x="67" y="257"/>
                  <a:pt x="67" y="257"/>
                  <a:pt x="67" y="257"/>
                </a:cubicBezTo>
                <a:cubicBezTo>
                  <a:pt x="64" y="260"/>
                  <a:pt x="60" y="262"/>
                  <a:pt x="56" y="262"/>
                </a:cubicBezTo>
                <a:cubicBezTo>
                  <a:pt x="52" y="262"/>
                  <a:pt x="52" y="262"/>
                  <a:pt x="52" y="262"/>
                </a:cubicBezTo>
                <a:cubicBezTo>
                  <a:pt x="52" y="232"/>
                  <a:pt x="52" y="232"/>
                  <a:pt x="52" y="232"/>
                </a:cubicBezTo>
                <a:lnTo>
                  <a:pt x="67" y="232"/>
                </a:lnTo>
                <a:close/>
                <a:moveTo>
                  <a:pt x="52" y="15"/>
                </a:moveTo>
                <a:cubicBezTo>
                  <a:pt x="52" y="44"/>
                  <a:pt x="52" y="44"/>
                  <a:pt x="52" y="44"/>
                </a:cubicBezTo>
                <a:cubicBezTo>
                  <a:pt x="27" y="44"/>
                  <a:pt x="27" y="44"/>
                  <a:pt x="27" y="44"/>
                </a:cubicBezTo>
                <a:cubicBezTo>
                  <a:pt x="27" y="33"/>
                  <a:pt x="36" y="23"/>
                  <a:pt x="52" y="15"/>
                </a:cubicBezTo>
                <a:close/>
                <a:moveTo>
                  <a:pt x="52" y="50"/>
                </a:moveTo>
                <a:cubicBezTo>
                  <a:pt x="52" y="162"/>
                  <a:pt x="52" y="162"/>
                  <a:pt x="52" y="162"/>
                </a:cubicBezTo>
                <a:cubicBezTo>
                  <a:pt x="42" y="162"/>
                  <a:pt x="35" y="170"/>
                  <a:pt x="35" y="180"/>
                </a:cubicBezTo>
                <a:cubicBezTo>
                  <a:pt x="35" y="189"/>
                  <a:pt x="42" y="197"/>
                  <a:pt x="52" y="197"/>
                </a:cubicBezTo>
                <a:cubicBezTo>
                  <a:pt x="52" y="220"/>
                  <a:pt x="52" y="220"/>
                  <a:pt x="52" y="220"/>
                </a:cubicBezTo>
                <a:cubicBezTo>
                  <a:pt x="12" y="220"/>
                  <a:pt x="12" y="220"/>
                  <a:pt x="12" y="220"/>
                </a:cubicBezTo>
                <a:cubicBezTo>
                  <a:pt x="12" y="154"/>
                  <a:pt x="12" y="154"/>
                  <a:pt x="12" y="154"/>
                </a:cubicBezTo>
                <a:cubicBezTo>
                  <a:pt x="15" y="150"/>
                  <a:pt x="21" y="146"/>
                  <a:pt x="27" y="146"/>
                </a:cubicBezTo>
                <a:cubicBezTo>
                  <a:pt x="27" y="50"/>
                  <a:pt x="27" y="50"/>
                  <a:pt x="27" y="50"/>
                </a:cubicBezTo>
                <a:cubicBezTo>
                  <a:pt x="52" y="50"/>
                  <a:pt x="52" y="50"/>
                  <a:pt x="52" y="50"/>
                </a:cubicBezTo>
                <a:close/>
                <a:moveTo>
                  <a:pt x="52" y="232"/>
                </a:moveTo>
                <a:cubicBezTo>
                  <a:pt x="52" y="262"/>
                  <a:pt x="52" y="262"/>
                  <a:pt x="52" y="262"/>
                </a:cubicBezTo>
                <a:cubicBezTo>
                  <a:pt x="48" y="262"/>
                  <a:pt x="48" y="262"/>
                  <a:pt x="48" y="262"/>
                </a:cubicBezTo>
                <a:cubicBezTo>
                  <a:pt x="41" y="262"/>
                  <a:pt x="35" y="257"/>
                  <a:pt x="35" y="249"/>
                </a:cubicBezTo>
                <a:cubicBezTo>
                  <a:pt x="35" y="232"/>
                  <a:pt x="35" y="232"/>
                  <a:pt x="35" y="232"/>
                </a:cubicBezTo>
                <a:cubicBezTo>
                  <a:pt x="52" y="232"/>
                  <a:pt x="52" y="232"/>
                  <a:pt x="52" y="232"/>
                </a:cubicBezTo>
                <a:close/>
                <a:moveTo>
                  <a:pt x="12" y="114"/>
                </a:moveTo>
                <a:cubicBezTo>
                  <a:pt x="14" y="114"/>
                  <a:pt x="15" y="112"/>
                  <a:pt x="15" y="110"/>
                </a:cubicBezTo>
                <a:cubicBezTo>
                  <a:pt x="15" y="76"/>
                  <a:pt x="15" y="76"/>
                  <a:pt x="15" y="76"/>
                </a:cubicBezTo>
                <a:cubicBezTo>
                  <a:pt x="15" y="74"/>
                  <a:pt x="14" y="71"/>
                  <a:pt x="12" y="70"/>
                </a:cubicBezTo>
                <a:lnTo>
                  <a:pt x="12" y="114"/>
                </a:lnTo>
                <a:close/>
                <a:moveTo>
                  <a:pt x="12" y="70"/>
                </a:moveTo>
                <a:cubicBezTo>
                  <a:pt x="12" y="114"/>
                  <a:pt x="12" y="114"/>
                  <a:pt x="12" y="114"/>
                </a:cubicBezTo>
                <a:cubicBezTo>
                  <a:pt x="12" y="114"/>
                  <a:pt x="11" y="114"/>
                  <a:pt x="11" y="113"/>
                </a:cubicBezTo>
                <a:cubicBezTo>
                  <a:pt x="4" y="111"/>
                  <a:pt x="4" y="111"/>
                  <a:pt x="4" y="111"/>
                </a:cubicBezTo>
                <a:cubicBezTo>
                  <a:pt x="2" y="110"/>
                  <a:pt x="0" y="107"/>
                  <a:pt x="0" y="104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67"/>
                  <a:pt x="2" y="66"/>
                  <a:pt x="4" y="67"/>
                </a:cubicBezTo>
                <a:cubicBezTo>
                  <a:pt x="11" y="69"/>
                  <a:pt x="11" y="69"/>
                  <a:pt x="11" y="69"/>
                </a:cubicBezTo>
                <a:cubicBezTo>
                  <a:pt x="11" y="70"/>
                  <a:pt x="12" y="70"/>
                  <a:pt x="12" y="70"/>
                </a:cubicBezTo>
                <a:close/>
                <a:moveTo>
                  <a:pt x="12" y="154"/>
                </a:moveTo>
                <a:cubicBezTo>
                  <a:pt x="12" y="220"/>
                  <a:pt x="12" y="220"/>
                  <a:pt x="12" y="220"/>
                </a:cubicBezTo>
                <a:cubicBezTo>
                  <a:pt x="9" y="220"/>
                  <a:pt x="9" y="220"/>
                  <a:pt x="9" y="220"/>
                </a:cubicBezTo>
                <a:cubicBezTo>
                  <a:pt x="9" y="164"/>
                  <a:pt x="9" y="164"/>
                  <a:pt x="9" y="164"/>
                </a:cubicBezTo>
                <a:cubicBezTo>
                  <a:pt x="9" y="160"/>
                  <a:pt x="10" y="157"/>
                  <a:pt x="12" y="154"/>
                </a:cubicBezTo>
                <a:close/>
              </a:path>
            </a:pathLst>
          </a:custGeom>
          <a:solidFill>
            <a:srgbClr val="E62A2A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3" name="Freeform 76"/>
          <p:cNvSpPr>
            <a:spLocks noEditPoints="1"/>
          </p:cNvSpPr>
          <p:nvPr/>
        </p:nvSpPr>
        <p:spPr bwMode="auto">
          <a:xfrm>
            <a:off x="7893371" y="3018815"/>
            <a:ext cx="642938" cy="487363"/>
          </a:xfrm>
          <a:custGeom>
            <a:avLst/>
            <a:gdLst>
              <a:gd name="T0" fmla="*/ 271 w 295"/>
              <a:gd name="T1" fmla="*/ 0 h 224"/>
              <a:gd name="T2" fmla="*/ 277 w 295"/>
              <a:gd name="T3" fmla="*/ 35 h 224"/>
              <a:gd name="T4" fmla="*/ 224 w 295"/>
              <a:gd name="T5" fmla="*/ 224 h 224"/>
              <a:gd name="T6" fmla="*/ 248 w 295"/>
              <a:gd name="T7" fmla="*/ 188 h 224"/>
              <a:gd name="T8" fmla="*/ 249 w 295"/>
              <a:gd name="T9" fmla="*/ 29 h 224"/>
              <a:gd name="T10" fmla="*/ 224 w 295"/>
              <a:gd name="T11" fmla="*/ 194 h 224"/>
              <a:gd name="T12" fmla="*/ 224 w 295"/>
              <a:gd name="T13" fmla="*/ 16 h 224"/>
              <a:gd name="T14" fmla="*/ 224 w 295"/>
              <a:gd name="T15" fmla="*/ 208 h 224"/>
              <a:gd name="T16" fmla="*/ 224 w 295"/>
              <a:gd name="T17" fmla="*/ 179 h 224"/>
              <a:gd name="T18" fmla="*/ 224 w 295"/>
              <a:gd name="T19" fmla="*/ 194 h 224"/>
              <a:gd name="T20" fmla="*/ 201 w 295"/>
              <a:gd name="T21" fmla="*/ 128 h 224"/>
              <a:gd name="T22" fmla="*/ 203 w 295"/>
              <a:gd name="T23" fmla="*/ 98 h 224"/>
              <a:gd name="T24" fmla="*/ 195 w 295"/>
              <a:gd name="T25" fmla="*/ 67 h 224"/>
              <a:gd name="T26" fmla="*/ 187 w 295"/>
              <a:gd name="T27" fmla="*/ 128 h 224"/>
              <a:gd name="T28" fmla="*/ 187 w 295"/>
              <a:gd name="T29" fmla="*/ 100 h 224"/>
              <a:gd name="T30" fmla="*/ 190 w 295"/>
              <a:gd name="T31" fmla="*/ 75 h 224"/>
              <a:gd name="T32" fmla="*/ 187 w 295"/>
              <a:gd name="T33" fmla="*/ 0 h 224"/>
              <a:gd name="T34" fmla="*/ 187 w 295"/>
              <a:gd name="T35" fmla="*/ 0 h 224"/>
              <a:gd name="T36" fmla="*/ 147 w 295"/>
              <a:gd name="T37" fmla="*/ 208 h 224"/>
              <a:gd name="T38" fmla="*/ 182 w 295"/>
              <a:gd name="T39" fmla="*/ 67 h 224"/>
              <a:gd name="T40" fmla="*/ 168 w 295"/>
              <a:gd name="T41" fmla="*/ 109 h 224"/>
              <a:gd name="T42" fmla="*/ 187 w 295"/>
              <a:gd name="T43" fmla="*/ 194 h 224"/>
              <a:gd name="T44" fmla="*/ 148 w 295"/>
              <a:gd name="T45" fmla="*/ 125 h 224"/>
              <a:gd name="T46" fmla="*/ 147 w 295"/>
              <a:gd name="T47" fmla="*/ 106 h 224"/>
              <a:gd name="T48" fmla="*/ 184 w 295"/>
              <a:gd name="T49" fmla="*/ 70 h 224"/>
              <a:gd name="T50" fmla="*/ 187 w 295"/>
              <a:gd name="T51" fmla="*/ 91 h 224"/>
              <a:gd name="T52" fmla="*/ 179 w 295"/>
              <a:gd name="T53" fmla="*/ 116 h 224"/>
              <a:gd name="T54" fmla="*/ 187 w 295"/>
              <a:gd name="T55" fmla="*/ 100 h 224"/>
              <a:gd name="T56" fmla="*/ 147 w 295"/>
              <a:gd name="T57" fmla="*/ 16 h 224"/>
              <a:gd name="T58" fmla="*/ 147 w 295"/>
              <a:gd name="T59" fmla="*/ 208 h 224"/>
              <a:gd name="T60" fmla="*/ 147 w 295"/>
              <a:gd name="T61" fmla="*/ 106 h 224"/>
              <a:gd name="T62" fmla="*/ 127 w 295"/>
              <a:gd name="T63" fmla="*/ 121 h 224"/>
              <a:gd name="T64" fmla="*/ 147 w 295"/>
              <a:gd name="T65" fmla="*/ 137 h 224"/>
              <a:gd name="T66" fmla="*/ 102 w 295"/>
              <a:gd name="T67" fmla="*/ 156 h 224"/>
              <a:gd name="T68" fmla="*/ 109 w 295"/>
              <a:gd name="T69" fmla="*/ 113 h 224"/>
              <a:gd name="T70" fmla="*/ 100 w 295"/>
              <a:gd name="T71" fmla="*/ 93 h 224"/>
              <a:gd name="T72" fmla="*/ 111 w 295"/>
              <a:gd name="T73" fmla="*/ 97 h 224"/>
              <a:gd name="T74" fmla="*/ 99 w 295"/>
              <a:gd name="T75" fmla="*/ 88 h 224"/>
              <a:gd name="T76" fmla="*/ 101 w 295"/>
              <a:gd name="T77" fmla="*/ 150 h 224"/>
              <a:gd name="T78" fmla="*/ 99 w 295"/>
              <a:gd name="T79" fmla="*/ 123 h 224"/>
              <a:gd name="T80" fmla="*/ 0 w 295"/>
              <a:gd name="T81" fmla="*/ 23 h 224"/>
              <a:gd name="T82" fmla="*/ 99 w 295"/>
              <a:gd name="T83" fmla="*/ 208 h 224"/>
              <a:gd name="T84" fmla="*/ 17 w 295"/>
              <a:gd name="T85" fmla="*/ 35 h 224"/>
              <a:gd name="T86" fmla="*/ 99 w 295"/>
              <a:gd name="T87" fmla="*/ 29 h 224"/>
              <a:gd name="T88" fmla="*/ 79 w 295"/>
              <a:gd name="T89" fmla="*/ 129 h 224"/>
              <a:gd name="T90" fmla="*/ 99 w 295"/>
              <a:gd name="T91" fmla="*/ 157 h 224"/>
              <a:gd name="T92" fmla="*/ 30 w 295"/>
              <a:gd name="T93" fmla="*/ 45 h 224"/>
              <a:gd name="T94" fmla="*/ 99 w 295"/>
              <a:gd name="T95" fmla="*/ 115 h 224"/>
              <a:gd name="T96" fmla="*/ 99 w 295"/>
              <a:gd name="T97" fmla="*/ 123 h 224"/>
              <a:gd name="T98" fmla="*/ 91 w 295"/>
              <a:gd name="T99" fmla="*/ 133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95" h="224">
                <a:moveTo>
                  <a:pt x="271" y="224"/>
                </a:moveTo>
                <a:cubicBezTo>
                  <a:pt x="284" y="224"/>
                  <a:pt x="295" y="213"/>
                  <a:pt x="295" y="200"/>
                </a:cubicBezTo>
                <a:cubicBezTo>
                  <a:pt x="295" y="23"/>
                  <a:pt x="295" y="23"/>
                  <a:pt x="295" y="23"/>
                </a:cubicBezTo>
                <a:cubicBezTo>
                  <a:pt x="295" y="10"/>
                  <a:pt x="284" y="0"/>
                  <a:pt x="271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224" y="16"/>
                  <a:pt x="224" y="16"/>
                  <a:pt x="224" y="16"/>
                </a:cubicBezTo>
                <a:cubicBezTo>
                  <a:pt x="258" y="16"/>
                  <a:pt x="258" y="16"/>
                  <a:pt x="258" y="16"/>
                </a:cubicBezTo>
                <a:cubicBezTo>
                  <a:pt x="268" y="16"/>
                  <a:pt x="277" y="24"/>
                  <a:pt x="277" y="35"/>
                </a:cubicBezTo>
                <a:cubicBezTo>
                  <a:pt x="277" y="189"/>
                  <a:pt x="277" y="189"/>
                  <a:pt x="277" y="189"/>
                </a:cubicBezTo>
                <a:cubicBezTo>
                  <a:pt x="277" y="199"/>
                  <a:pt x="268" y="208"/>
                  <a:pt x="258" y="208"/>
                </a:cubicBezTo>
                <a:cubicBezTo>
                  <a:pt x="224" y="208"/>
                  <a:pt x="224" y="208"/>
                  <a:pt x="224" y="208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71" y="224"/>
                  <a:pt x="271" y="224"/>
                  <a:pt x="271" y="224"/>
                </a:cubicBezTo>
                <a:close/>
                <a:moveTo>
                  <a:pt x="224" y="194"/>
                </a:moveTo>
                <a:cubicBezTo>
                  <a:pt x="224" y="188"/>
                  <a:pt x="224" y="188"/>
                  <a:pt x="224" y="188"/>
                </a:cubicBezTo>
                <a:cubicBezTo>
                  <a:pt x="248" y="188"/>
                  <a:pt x="248" y="188"/>
                  <a:pt x="248" y="188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24" y="179"/>
                  <a:pt x="224" y="179"/>
                  <a:pt x="224" y="179"/>
                </a:cubicBezTo>
                <a:cubicBezTo>
                  <a:pt x="224" y="29"/>
                  <a:pt x="224" y="29"/>
                  <a:pt x="224" y="29"/>
                </a:cubicBezTo>
                <a:cubicBezTo>
                  <a:pt x="249" y="29"/>
                  <a:pt x="249" y="29"/>
                  <a:pt x="249" y="29"/>
                </a:cubicBezTo>
                <a:cubicBezTo>
                  <a:pt x="257" y="29"/>
                  <a:pt x="264" y="36"/>
                  <a:pt x="264" y="45"/>
                </a:cubicBezTo>
                <a:cubicBezTo>
                  <a:pt x="264" y="179"/>
                  <a:pt x="264" y="179"/>
                  <a:pt x="264" y="179"/>
                </a:cubicBezTo>
                <a:cubicBezTo>
                  <a:pt x="264" y="187"/>
                  <a:pt x="257" y="194"/>
                  <a:pt x="249" y="194"/>
                </a:cubicBezTo>
                <a:lnTo>
                  <a:pt x="224" y="194"/>
                </a:lnTo>
                <a:close/>
                <a:moveTo>
                  <a:pt x="224" y="0"/>
                </a:moveTo>
                <a:cubicBezTo>
                  <a:pt x="187" y="0"/>
                  <a:pt x="187" y="0"/>
                  <a:pt x="187" y="0"/>
                </a:cubicBezTo>
                <a:cubicBezTo>
                  <a:pt x="187" y="16"/>
                  <a:pt x="187" y="16"/>
                  <a:pt x="187" y="16"/>
                </a:cubicBezTo>
                <a:cubicBezTo>
                  <a:pt x="224" y="16"/>
                  <a:pt x="224" y="16"/>
                  <a:pt x="224" y="16"/>
                </a:cubicBezTo>
                <a:cubicBezTo>
                  <a:pt x="224" y="0"/>
                  <a:pt x="224" y="0"/>
                  <a:pt x="224" y="0"/>
                </a:cubicBezTo>
                <a:close/>
                <a:moveTo>
                  <a:pt x="187" y="224"/>
                </a:moveTo>
                <a:cubicBezTo>
                  <a:pt x="224" y="224"/>
                  <a:pt x="224" y="224"/>
                  <a:pt x="224" y="224"/>
                </a:cubicBezTo>
                <a:cubicBezTo>
                  <a:pt x="224" y="208"/>
                  <a:pt x="224" y="208"/>
                  <a:pt x="224" y="208"/>
                </a:cubicBezTo>
                <a:cubicBezTo>
                  <a:pt x="187" y="208"/>
                  <a:pt x="187" y="208"/>
                  <a:pt x="187" y="208"/>
                </a:cubicBezTo>
                <a:cubicBezTo>
                  <a:pt x="187" y="224"/>
                  <a:pt x="187" y="224"/>
                  <a:pt x="187" y="224"/>
                </a:cubicBezTo>
                <a:close/>
                <a:moveTo>
                  <a:pt x="224" y="29"/>
                </a:moveTo>
                <a:cubicBezTo>
                  <a:pt x="224" y="179"/>
                  <a:pt x="224" y="179"/>
                  <a:pt x="224" y="179"/>
                </a:cubicBezTo>
                <a:cubicBezTo>
                  <a:pt x="200" y="179"/>
                  <a:pt x="200" y="179"/>
                  <a:pt x="200" y="179"/>
                </a:cubicBezTo>
                <a:cubicBezTo>
                  <a:pt x="200" y="188"/>
                  <a:pt x="200" y="188"/>
                  <a:pt x="200" y="188"/>
                </a:cubicBezTo>
                <a:cubicBezTo>
                  <a:pt x="224" y="188"/>
                  <a:pt x="224" y="188"/>
                  <a:pt x="224" y="188"/>
                </a:cubicBezTo>
                <a:cubicBezTo>
                  <a:pt x="224" y="194"/>
                  <a:pt x="224" y="194"/>
                  <a:pt x="224" y="194"/>
                </a:cubicBezTo>
                <a:cubicBezTo>
                  <a:pt x="187" y="194"/>
                  <a:pt x="187" y="194"/>
                  <a:pt x="187" y="194"/>
                </a:cubicBezTo>
                <a:cubicBezTo>
                  <a:pt x="187" y="135"/>
                  <a:pt x="187" y="135"/>
                  <a:pt x="187" y="135"/>
                </a:cubicBezTo>
                <a:cubicBezTo>
                  <a:pt x="188" y="135"/>
                  <a:pt x="189" y="134"/>
                  <a:pt x="189" y="134"/>
                </a:cubicBezTo>
                <a:cubicBezTo>
                  <a:pt x="194" y="133"/>
                  <a:pt x="197" y="131"/>
                  <a:pt x="201" y="128"/>
                </a:cubicBezTo>
                <a:cubicBezTo>
                  <a:pt x="204" y="124"/>
                  <a:pt x="206" y="121"/>
                  <a:pt x="207" y="117"/>
                </a:cubicBezTo>
                <a:cubicBezTo>
                  <a:pt x="208" y="115"/>
                  <a:pt x="208" y="113"/>
                  <a:pt x="208" y="111"/>
                </a:cubicBezTo>
                <a:cubicBezTo>
                  <a:pt x="208" y="109"/>
                  <a:pt x="208" y="107"/>
                  <a:pt x="207" y="104"/>
                </a:cubicBezTo>
                <a:cubicBezTo>
                  <a:pt x="207" y="102"/>
                  <a:pt x="205" y="100"/>
                  <a:pt x="203" y="98"/>
                </a:cubicBezTo>
                <a:cubicBezTo>
                  <a:pt x="200" y="96"/>
                  <a:pt x="197" y="94"/>
                  <a:pt x="193" y="94"/>
                </a:cubicBezTo>
                <a:cubicBezTo>
                  <a:pt x="197" y="91"/>
                  <a:pt x="199" y="88"/>
                  <a:pt x="201" y="85"/>
                </a:cubicBezTo>
                <a:cubicBezTo>
                  <a:pt x="202" y="81"/>
                  <a:pt x="202" y="78"/>
                  <a:pt x="201" y="74"/>
                </a:cubicBezTo>
                <a:cubicBezTo>
                  <a:pt x="200" y="71"/>
                  <a:pt x="198" y="69"/>
                  <a:pt x="195" y="67"/>
                </a:cubicBezTo>
                <a:cubicBezTo>
                  <a:pt x="193" y="66"/>
                  <a:pt x="190" y="66"/>
                  <a:pt x="187" y="66"/>
                </a:cubicBezTo>
                <a:cubicBezTo>
                  <a:pt x="187" y="29"/>
                  <a:pt x="187" y="29"/>
                  <a:pt x="187" y="29"/>
                </a:cubicBezTo>
                <a:cubicBezTo>
                  <a:pt x="224" y="29"/>
                  <a:pt x="224" y="29"/>
                  <a:pt x="224" y="29"/>
                </a:cubicBezTo>
                <a:close/>
                <a:moveTo>
                  <a:pt x="187" y="128"/>
                </a:moveTo>
                <a:cubicBezTo>
                  <a:pt x="187" y="128"/>
                  <a:pt x="188" y="128"/>
                  <a:pt x="188" y="128"/>
                </a:cubicBezTo>
                <a:cubicBezTo>
                  <a:pt x="191" y="127"/>
                  <a:pt x="193" y="125"/>
                  <a:pt x="194" y="122"/>
                </a:cubicBezTo>
                <a:cubicBezTo>
                  <a:pt x="195" y="118"/>
                  <a:pt x="195" y="115"/>
                  <a:pt x="194" y="111"/>
                </a:cubicBezTo>
                <a:cubicBezTo>
                  <a:pt x="193" y="106"/>
                  <a:pt x="191" y="103"/>
                  <a:pt x="187" y="100"/>
                </a:cubicBezTo>
                <a:cubicBezTo>
                  <a:pt x="187" y="128"/>
                  <a:pt x="187" y="128"/>
                  <a:pt x="187" y="128"/>
                </a:cubicBezTo>
                <a:close/>
                <a:moveTo>
                  <a:pt x="187" y="91"/>
                </a:moveTo>
                <a:cubicBezTo>
                  <a:pt x="189" y="87"/>
                  <a:pt x="190" y="84"/>
                  <a:pt x="190" y="80"/>
                </a:cubicBezTo>
                <a:cubicBezTo>
                  <a:pt x="190" y="78"/>
                  <a:pt x="190" y="77"/>
                  <a:pt x="190" y="75"/>
                </a:cubicBezTo>
                <a:cubicBezTo>
                  <a:pt x="189" y="74"/>
                  <a:pt x="189" y="72"/>
                  <a:pt x="188" y="71"/>
                </a:cubicBezTo>
                <a:cubicBezTo>
                  <a:pt x="187" y="71"/>
                  <a:pt x="187" y="71"/>
                  <a:pt x="187" y="71"/>
                </a:cubicBezTo>
                <a:lnTo>
                  <a:pt x="187" y="91"/>
                </a:lnTo>
                <a:close/>
                <a:moveTo>
                  <a:pt x="187" y="0"/>
                </a:moveTo>
                <a:cubicBezTo>
                  <a:pt x="147" y="0"/>
                  <a:pt x="147" y="0"/>
                  <a:pt x="147" y="0"/>
                </a:cubicBezTo>
                <a:cubicBezTo>
                  <a:pt x="147" y="16"/>
                  <a:pt x="147" y="16"/>
                  <a:pt x="147" y="16"/>
                </a:cubicBezTo>
                <a:cubicBezTo>
                  <a:pt x="187" y="16"/>
                  <a:pt x="187" y="16"/>
                  <a:pt x="187" y="16"/>
                </a:cubicBezTo>
                <a:cubicBezTo>
                  <a:pt x="187" y="0"/>
                  <a:pt x="187" y="0"/>
                  <a:pt x="187" y="0"/>
                </a:cubicBezTo>
                <a:close/>
                <a:moveTo>
                  <a:pt x="147" y="224"/>
                </a:moveTo>
                <a:cubicBezTo>
                  <a:pt x="187" y="224"/>
                  <a:pt x="187" y="224"/>
                  <a:pt x="187" y="224"/>
                </a:cubicBezTo>
                <a:cubicBezTo>
                  <a:pt x="187" y="208"/>
                  <a:pt x="187" y="208"/>
                  <a:pt x="187" y="208"/>
                </a:cubicBezTo>
                <a:cubicBezTo>
                  <a:pt x="147" y="208"/>
                  <a:pt x="147" y="208"/>
                  <a:pt x="147" y="208"/>
                </a:cubicBezTo>
                <a:cubicBezTo>
                  <a:pt x="147" y="224"/>
                  <a:pt x="147" y="224"/>
                  <a:pt x="147" y="224"/>
                </a:cubicBezTo>
                <a:close/>
                <a:moveTo>
                  <a:pt x="187" y="29"/>
                </a:moveTo>
                <a:cubicBezTo>
                  <a:pt x="187" y="66"/>
                  <a:pt x="187" y="66"/>
                  <a:pt x="187" y="66"/>
                </a:cubicBezTo>
                <a:cubicBezTo>
                  <a:pt x="185" y="66"/>
                  <a:pt x="184" y="66"/>
                  <a:pt x="182" y="67"/>
                </a:cubicBezTo>
                <a:cubicBezTo>
                  <a:pt x="176" y="68"/>
                  <a:pt x="172" y="71"/>
                  <a:pt x="169" y="75"/>
                </a:cubicBezTo>
                <a:cubicBezTo>
                  <a:pt x="167" y="80"/>
                  <a:pt x="166" y="84"/>
                  <a:pt x="167" y="88"/>
                </a:cubicBezTo>
                <a:cubicBezTo>
                  <a:pt x="168" y="93"/>
                  <a:pt x="172" y="97"/>
                  <a:pt x="177" y="98"/>
                </a:cubicBezTo>
                <a:cubicBezTo>
                  <a:pt x="173" y="101"/>
                  <a:pt x="169" y="105"/>
                  <a:pt x="168" y="109"/>
                </a:cubicBezTo>
                <a:cubicBezTo>
                  <a:pt x="166" y="113"/>
                  <a:pt x="165" y="117"/>
                  <a:pt x="167" y="122"/>
                </a:cubicBezTo>
                <a:cubicBezTo>
                  <a:pt x="168" y="126"/>
                  <a:pt x="170" y="130"/>
                  <a:pt x="175" y="133"/>
                </a:cubicBezTo>
                <a:cubicBezTo>
                  <a:pt x="178" y="135"/>
                  <a:pt x="182" y="135"/>
                  <a:pt x="187" y="135"/>
                </a:cubicBezTo>
                <a:cubicBezTo>
                  <a:pt x="187" y="194"/>
                  <a:pt x="187" y="194"/>
                  <a:pt x="187" y="194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37"/>
                  <a:pt x="147" y="137"/>
                  <a:pt x="147" y="137"/>
                </a:cubicBezTo>
                <a:cubicBezTo>
                  <a:pt x="148" y="137"/>
                  <a:pt x="148" y="137"/>
                  <a:pt x="148" y="137"/>
                </a:cubicBezTo>
                <a:cubicBezTo>
                  <a:pt x="148" y="125"/>
                  <a:pt x="148" y="125"/>
                  <a:pt x="148" y="125"/>
                </a:cubicBezTo>
                <a:cubicBezTo>
                  <a:pt x="159" y="123"/>
                  <a:pt x="159" y="123"/>
                  <a:pt x="159" y="123"/>
                </a:cubicBezTo>
                <a:cubicBezTo>
                  <a:pt x="158" y="112"/>
                  <a:pt x="158" y="112"/>
                  <a:pt x="158" y="112"/>
                </a:cubicBezTo>
                <a:cubicBezTo>
                  <a:pt x="147" y="115"/>
                  <a:pt x="147" y="115"/>
                  <a:pt x="147" y="11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47" y="29"/>
                  <a:pt x="147" y="29"/>
                  <a:pt x="147" y="29"/>
                </a:cubicBezTo>
                <a:cubicBezTo>
                  <a:pt x="187" y="29"/>
                  <a:pt x="187" y="29"/>
                  <a:pt x="187" y="29"/>
                </a:cubicBezTo>
                <a:close/>
                <a:moveTo>
                  <a:pt x="187" y="71"/>
                </a:moveTo>
                <a:cubicBezTo>
                  <a:pt x="186" y="70"/>
                  <a:pt x="185" y="70"/>
                  <a:pt x="184" y="70"/>
                </a:cubicBezTo>
                <a:cubicBezTo>
                  <a:pt x="181" y="71"/>
                  <a:pt x="179" y="73"/>
                  <a:pt x="178" y="76"/>
                </a:cubicBezTo>
                <a:cubicBezTo>
                  <a:pt x="177" y="78"/>
                  <a:pt x="177" y="81"/>
                  <a:pt x="178" y="83"/>
                </a:cubicBezTo>
                <a:cubicBezTo>
                  <a:pt x="179" y="88"/>
                  <a:pt x="181" y="91"/>
                  <a:pt x="185" y="93"/>
                </a:cubicBezTo>
                <a:cubicBezTo>
                  <a:pt x="186" y="92"/>
                  <a:pt x="187" y="91"/>
                  <a:pt x="187" y="91"/>
                </a:cubicBezTo>
                <a:cubicBezTo>
                  <a:pt x="187" y="71"/>
                  <a:pt x="187" y="71"/>
                  <a:pt x="187" y="71"/>
                </a:cubicBezTo>
                <a:close/>
                <a:moveTo>
                  <a:pt x="187" y="100"/>
                </a:moveTo>
                <a:cubicBezTo>
                  <a:pt x="187" y="100"/>
                  <a:pt x="186" y="100"/>
                  <a:pt x="186" y="99"/>
                </a:cubicBezTo>
                <a:cubicBezTo>
                  <a:pt x="181" y="104"/>
                  <a:pt x="179" y="110"/>
                  <a:pt x="179" y="116"/>
                </a:cubicBezTo>
                <a:cubicBezTo>
                  <a:pt x="179" y="118"/>
                  <a:pt x="179" y="120"/>
                  <a:pt x="180" y="121"/>
                </a:cubicBezTo>
                <a:cubicBezTo>
                  <a:pt x="180" y="124"/>
                  <a:pt x="182" y="126"/>
                  <a:pt x="183" y="127"/>
                </a:cubicBezTo>
                <a:cubicBezTo>
                  <a:pt x="184" y="128"/>
                  <a:pt x="186" y="128"/>
                  <a:pt x="187" y="128"/>
                </a:cubicBezTo>
                <a:lnTo>
                  <a:pt x="187" y="100"/>
                </a:lnTo>
                <a:close/>
                <a:moveTo>
                  <a:pt x="147" y="0"/>
                </a:moveTo>
                <a:cubicBezTo>
                  <a:pt x="99" y="0"/>
                  <a:pt x="99" y="0"/>
                  <a:pt x="99" y="0"/>
                </a:cubicBezTo>
                <a:cubicBezTo>
                  <a:pt x="99" y="16"/>
                  <a:pt x="99" y="16"/>
                  <a:pt x="99" y="16"/>
                </a:cubicBezTo>
                <a:cubicBezTo>
                  <a:pt x="147" y="16"/>
                  <a:pt x="147" y="16"/>
                  <a:pt x="147" y="16"/>
                </a:cubicBezTo>
                <a:cubicBezTo>
                  <a:pt x="147" y="0"/>
                  <a:pt x="147" y="0"/>
                  <a:pt x="147" y="0"/>
                </a:cubicBezTo>
                <a:close/>
                <a:moveTo>
                  <a:pt x="99" y="224"/>
                </a:moveTo>
                <a:cubicBezTo>
                  <a:pt x="147" y="224"/>
                  <a:pt x="147" y="224"/>
                  <a:pt x="147" y="224"/>
                </a:cubicBezTo>
                <a:cubicBezTo>
                  <a:pt x="147" y="208"/>
                  <a:pt x="147" y="208"/>
                  <a:pt x="147" y="208"/>
                </a:cubicBezTo>
                <a:cubicBezTo>
                  <a:pt x="99" y="208"/>
                  <a:pt x="99" y="208"/>
                  <a:pt x="99" y="208"/>
                </a:cubicBezTo>
                <a:cubicBezTo>
                  <a:pt x="99" y="224"/>
                  <a:pt x="99" y="224"/>
                  <a:pt x="99" y="224"/>
                </a:cubicBezTo>
                <a:close/>
                <a:moveTo>
                  <a:pt x="147" y="29"/>
                </a:moveTo>
                <a:cubicBezTo>
                  <a:pt x="147" y="106"/>
                  <a:pt x="147" y="106"/>
                  <a:pt x="147" y="106"/>
                </a:cubicBezTo>
                <a:cubicBezTo>
                  <a:pt x="147" y="104"/>
                  <a:pt x="147" y="104"/>
                  <a:pt x="147" y="104"/>
                </a:cubicBezTo>
                <a:cubicBezTo>
                  <a:pt x="137" y="107"/>
                  <a:pt x="137" y="107"/>
                  <a:pt x="137" y="107"/>
                </a:cubicBezTo>
                <a:cubicBezTo>
                  <a:pt x="138" y="118"/>
                  <a:pt x="138" y="118"/>
                  <a:pt x="138" y="118"/>
                </a:cubicBezTo>
                <a:cubicBezTo>
                  <a:pt x="127" y="121"/>
                  <a:pt x="127" y="121"/>
                  <a:pt x="127" y="121"/>
                </a:cubicBezTo>
                <a:cubicBezTo>
                  <a:pt x="127" y="131"/>
                  <a:pt x="127" y="131"/>
                  <a:pt x="127" y="131"/>
                </a:cubicBezTo>
                <a:cubicBezTo>
                  <a:pt x="138" y="128"/>
                  <a:pt x="138" y="128"/>
                  <a:pt x="138" y="128"/>
                </a:cubicBezTo>
                <a:cubicBezTo>
                  <a:pt x="138" y="139"/>
                  <a:pt x="138" y="139"/>
                  <a:pt x="138" y="139"/>
                </a:cubicBezTo>
                <a:cubicBezTo>
                  <a:pt x="147" y="137"/>
                  <a:pt x="147" y="137"/>
                  <a:pt x="147" y="13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99" y="194"/>
                  <a:pt x="99" y="194"/>
                  <a:pt x="99" y="194"/>
                </a:cubicBezTo>
                <a:cubicBezTo>
                  <a:pt x="99" y="157"/>
                  <a:pt x="99" y="157"/>
                  <a:pt x="99" y="157"/>
                </a:cubicBezTo>
                <a:cubicBezTo>
                  <a:pt x="100" y="157"/>
                  <a:pt x="101" y="157"/>
                  <a:pt x="102" y="156"/>
                </a:cubicBezTo>
                <a:cubicBezTo>
                  <a:pt x="109" y="155"/>
                  <a:pt x="113" y="151"/>
                  <a:pt x="117" y="145"/>
                </a:cubicBezTo>
                <a:cubicBezTo>
                  <a:pt x="120" y="139"/>
                  <a:pt x="121" y="132"/>
                  <a:pt x="119" y="124"/>
                </a:cubicBezTo>
                <a:cubicBezTo>
                  <a:pt x="118" y="120"/>
                  <a:pt x="116" y="117"/>
                  <a:pt x="114" y="115"/>
                </a:cubicBezTo>
                <a:cubicBezTo>
                  <a:pt x="112" y="114"/>
                  <a:pt x="111" y="113"/>
                  <a:pt x="109" y="113"/>
                </a:cubicBezTo>
                <a:cubicBezTo>
                  <a:pt x="108" y="112"/>
                  <a:pt x="105" y="113"/>
                  <a:pt x="103" y="113"/>
                </a:cubicBezTo>
                <a:cubicBezTo>
                  <a:pt x="101" y="114"/>
                  <a:pt x="100" y="114"/>
                  <a:pt x="99" y="115"/>
                </a:cubicBezTo>
                <a:cubicBezTo>
                  <a:pt x="99" y="93"/>
                  <a:pt x="99" y="93"/>
                  <a:pt x="99" y="93"/>
                </a:cubicBezTo>
                <a:cubicBezTo>
                  <a:pt x="100" y="93"/>
                  <a:pt x="100" y="93"/>
                  <a:pt x="100" y="93"/>
                </a:cubicBezTo>
                <a:cubicBezTo>
                  <a:pt x="102" y="93"/>
                  <a:pt x="103" y="93"/>
                  <a:pt x="104" y="94"/>
                </a:cubicBezTo>
                <a:cubicBezTo>
                  <a:pt x="105" y="94"/>
                  <a:pt x="106" y="95"/>
                  <a:pt x="106" y="97"/>
                </a:cubicBezTo>
                <a:cubicBezTo>
                  <a:pt x="106" y="98"/>
                  <a:pt x="106" y="99"/>
                  <a:pt x="105" y="100"/>
                </a:cubicBezTo>
                <a:cubicBezTo>
                  <a:pt x="108" y="99"/>
                  <a:pt x="110" y="98"/>
                  <a:pt x="111" y="97"/>
                </a:cubicBezTo>
                <a:cubicBezTo>
                  <a:pt x="112" y="95"/>
                  <a:pt x="112" y="93"/>
                  <a:pt x="111" y="92"/>
                </a:cubicBezTo>
                <a:cubicBezTo>
                  <a:pt x="111" y="90"/>
                  <a:pt x="110" y="89"/>
                  <a:pt x="107" y="88"/>
                </a:cubicBezTo>
                <a:cubicBezTo>
                  <a:pt x="105" y="87"/>
                  <a:pt x="103" y="87"/>
                  <a:pt x="100" y="88"/>
                </a:cubicBezTo>
                <a:cubicBezTo>
                  <a:pt x="99" y="88"/>
                  <a:pt x="99" y="88"/>
                  <a:pt x="99" y="88"/>
                </a:cubicBezTo>
                <a:cubicBezTo>
                  <a:pt x="99" y="29"/>
                  <a:pt x="99" y="29"/>
                  <a:pt x="99" y="29"/>
                </a:cubicBezTo>
                <a:cubicBezTo>
                  <a:pt x="147" y="29"/>
                  <a:pt x="147" y="29"/>
                  <a:pt x="147" y="29"/>
                </a:cubicBezTo>
                <a:close/>
                <a:moveTo>
                  <a:pt x="99" y="150"/>
                </a:moveTo>
                <a:cubicBezTo>
                  <a:pt x="100" y="150"/>
                  <a:pt x="101" y="150"/>
                  <a:pt x="101" y="150"/>
                </a:cubicBezTo>
                <a:cubicBezTo>
                  <a:pt x="105" y="149"/>
                  <a:pt x="107" y="146"/>
                  <a:pt x="109" y="142"/>
                </a:cubicBezTo>
                <a:cubicBezTo>
                  <a:pt x="110" y="137"/>
                  <a:pt x="111" y="133"/>
                  <a:pt x="110" y="129"/>
                </a:cubicBezTo>
                <a:cubicBezTo>
                  <a:pt x="108" y="123"/>
                  <a:pt x="106" y="120"/>
                  <a:pt x="103" y="121"/>
                </a:cubicBezTo>
                <a:cubicBezTo>
                  <a:pt x="101" y="121"/>
                  <a:pt x="100" y="122"/>
                  <a:pt x="99" y="123"/>
                </a:cubicBezTo>
                <a:lnTo>
                  <a:pt x="99" y="150"/>
                </a:lnTo>
                <a:close/>
                <a:moveTo>
                  <a:pt x="99" y="0"/>
                </a:moveTo>
                <a:cubicBezTo>
                  <a:pt x="23" y="0"/>
                  <a:pt x="23" y="0"/>
                  <a:pt x="23" y="0"/>
                </a:cubicBezTo>
                <a:cubicBezTo>
                  <a:pt x="10" y="0"/>
                  <a:pt x="0" y="10"/>
                  <a:pt x="0" y="2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13"/>
                  <a:pt x="10" y="224"/>
                  <a:pt x="23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99" y="208"/>
                  <a:pt x="99" y="208"/>
                  <a:pt x="99" y="208"/>
                </a:cubicBezTo>
                <a:cubicBezTo>
                  <a:pt x="37" y="208"/>
                  <a:pt x="37" y="208"/>
                  <a:pt x="37" y="208"/>
                </a:cubicBezTo>
                <a:cubicBezTo>
                  <a:pt x="37" y="208"/>
                  <a:pt x="37" y="208"/>
                  <a:pt x="37" y="208"/>
                </a:cubicBezTo>
                <a:cubicBezTo>
                  <a:pt x="26" y="208"/>
                  <a:pt x="17" y="199"/>
                  <a:pt x="17" y="189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24"/>
                  <a:pt x="26" y="16"/>
                  <a:pt x="37" y="16"/>
                </a:cubicBezTo>
                <a:cubicBezTo>
                  <a:pt x="99" y="16"/>
                  <a:pt x="99" y="16"/>
                  <a:pt x="99" y="16"/>
                </a:cubicBezTo>
                <a:cubicBezTo>
                  <a:pt x="99" y="0"/>
                  <a:pt x="99" y="0"/>
                  <a:pt x="99" y="0"/>
                </a:cubicBezTo>
                <a:close/>
                <a:moveTo>
                  <a:pt x="99" y="29"/>
                </a:moveTo>
                <a:cubicBezTo>
                  <a:pt x="99" y="88"/>
                  <a:pt x="99" y="88"/>
                  <a:pt x="99" y="88"/>
                </a:cubicBezTo>
                <a:cubicBezTo>
                  <a:pt x="93" y="89"/>
                  <a:pt x="89" y="93"/>
                  <a:pt x="85" y="97"/>
                </a:cubicBezTo>
                <a:cubicBezTo>
                  <a:pt x="82" y="102"/>
                  <a:pt x="80" y="109"/>
                  <a:pt x="79" y="116"/>
                </a:cubicBezTo>
                <a:cubicBezTo>
                  <a:pt x="78" y="120"/>
                  <a:pt x="78" y="124"/>
                  <a:pt x="79" y="129"/>
                </a:cubicBezTo>
                <a:cubicBezTo>
                  <a:pt x="79" y="134"/>
                  <a:pt x="80" y="138"/>
                  <a:pt x="81" y="142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2" y="146"/>
                  <a:pt x="82" y="148"/>
                  <a:pt x="83" y="150"/>
                </a:cubicBezTo>
                <a:cubicBezTo>
                  <a:pt x="86" y="156"/>
                  <a:pt x="92" y="158"/>
                  <a:pt x="99" y="157"/>
                </a:cubicBezTo>
                <a:cubicBezTo>
                  <a:pt x="99" y="194"/>
                  <a:pt x="99" y="194"/>
                  <a:pt x="99" y="194"/>
                </a:cubicBezTo>
                <a:cubicBezTo>
                  <a:pt x="46" y="194"/>
                  <a:pt x="46" y="194"/>
                  <a:pt x="46" y="194"/>
                </a:cubicBezTo>
                <a:cubicBezTo>
                  <a:pt x="37" y="194"/>
                  <a:pt x="30" y="187"/>
                  <a:pt x="30" y="179"/>
                </a:cubicBezTo>
                <a:cubicBezTo>
                  <a:pt x="30" y="45"/>
                  <a:pt x="30" y="45"/>
                  <a:pt x="30" y="45"/>
                </a:cubicBezTo>
                <a:cubicBezTo>
                  <a:pt x="30" y="36"/>
                  <a:pt x="37" y="29"/>
                  <a:pt x="46" y="29"/>
                </a:cubicBezTo>
                <a:cubicBezTo>
                  <a:pt x="99" y="29"/>
                  <a:pt x="99" y="29"/>
                  <a:pt x="99" y="29"/>
                </a:cubicBezTo>
                <a:close/>
                <a:moveTo>
                  <a:pt x="99" y="93"/>
                </a:moveTo>
                <a:cubicBezTo>
                  <a:pt x="99" y="115"/>
                  <a:pt x="99" y="115"/>
                  <a:pt x="99" y="115"/>
                </a:cubicBezTo>
                <a:cubicBezTo>
                  <a:pt x="98" y="115"/>
                  <a:pt x="97" y="116"/>
                  <a:pt x="96" y="118"/>
                </a:cubicBezTo>
                <a:cubicBezTo>
                  <a:pt x="94" y="120"/>
                  <a:pt x="93" y="122"/>
                  <a:pt x="94" y="125"/>
                </a:cubicBezTo>
                <a:cubicBezTo>
                  <a:pt x="94" y="127"/>
                  <a:pt x="95" y="128"/>
                  <a:pt x="97" y="129"/>
                </a:cubicBezTo>
                <a:cubicBezTo>
                  <a:pt x="97" y="127"/>
                  <a:pt x="98" y="125"/>
                  <a:pt x="99" y="123"/>
                </a:cubicBezTo>
                <a:cubicBezTo>
                  <a:pt x="99" y="150"/>
                  <a:pt x="99" y="150"/>
                  <a:pt x="99" y="150"/>
                </a:cubicBezTo>
                <a:cubicBezTo>
                  <a:pt x="98" y="150"/>
                  <a:pt x="97" y="149"/>
                  <a:pt x="96" y="149"/>
                </a:cubicBezTo>
                <a:cubicBezTo>
                  <a:pt x="95" y="148"/>
                  <a:pt x="94" y="146"/>
                  <a:pt x="93" y="142"/>
                </a:cubicBezTo>
                <a:cubicBezTo>
                  <a:pt x="92" y="140"/>
                  <a:pt x="92" y="137"/>
                  <a:pt x="91" y="133"/>
                </a:cubicBezTo>
                <a:cubicBezTo>
                  <a:pt x="91" y="128"/>
                  <a:pt x="90" y="124"/>
                  <a:pt x="90" y="119"/>
                </a:cubicBezTo>
                <a:cubicBezTo>
                  <a:pt x="90" y="111"/>
                  <a:pt x="91" y="104"/>
                  <a:pt x="93" y="100"/>
                </a:cubicBezTo>
                <a:cubicBezTo>
                  <a:pt x="95" y="97"/>
                  <a:pt x="97" y="94"/>
                  <a:pt x="99" y="93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4" name="Freeform 77"/>
          <p:cNvSpPr/>
          <p:nvPr/>
        </p:nvSpPr>
        <p:spPr bwMode="auto">
          <a:xfrm>
            <a:off x="8174359" y="2304440"/>
            <a:ext cx="214313" cy="160338"/>
          </a:xfrm>
          <a:custGeom>
            <a:avLst/>
            <a:gdLst>
              <a:gd name="T0" fmla="*/ 69 w 98"/>
              <a:gd name="T1" fmla="*/ 0 h 74"/>
              <a:gd name="T2" fmla="*/ 49 w 98"/>
              <a:gd name="T3" fmla="*/ 8 h 74"/>
              <a:gd name="T4" fmla="*/ 30 w 98"/>
              <a:gd name="T5" fmla="*/ 0 h 74"/>
              <a:gd name="T6" fmla="*/ 0 w 98"/>
              <a:gd name="T7" fmla="*/ 29 h 74"/>
              <a:gd name="T8" fmla="*/ 51 w 98"/>
              <a:gd name="T9" fmla="*/ 74 h 74"/>
              <a:gd name="T10" fmla="*/ 98 w 98"/>
              <a:gd name="T11" fmla="*/ 29 h 74"/>
              <a:gd name="T12" fmla="*/ 69 w 98"/>
              <a:gd name="T13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8" h="74">
                <a:moveTo>
                  <a:pt x="69" y="0"/>
                </a:moveTo>
                <a:cubicBezTo>
                  <a:pt x="61" y="0"/>
                  <a:pt x="54" y="3"/>
                  <a:pt x="49" y="8"/>
                </a:cubicBezTo>
                <a:cubicBezTo>
                  <a:pt x="44" y="3"/>
                  <a:pt x="37" y="0"/>
                  <a:pt x="30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47"/>
                  <a:pt x="15" y="74"/>
                  <a:pt x="51" y="74"/>
                </a:cubicBezTo>
                <a:cubicBezTo>
                  <a:pt x="88" y="74"/>
                  <a:pt x="98" y="45"/>
                  <a:pt x="98" y="29"/>
                </a:cubicBezTo>
                <a:cubicBezTo>
                  <a:pt x="98" y="13"/>
                  <a:pt x="85" y="0"/>
                  <a:pt x="69" y="0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5" name="Freeform 78"/>
          <p:cNvSpPr/>
          <p:nvPr/>
        </p:nvSpPr>
        <p:spPr bwMode="auto">
          <a:xfrm>
            <a:off x="8269609" y="2263165"/>
            <a:ext cx="58738" cy="73025"/>
          </a:xfrm>
          <a:custGeom>
            <a:avLst/>
            <a:gdLst>
              <a:gd name="T0" fmla="*/ 6 w 27"/>
              <a:gd name="T1" fmla="*/ 34 h 34"/>
              <a:gd name="T2" fmla="*/ 13 w 27"/>
              <a:gd name="T3" fmla="*/ 0 h 34"/>
              <a:gd name="T4" fmla="*/ 27 w 27"/>
              <a:gd name="T5" fmla="*/ 3 h 34"/>
              <a:gd name="T6" fmla="*/ 6 w 27"/>
              <a:gd name="T7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" h="34">
                <a:moveTo>
                  <a:pt x="6" y="34"/>
                </a:moveTo>
                <a:cubicBezTo>
                  <a:pt x="0" y="22"/>
                  <a:pt x="4" y="9"/>
                  <a:pt x="13" y="0"/>
                </a:cubicBezTo>
                <a:cubicBezTo>
                  <a:pt x="27" y="3"/>
                  <a:pt x="27" y="3"/>
                  <a:pt x="27" y="3"/>
                </a:cubicBezTo>
                <a:cubicBezTo>
                  <a:pt x="14" y="10"/>
                  <a:pt x="6" y="18"/>
                  <a:pt x="6" y="34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6" name="Freeform 79"/>
          <p:cNvSpPr>
            <a:spLocks noEditPoints="1"/>
          </p:cNvSpPr>
          <p:nvPr/>
        </p:nvSpPr>
        <p:spPr bwMode="auto">
          <a:xfrm>
            <a:off x="7936234" y="3599840"/>
            <a:ext cx="225425" cy="312738"/>
          </a:xfrm>
          <a:custGeom>
            <a:avLst/>
            <a:gdLst>
              <a:gd name="T0" fmla="*/ 87 w 103"/>
              <a:gd name="T1" fmla="*/ 88 h 143"/>
              <a:gd name="T2" fmla="*/ 103 w 103"/>
              <a:gd name="T3" fmla="*/ 112 h 143"/>
              <a:gd name="T4" fmla="*/ 102 w 103"/>
              <a:gd name="T5" fmla="*/ 143 h 143"/>
              <a:gd name="T6" fmla="*/ 87 w 103"/>
              <a:gd name="T7" fmla="*/ 137 h 143"/>
              <a:gd name="T8" fmla="*/ 87 w 103"/>
              <a:gd name="T9" fmla="*/ 134 h 143"/>
              <a:gd name="T10" fmla="*/ 91 w 103"/>
              <a:gd name="T11" fmla="*/ 136 h 143"/>
              <a:gd name="T12" fmla="*/ 100 w 103"/>
              <a:gd name="T13" fmla="*/ 130 h 143"/>
              <a:gd name="T14" fmla="*/ 100 w 103"/>
              <a:gd name="T15" fmla="*/ 113 h 143"/>
              <a:gd name="T16" fmla="*/ 100 w 103"/>
              <a:gd name="T17" fmla="*/ 113 h 143"/>
              <a:gd name="T18" fmla="*/ 99 w 103"/>
              <a:gd name="T19" fmla="*/ 111 h 143"/>
              <a:gd name="T20" fmla="*/ 92 w 103"/>
              <a:gd name="T21" fmla="*/ 110 h 143"/>
              <a:gd name="T22" fmla="*/ 90 w 103"/>
              <a:gd name="T23" fmla="*/ 116 h 143"/>
              <a:gd name="T24" fmla="*/ 87 w 103"/>
              <a:gd name="T25" fmla="*/ 115 h 143"/>
              <a:gd name="T26" fmla="*/ 87 w 103"/>
              <a:gd name="T27" fmla="*/ 88 h 143"/>
              <a:gd name="T28" fmla="*/ 73 w 103"/>
              <a:gd name="T29" fmla="*/ 132 h 143"/>
              <a:gd name="T30" fmla="*/ 32 w 103"/>
              <a:gd name="T31" fmla="*/ 70 h 143"/>
              <a:gd name="T32" fmla="*/ 28 w 103"/>
              <a:gd name="T33" fmla="*/ 68 h 143"/>
              <a:gd name="T34" fmla="*/ 28 w 103"/>
              <a:gd name="T35" fmla="*/ 67 h 143"/>
              <a:gd name="T36" fmla="*/ 28 w 103"/>
              <a:gd name="T37" fmla="*/ 63 h 143"/>
              <a:gd name="T38" fmla="*/ 29 w 103"/>
              <a:gd name="T39" fmla="*/ 65 h 143"/>
              <a:gd name="T40" fmla="*/ 34 w 103"/>
              <a:gd name="T41" fmla="*/ 66 h 143"/>
              <a:gd name="T42" fmla="*/ 41 w 103"/>
              <a:gd name="T43" fmla="*/ 61 h 143"/>
              <a:gd name="T44" fmla="*/ 41 w 103"/>
              <a:gd name="T45" fmla="*/ 61 h 143"/>
              <a:gd name="T46" fmla="*/ 37 w 103"/>
              <a:gd name="T47" fmla="*/ 59 h 143"/>
              <a:gd name="T48" fmla="*/ 28 w 103"/>
              <a:gd name="T49" fmla="*/ 45 h 143"/>
              <a:gd name="T50" fmla="*/ 28 w 103"/>
              <a:gd name="T51" fmla="*/ 26 h 143"/>
              <a:gd name="T52" fmla="*/ 39 w 103"/>
              <a:gd name="T53" fmla="*/ 19 h 143"/>
              <a:gd name="T54" fmla="*/ 44 w 103"/>
              <a:gd name="T55" fmla="*/ 21 h 143"/>
              <a:gd name="T56" fmla="*/ 61 w 103"/>
              <a:gd name="T57" fmla="*/ 46 h 143"/>
              <a:gd name="T58" fmla="*/ 61 w 103"/>
              <a:gd name="T59" fmla="*/ 50 h 143"/>
              <a:gd name="T60" fmla="*/ 87 w 103"/>
              <a:gd name="T61" fmla="*/ 88 h 143"/>
              <a:gd name="T62" fmla="*/ 87 w 103"/>
              <a:gd name="T63" fmla="*/ 115 h 143"/>
              <a:gd name="T64" fmla="*/ 84 w 103"/>
              <a:gd name="T65" fmla="*/ 116 h 143"/>
              <a:gd name="T66" fmla="*/ 82 w 103"/>
              <a:gd name="T67" fmla="*/ 122 h 143"/>
              <a:gd name="T68" fmla="*/ 75 w 103"/>
              <a:gd name="T69" fmla="*/ 121 h 143"/>
              <a:gd name="T70" fmla="*/ 74 w 103"/>
              <a:gd name="T71" fmla="*/ 128 h 143"/>
              <a:gd name="T72" fmla="*/ 75 w 103"/>
              <a:gd name="T73" fmla="*/ 130 h 143"/>
              <a:gd name="T74" fmla="*/ 87 w 103"/>
              <a:gd name="T75" fmla="*/ 134 h 143"/>
              <a:gd name="T76" fmla="*/ 87 w 103"/>
              <a:gd name="T77" fmla="*/ 137 h 143"/>
              <a:gd name="T78" fmla="*/ 73 w 103"/>
              <a:gd name="T79" fmla="*/ 132 h 143"/>
              <a:gd name="T80" fmla="*/ 28 w 103"/>
              <a:gd name="T81" fmla="*/ 4 h 143"/>
              <a:gd name="T82" fmla="*/ 28 w 103"/>
              <a:gd name="T83" fmla="*/ 24 h 143"/>
              <a:gd name="T84" fmla="*/ 36 w 103"/>
              <a:gd name="T85" fmla="*/ 15 h 143"/>
              <a:gd name="T86" fmla="*/ 32 w 103"/>
              <a:gd name="T87" fmla="*/ 8 h 143"/>
              <a:gd name="T88" fmla="*/ 28 w 103"/>
              <a:gd name="T89" fmla="*/ 4 h 143"/>
              <a:gd name="T90" fmla="*/ 28 w 103"/>
              <a:gd name="T91" fmla="*/ 67 h 143"/>
              <a:gd name="T92" fmla="*/ 11 w 103"/>
              <a:gd name="T93" fmla="*/ 43 h 143"/>
              <a:gd name="T94" fmla="*/ 11 w 103"/>
              <a:gd name="T95" fmla="*/ 37 h 143"/>
              <a:gd name="T96" fmla="*/ 5 w 103"/>
              <a:gd name="T97" fmla="*/ 27 h 143"/>
              <a:gd name="T98" fmla="*/ 9 w 103"/>
              <a:gd name="T99" fmla="*/ 4 h 143"/>
              <a:gd name="T100" fmla="*/ 28 w 103"/>
              <a:gd name="T101" fmla="*/ 4 h 143"/>
              <a:gd name="T102" fmla="*/ 28 w 103"/>
              <a:gd name="T103" fmla="*/ 24 h 143"/>
              <a:gd name="T104" fmla="*/ 21 w 103"/>
              <a:gd name="T105" fmla="*/ 31 h 143"/>
              <a:gd name="T106" fmla="*/ 28 w 103"/>
              <a:gd name="T107" fmla="*/ 26 h 143"/>
              <a:gd name="T108" fmla="*/ 28 w 103"/>
              <a:gd name="T109" fmla="*/ 45 h 143"/>
              <a:gd name="T110" fmla="*/ 22 w 103"/>
              <a:gd name="T111" fmla="*/ 37 h 143"/>
              <a:gd name="T112" fmla="*/ 22 w 103"/>
              <a:gd name="T113" fmla="*/ 33 h 143"/>
              <a:gd name="T114" fmla="*/ 15 w 103"/>
              <a:gd name="T115" fmla="*/ 37 h 143"/>
              <a:gd name="T116" fmla="*/ 14 w 103"/>
              <a:gd name="T117" fmla="*/ 43 h 143"/>
              <a:gd name="T118" fmla="*/ 28 w 103"/>
              <a:gd name="T119" fmla="*/ 63 h 143"/>
              <a:gd name="T120" fmla="*/ 28 w 103"/>
              <a:gd name="T121" fmla="*/ 67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3" h="143">
                <a:moveTo>
                  <a:pt x="87" y="88"/>
                </a:moveTo>
                <a:cubicBezTo>
                  <a:pt x="103" y="112"/>
                  <a:pt x="103" y="112"/>
                  <a:pt x="103" y="112"/>
                </a:cubicBezTo>
                <a:cubicBezTo>
                  <a:pt x="102" y="143"/>
                  <a:pt x="102" y="143"/>
                  <a:pt x="102" y="143"/>
                </a:cubicBezTo>
                <a:cubicBezTo>
                  <a:pt x="87" y="137"/>
                  <a:pt x="87" y="137"/>
                  <a:pt x="87" y="137"/>
                </a:cubicBezTo>
                <a:cubicBezTo>
                  <a:pt x="87" y="134"/>
                  <a:pt x="87" y="134"/>
                  <a:pt x="87" y="134"/>
                </a:cubicBezTo>
                <a:cubicBezTo>
                  <a:pt x="91" y="136"/>
                  <a:pt x="91" y="136"/>
                  <a:pt x="91" y="136"/>
                </a:cubicBezTo>
                <a:cubicBezTo>
                  <a:pt x="100" y="130"/>
                  <a:pt x="100" y="130"/>
                  <a:pt x="100" y="130"/>
                </a:cubicBezTo>
                <a:cubicBezTo>
                  <a:pt x="100" y="113"/>
                  <a:pt x="100" y="113"/>
                  <a:pt x="100" y="113"/>
                </a:cubicBezTo>
                <a:cubicBezTo>
                  <a:pt x="100" y="113"/>
                  <a:pt x="100" y="113"/>
                  <a:pt x="100" y="113"/>
                </a:cubicBezTo>
                <a:cubicBezTo>
                  <a:pt x="99" y="111"/>
                  <a:pt x="99" y="111"/>
                  <a:pt x="99" y="111"/>
                </a:cubicBezTo>
                <a:cubicBezTo>
                  <a:pt x="98" y="109"/>
                  <a:pt x="95" y="108"/>
                  <a:pt x="92" y="110"/>
                </a:cubicBezTo>
                <a:cubicBezTo>
                  <a:pt x="90" y="111"/>
                  <a:pt x="89" y="114"/>
                  <a:pt x="90" y="116"/>
                </a:cubicBezTo>
                <a:cubicBezTo>
                  <a:pt x="89" y="115"/>
                  <a:pt x="88" y="115"/>
                  <a:pt x="87" y="115"/>
                </a:cubicBezTo>
                <a:lnTo>
                  <a:pt x="87" y="88"/>
                </a:lnTo>
                <a:close/>
                <a:moveTo>
                  <a:pt x="73" y="132"/>
                </a:moveTo>
                <a:cubicBezTo>
                  <a:pt x="32" y="70"/>
                  <a:pt x="32" y="70"/>
                  <a:pt x="32" y="70"/>
                </a:cubicBezTo>
                <a:cubicBezTo>
                  <a:pt x="30" y="70"/>
                  <a:pt x="29" y="69"/>
                  <a:pt x="28" y="68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3"/>
                  <a:pt x="28" y="63"/>
                  <a:pt x="28" y="63"/>
                </a:cubicBezTo>
                <a:cubicBezTo>
                  <a:pt x="29" y="65"/>
                  <a:pt x="29" y="65"/>
                  <a:pt x="29" y="65"/>
                </a:cubicBezTo>
                <a:cubicBezTo>
                  <a:pt x="30" y="67"/>
                  <a:pt x="33" y="67"/>
                  <a:pt x="34" y="66"/>
                </a:cubicBezTo>
                <a:cubicBezTo>
                  <a:pt x="41" y="61"/>
                  <a:pt x="41" y="61"/>
                  <a:pt x="41" y="61"/>
                </a:cubicBezTo>
                <a:cubicBezTo>
                  <a:pt x="41" y="61"/>
                  <a:pt x="41" y="61"/>
                  <a:pt x="41" y="61"/>
                </a:cubicBezTo>
                <a:cubicBezTo>
                  <a:pt x="40" y="61"/>
                  <a:pt x="38" y="61"/>
                  <a:pt x="37" y="59"/>
                </a:cubicBezTo>
                <a:cubicBezTo>
                  <a:pt x="28" y="45"/>
                  <a:pt x="28" y="45"/>
                  <a:pt x="28" y="45"/>
                </a:cubicBezTo>
                <a:cubicBezTo>
                  <a:pt x="28" y="26"/>
                  <a:pt x="28" y="26"/>
                  <a:pt x="28" y="26"/>
                </a:cubicBezTo>
                <a:cubicBezTo>
                  <a:pt x="39" y="19"/>
                  <a:pt x="39" y="19"/>
                  <a:pt x="39" y="19"/>
                </a:cubicBezTo>
                <a:cubicBezTo>
                  <a:pt x="41" y="18"/>
                  <a:pt x="43" y="19"/>
                  <a:pt x="44" y="21"/>
                </a:cubicBezTo>
                <a:cubicBezTo>
                  <a:pt x="61" y="46"/>
                  <a:pt x="61" y="46"/>
                  <a:pt x="61" y="46"/>
                </a:cubicBezTo>
                <a:cubicBezTo>
                  <a:pt x="62" y="47"/>
                  <a:pt x="62" y="49"/>
                  <a:pt x="61" y="50"/>
                </a:cubicBezTo>
                <a:cubicBezTo>
                  <a:pt x="87" y="88"/>
                  <a:pt x="87" y="88"/>
                  <a:pt x="87" y="88"/>
                </a:cubicBezTo>
                <a:cubicBezTo>
                  <a:pt x="87" y="115"/>
                  <a:pt x="87" y="115"/>
                  <a:pt x="87" y="115"/>
                </a:cubicBezTo>
                <a:cubicBezTo>
                  <a:pt x="86" y="115"/>
                  <a:pt x="85" y="115"/>
                  <a:pt x="84" y="116"/>
                </a:cubicBezTo>
                <a:cubicBezTo>
                  <a:pt x="82" y="117"/>
                  <a:pt x="81" y="120"/>
                  <a:pt x="82" y="122"/>
                </a:cubicBezTo>
                <a:cubicBezTo>
                  <a:pt x="80" y="120"/>
                  <a:pt x="77" y="120"/>
                  <a:pt x="75" y="121"/>
                </a:cubicBezTo>
                <a:cubicBezTo>
                  <a:pt x="73" y="123"/>
                  <a:pt x="72" y="126"/>
                  <a:pt x="74" y="128"/>
                </a:cubicBezTo>
                <a:cubicBezTo>
                  <a:pt x="75" y="130"/>
                  <a:pt x="75" y="130"/>
                  <a:pt x="75" y="130"/>
                </a:cubicBezTo>
                <a:cubicBezTo>
                  <a:pt x="87" y="134"/>
                  <a:pt x="87" y="134"/>
                  <a:pt x="87" y="134"/>
                </a:cubicBezTo>
                <a:cubicBezTo>
                  <a:pt x="87" y="137"/>
                  <a:pt x="87" y="137"/>
                  <a:pt x="87" y="137"/>
                </a:cubicBezTo>
                <a:cubicBezTo>
                  <a:pt x="73" y="132"/>
                  <a:pt x="73" y="132"/>
                  <a:pt x="73" y="132"/>
                </a:cubicBezTo>
                <a:close/>
                <a:moveTo>
                  <a:pt x="28" y="4"/>
                </a:moveTo>
                <a:cubicBezTo>
                  <a:pt x="28" y="24"/>
                  <a:pt x="28" y="24"/>
                  <a:pt x="28" y="24"/>
                </a:cubicBezTo>
                <a:cubicBezTo>
                  <a:pt x="36" y="15"/>
                  <a:pt x="36" y="15"/>
                  <a:pt x="36" y="15"/>
                </a:cubicBezTo>
                <a:cubicBezTo>
                  <a:pt x="32" y="8"/>
                  <a:pt x="32" y="8"/>
                  <a:pt x="32" y="8"/>
                </a:cubicBezTo>
                <a:cubicBezTo>
                  <a:pt x="31" y="7"/>
                  <a:pt x="29" y="5"/>
                  <a:pt x="28" y="4"/>
                </a:cubicBezTo>
                <a:close/>
                <a:moveTo>
                  <a:pt x="28" y="67"/>
                </a:moveTo>
                <a:cubicBezTo>
                  <a:pt x="11" y="43"/>
                  <a:pt x="11" y="43"/>
                  <a:pt x="11" y="43"/>
                </a:cubicBezTo>
                <a:cubicBezTo>
                  <a:pt x="10" y="41"/>
                  <a:pt x="10" y="38"/>
                  <a:pt x="11" y="37"/>
                </a:cubicBezTo>
                <a:cubicBezTo>
                  <a:pt x="5" y="27"/>
                  <a:pt x="5" y="27"/>
                  <a:pt x="5" y="27"/>
                </a:cubicBezTo>
                <a:cubicBezTo>
                  <a:pt x="0" y="19"/>
                  <a:pt x="2" y="9"/>
                  <a:pt x="9" y="4"/>
                </a:cubicBezTo>
                <a:cubicBezTo>
                  <a:pt x="15" y="0"/>
                  <a:pt x="22" y="0"/>
                  <a:pt x="28" y="4"/>
                </a:cubicBezTo>
                <a:cubicBezTo>
                  <a:pt x="28" y="24"/>
                  <a:pt x="28" y="24"/>
                  <a:pt x="28" y="24"/>
                </a:cubicBezTo>
                <a:cubicBezTo>
                  <a:pt x="21" y="31"/>
                  <a:pt x="21" y="31"/>
                  <a:pt x="21" y="31"/>
                </a:cubicBezTo>
                <a:cubicBezTo>
                  <a:pt x="28" y="26"/>
                  <a:pt x="28" y="26"/>
                  <a:pt x="28" y="26"/>
                </a:cubicBezTo>
                <a:cubicBezTo>
                  <a:pt x="28" y="45"/>
                  <a:pt x="28" y="45"/>
                  <a:pt x="28" y="45"/>
                </a:cubicBezTo>
                <a:cubicBezTo>
                  <a:pt x="22" y="37"/>
                  <a:pt x="22" y="37"/>
                  <a:pt x="22" y="37"/>
                </a:cubicBezTo>
                <a:cubicBezTo>
                  <a:pt x="21" y="36"/>
                  <a:pt x="21" y="34"/>
                  <a:pt x="22" y="33"/>
                </a:cubicBezTo>
                <a:cubicBezTo>
                  <a:pt x="15" y="37"/>
                  <a:pt x="15" y="37"/>
                  <a:pt x="15" y="37"/>
                </a:cubicBezTo>
                <a:cubicBezTo>
                  <a:pt x="14" y="39"/>
                  <a:pt x="13" y="41"/>
                  <a:pt x="14" y="43"/>
                </a:cubicBezTo>
                <a:cubicBezTo>
                  <a:pt x="28" y="63"/>
                  <a:pt x="28" y="63"/>
                  <a:pt x="28" y="63"/>
                </a:cubicBezTo>
                <a:lnTo>
                  <a:pt x="28" y="67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7" name="Freeform 80"/>
          <p:cNvSpPr>
            <a:spLocks noEditPoints="1"/>
          </p:cNvSpPr>
          <p:nvPr/>
        </p:nvSpPr>
        <p:spPr bwMode="auto">
          <a:xfrm>
            <a:off x="9668196" y="1996465"/>
            <a:ext cx="282575" cy="309563"/>
          </a:xfrm>
          <a:custGeom>
            <a:avLst/>
            <a:gdLst>
              <a:gd name="T0" fmla="*/ 101 w 130"/>
              <a:gd name="T1" fmla="*/ 65 h 142"/>
              <a:gd name="T2" fmla="*/ 97 w 130"/>
              <a:gd name="T3" fmla="*/ 81 h 142"/>
              <a:gd name="T4" fmla="*/ 97 w 130"/>
              <a:gd name="T5" fmla="*/ 94 h 142"/>
              <a:gd name="T6" fmla="*/ 100 w 130"/>
              <a:gd name="T7" fmla="*/ 95 h 142"/>
              <a:gd name="T8" fmla="*/ 111 w 130"/>
              <a:gd name="T9" fmla="*/ 112 h 142"/>
              <a:gd name="T10" fmla="*/ 97 w 130"/>
              <a:gd name="T11" fmla="*/ 103 h 142"/>
              <a:gd name="T12" fmla="*/ 97 w 130"/>
              <a:gd name="T13" fmla="*/ 28 h 142"/>
              <a:gd name="T14" fmla="*/ 111 w 130"/>
              <a:gd name="T15" fmla="*/ 19 h 142"/>
              <a:gd name="T16" fmla="*/ 100 w 130"/>
              <a:gd name="T17" fmla="*/ 35 h 142"/>
              <a:gd name="T18" fmla="*/ 97 w 130"/>
              <a:gd name="T19" fmla="*/ 36 h 142"/>
              <a:gd name="T20" fmla="*/ 127 w 130"/>
              <a:gd name="T21" fmla="*/ 62 h 142"/>
              <a:gd name="T22" fmla="*/ 108 w 130"/>
              <a:gd name="T23" fmla="*/ 65 h 142"/>
              <a:gd name="T24" fmla="*/ 127 w 130"/>
              <a:gd name="T25" fmla="*/ 69 h 142"/>
              <a:gd name="T26" fmla="*/ 127 w 130"/>
              <a:gd name="T27" fmla="*/ 62 h 142"/>
              <a:gd name="T28" fmla="*/ 67 w 130"/>
              <a:gd name="T29" fmla="*/ 142 h 142"/>
              <a:gd name="T30" fmla="*/ 85 w 130"/>
              <a:gd name="T31" fmla="*/ 95 h 142"/>
              <a:gd name="T32" fmla="*/ 97 w 130"/>
              <a:gd name="T33" fmla="*/ 50 h 142"/>
              <a:gd name="T34" fmla="*/ 65 w 130"/>
              <a:gd name="T35" fmla="*/ 37 h 142"/>
              <a:gd name="T36" fmla="*/ 93 w 130"/>
              <a:gd name="T37" fmla="*/ 65 h 142"/>
              <a:gd name="T38" fmla="*/ 79 w 130"/>
              <a:gd name="T39" fmla="*/ 90 h 142"/>
              <a:gd name="T40" fmla="*/ 78 w 130"/>
              <a:gd name="T41" fmla="*/ 110 h 142"/>
              <a:gd name="T42" fmla="*/ 65 w 130"/>
              <a:gd name="T43" fmla="*/ 142 h 142"/>
              <a:gd name="T44" fmla="*/ 97 w 130"/>
              <a:gd name="T45" fmla="*/ 36 h 142"/>
              <a:gd name="T46" fmla="*/ 95 w 130"/>
              <a:gd name="T47" fmla="*/ 31 h 142"/>
              <a:gd name="T48" fmla="*/ 97 w 130"/>
              <a:gd name="T49" fmla="*/ 94 h 142"/>
              <a:gd name="T50" fmla="*/ 95 w 130"/>
              <a:gd name="T51" fmla="*/ 100 h 142"/>
              <a:gd name="T52" fmla="*/ 97 w 130"/>
              <a:gd name="T53" fmla="*/ 94 h 142"/>
              <a:gd name="T54" fmla="*/ 65 w 130"/>
              <a:gd name="T55" fmla="*/ 0 h 142"/>
              <a:gd name="T56" fmla="*/ 68 w 130"/>
              <a:gd name="T57" fmla="*/ 3 h 142"/>
              <a:gd name="T58" fmla="*/ 65 w 130"/>
              <a:gd name="T59" fmla="*/ 23 h 142"/>
              <a:gd name="T60" fmla="*/ 65 w 130"/>
              <a:gd name="T61" fmla="*/ 23 h 142"/>
              <a:gd name="T62" fmla="*/ 32 w 130"/>
              <a:gd name="T63" fmla="*/ 50 h 142"/>
              <a:gd name="T64" fmla="*/ 45 w 130"/>
              <a:gd name="T65" fmla="*/ 96 h 142"/>
              <a:gd name="T66" fmla="*/ 63 w 130"/>
              <a:gd name="T67" fmla="*/ 142 h 142"/>
              <a:gd name="T68" fmla="*/ 65 w 130"/>
              <a:gd name="T69" fmla="*/ 110 h 142"/>
              <a:gd name="T70" fmla="*/ 52 w 130"/>
              <a:gd name="T71" fmla="*/ 93 h 142"/>
              <a:gd name="T72" fmla="*/ 36 w 130"/>
              <a:gd name="T73" fmla="*/ 65 h 142"/>
              <a:gd name="T74" fmla="*/ 65 w 130"/>
              <a:gd name="T75" fmla="*/ 37 h 142"/>
              <a:gd name="T76" fmla="*/ 65 w 130"/>
              <a:gd name="T77" fmla="*/ 29 h 142"/>
              <a:gd name="T78" fmla="*/ 65 w 130"/>
              <a:gd name="T79" fmla="*/ 0 h 142"/>
              <a:gd name="T80" fmla="*/ 62 w 130"/>
              <a:gd name="T81" fmla="*/ 20 h 142"/>
              <a:gd name="T82" fmla="*/ 65 w 130"/>
              <a:gd name="T83" fmla="*/ 0 h 142"/>
              <a:gd name="T84" fmla="*/ 32 w 130"/>
              <a:gd name="T85" fmla="*/ 94 h 142"/>
              <a:gd name="T86" fmla="*/ 35 w 130"/>
              <a:gd name="T87" fmla="*/ 100 h 142"/>
              <a:gd name="T88" fmla="*/ 32 w 130"/>
              <a:gd name="T89" fmla="*/ 36 h 142"/>
              <a:gd name="T90" fmla="*/ 35 w 130"/>
              <a:gd name="T91" fmla="*/ 31 h 142"/>
              <a:gd name="T92" fmla="*/ 32 w 130"/>
              <a:gd name="T93" fmla="*/ 36 h 142"/>
              <a:gd name="T94" fmla="*/ 29 w 130"/>
              <a:gd name="T95" fmla="*/ 65 h 142"/>
              <a:gd name="T96" fmla="*/ 32 w 130"/>
              <a:gd name="T97" fmla="*/ 50 h 142"/>
              <a:gd name="T98" fmla="*/ 32 w 130"/>
              <a:gd name="T99" fmla="*/ 36 h 142"/>
              <a:gd name="T100" fmla="*/ 30 w 130"/>
              <a:gd name="T101" fmla="*/ 35 h 142"/>
              <a:gd name="T102" fmla="*/ 19 w 130"/>
              <a:gd name="T103" fmla="*/ 19 h 142"/>
              <a:gd name="T104" fmla="*/ 32 w 130"/>
              <a:gd name="T105" fmla="*/ 28 h 142"/>
              <a:gd name="T106" fmla="*/ 32 w 130"/>
              <a:gd name="T107" fmla="*/ 103 h 142"/>
              <a:gd name="T108" fmla="*/ 19 w 130"/>
              <a:gd name="T109" fmla="*/ 112 h 142"/>
              <a:gd name="T110" fmla="*/ 30 w 130"/>
              <a:gd name="T111" fmla="*/ 95 h 142"/>
              <a:gd name="T112" fmla="*/ 32 w 130"/>
              <a:gd name="T113" fmla="*/ 94 h 142"/>
              <a:gd name="T114" fmla="*/ 22 w 130"/>
              <a:gd name="T115" fmla="*/ 65 h 142"/>
              <a:gd name="T116" fmla="*/ 3 w 130"/>
              <a:gd name="T117" fmla="*/ 62 h 142"/>
              <a:gd name="T118" fmla="*/ 3 w 130"/>
              <a:gd name="T119" fmla="*/ 69 h 142"/>
              <a:gd name="T120" fmla="*/ 22 w 130"/>
              <a:gd name="T121" fmla="*/ 65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0" h="142">
                <a:moveTo>
                  <a:pt x="97" y="81"/>
                </a:moveTo>
                <a:cubicBezTo>
                  <a:pt x="100" y="76"/>
                  <a:pt x="101" y="71"/>
                  <a:pt x="101" y="65"/>
                </a:cubicBezTo>
                <a:cubicBezTo>
                  <a:pt x="101" y="60"/>
                  <a:pt x="100" y="55"/>
                  <a:pt x="97" y="50"/>
                </a:cubicBezTo>
                <a:cubicBezTo>
                  <a:pt x="97" y="81"/>
                  <a:pt x="97" y="81"/>
                  <a:pt x="97" y="81"/>
                </a:cubicBezTo>
                <a:close/>
                <a:moveTo>
                  <a:pt x="97" y="103"/>
                </a:moveTo>
                <a:cubicBezTo>
                  <a:pt x="97" y="94"/>
                  <a:pt x="97" y="94"/>
                  <a:pt x="97" y="94"/>
                </a:cubicBezTo>
                <a:cubicBezTo>
                  <a:pt x="98" y="94"/>
                  <a:pt x="99" y="95"/>
                  <a:pt x="100" y="95"/>
                </a:cubicBezTo>
                <a:cubicBezTo>
                  <a:pt x="100" y="95"/>
                  <a:pt x="100" y="95"/>
                  <a:pt x="100" y="95"/>
                </a:cubicBezTo>
                <a:cubicBezTo>
                  <a:pt x="111" y="107"/>
                  <a:pt x="111" y="107"/>
                  <a:pt x="111" y="107"/>
                </a:cubicBezTo>
                <a:cubicBezTo>
                  <a:pt x="113" y="108"/>
                  <a:pt x="113" y="110"/>
                  <a:pt x="111" y="112"/>
                </a:cubicBezTo>
                <a:cubicBezTo>
                  <a:pt x="110" y="113"/>
                  <a:pt x="108" y="113"/>
                  <a:pt x="106" y="112"/>
                </a:cubicBezTo>
                <a:cubicBezTo>
                  <a:pt x="97" y="103"/>
                  <a:pt x="97" y="103"/>
                  <a:pt x="97" y="103"/>
                </a:cubicBezTo>
                <a:close/>
                <a:moveTo>
                  <a:pt x="97" y="36"/>
                </a:moveTo>
                <a:cubicBezTo>
                  <a:pt x="97" y="28"/>
                  <a:pt x="97" y="28"/>
                  <a:pt x="97" y="28"/>
                </a:cubicBezTo>
                <a:cubicBezTo>
                  <a:pt x="106" y="19"/>
                  <a:pt x="106" y="19"/>
                  <a:pt x="106" y="19"/>
                </a:cubicBezTo>
                <a:cubicBezTo>
                  <a:pt x="108" y="18"/>
                  <a:pt x="110" y="18"/>
                  <a:pt x="111" y="19"/>
                </a:cubicBezTo>
                <a:cubicBezTo>
                  <a:pt x="113" y="20"/>
                  <a:pt x="113" y="23"/>
                  <a:pt x="111" y="24"/>
                </a:cubicBezTo>
                <a:cubicBezTo>
                  <a:pt x="100" y="35"/>
                  <a:pt x="100" y="35"/>
                  <a:pt x="100" y="35"/>
                </a:cubicBezTo>
                <a:cubicBezTo>
                  <a:pt x="100" y="35"/>
                  <a:pt x="100" y="35"/>
                  <a:pt x="100" y="35"/>
                </a:cubicBezTo>
                <a:cubicBezTo>
                  <a:pt x="99" y="36"/>
                  <a:pt x="98" y="36"/>
                  <a:pt x="97" y="36"/>
                </a:cubicBezTo>
                <a:close/>
                <a:moveTo>
                  <a:pt x="127" y="62"/>
                </a:moveTo>
                <a:cubicBezTo>
                  <a:pt x="127" y="62"/>
                  <a:pt x="127" y="62"/>
                  <a:pt x="127" y="62"/>
                </a:cubicBezTo>
                <a:cubicBezTo>
                  <a:pt x="111" y="62"/>
                  <a:pt x="111" y="62"/>
                  <a:pt x="111" y="62"/>
                </a:cubicBezTo>
                <a:cubicBezTo>
                  <a:pt x="109" y="62"/>
                  <a:pt x="108" y="64"/>
                  <a:pt x="108" y="65"/>
                </a:cubicBezTo>
                <a:cubicBezTo>
                  <a:pt x="108" y="67"/>
                  <a:pt x="109" y="69"/>
                  <a:pt x="111" y="69"/>
                </a:cubicBezTo>
                <a:cubicBezTo>
                  <a:pt x="127" y="69"/>
                  <a:pt x="127" y="69"/>
                  <a:pt x="127" y="69"/>
                </a:cubicBezTo>
                <a:cubicBezTo>
                  <a:pt x="129" y="69"/>
                  <a:pt x="130" y="67"/>
                  <a:pt x="130" y="65"/>
                </a:cubicBezTo>
                <a:cubicBezTo>
                  <a:pt x="130" y="64"/>
                  <a:pt x="129" y="62"/>
                  <a:pt x="127" y="62"/>
                </a:cubicBezTo>
                <a:close/>
                <a:moveTo>
                  <a:pt x="65" y="142"/>
                </a:moveTo>
                <a:cubicBezTo>
                  <a:pt x="67" y="142"/>
                  <a:pt x="67" y="142"/>
                  <a:pt x="67" y="142"/>
                </a:cubicBezTo>
                <a:cubicBezTo>
                  <a:pt x="77" y="142"/>
                  <a:pt x="85" y="134"/>
                  <a:pt x="85" y="124"/>
                </a:cubicBezTo>
                <a:cubicBezTo>
                  <a:pt x="85" y="95"/>
                  <a:pt x="85" y="95"/>
                  <a:pt x="85" y="95"/>
                </a:cubicBezTo>
                <a:cubicBezTo>
                  <a:pt x="90" y="92"/>
                  <a:pt x="95" y="87"/>
                  <a:pt x="97" y="81"/>
                </a:cubicBezTo>
                <a:cubicBezTo>
                  <a:pt x="97" y="50"/>
                  <a:pt x="97" y="50"/>
                  <a:pt x="97" y="50"/>
                </a:cubicBezTo>
                <a:cubicBezTo>
                  <a:pt x="92" y="38"/>
                  <a:pt x="79" y="29"/>
                  <a:pt x="65" y="29"/>
                </a:cubicBezTo>
                <a:cubicBezTo>
                  <a:pt x="65" y="37"/>
                  <a:pt x="65" y="37"/>
                  <a:pt x="65" y="37"/>
                </a:cubicBezTo>
                <a:cubicBezTo>
                  <a:pt x="73" y="37"/>
                  <a:pt x="80" y="40"/>
                  <a:pt x="85" y="45"/>
                </a:cubicBezTo>
                <a:cubicBezTo>
                  <a:pt x="90" y="50"/>
                  <a:pt x="93" y="57"/>
                  <a:pt x="93" y="65"/>
                </a:cubicBezTo>
                <a:cubicBezTo>
                  <a:pt x="93" y="76"/>
                  <a:pt x="88" y="85"/>
                  <a:pt x="79" y="90"/>
                </a:cubicBezTo>
                <a:cubicBezTo>
                  <a:pt x="79" y="90"/>
                  <a:pt x="79" y="90"/>
                  <a:pt x="79" y="90"/>
                </a:cubicBezTo>
                <a:cubicBezTo>
                  <a:pt x="78" y="91"/>
                  <a:pt x="78" y="92"/>
                  <a:pt x="78" y="93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5" y="142"/>
                  <a:pt x="65" y="142"/>
                  <a:pt x="65" y="142"/>
                </a:cubicBezTo>
                <a:close/>
                <a:moveTo>
                  <a:pt x="97" y="28"/>
                </a:moveTo>
                <a:cubicBezTo>
                  <a:pt x="97" y="36"/>
                  <a:pt x="97" y="36"/>
                  <a:pt x="97" y="36"/>
                </a:cubicBezTo>
                <a:cubicBezTo>
                  <a:pt x="97" y="36"/>
                  <a:pt x="96" y="36"/>
                  <a:pt x="95" y="35"/>
                </a:cubicBezTo>
                <a:cubicBezTo>
                  <a:pt x="94" y="34"/>
                  <a:pt x="94" y="32"/>
                  <a:pt x="95" y="31"/>
                </a:cubicBezTo>
                <a:cubicBezTo>
                  <a:pt x="97" y="28"/>
                  <a:pt x="97" y="28"/>
                  <a:pt x="97" y="28"/>
                </a:cubicBezTo>
                <a:close/>
                <a:moveTo>
                  <a:pt x="97" y="94"/>
                </a:moveTo>
                <a:cubicBezTo>
                  <a:pt x="97" y="103"/>
                  <a:pt x="97" y="103"/>
                  <a:pt x="97" y="103"/>
                </a:cubicBezTo>
                <a:cubicBezTo>
                  <a:pt x="95" y="100"/>
                  <a:pt x="95" y="100"/>
                  <a:pt x="95" y="100"/>
                </a:cubicBezTo>
                <a:cubicBezTo>
                  <a:pt x="94" y="99"/>
                  <a:pt x="94" y="97"/>
                  <a:pt x="95" y="95"/>
                </a:cubicBezTo>
                <a:cubicBezTo>
                  <a:pt x="96" y="95"/>
                  <a:pt x="97" y="94"/>
                  <a:pt x="97" y="94"/>
                </a:cubicBezTo>
                <a:close/>
                <a:moveTo>
                  <a:pt x="65" y="23"/>
                </a:move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7" y="0"/>
                  <a:pt x="68" y="2"/>
                  <a:pt x="68" y="3"/>
                </a:cubicBezTo>
                <a:cubicBezTo>
                  <a:pt x="68" y="20"/>
                  <a:pt x="68" y="20"/>
                  <a:pt x="68" y="20"/>
                </a:cubicBezTo>
                <a:cubicBezTo>
                  <a:pt x="68" y="21"/>
                  <a:pt x="67" y="23"/>
                  <a:pt x="65" y="23"/>
                </a:cubicBezTo>
                <a:cubicBezTo>
                  <a:pt x="65" y="23"/>
                  <a:pt x="65" y="23"/>
                  <a:pt x="65" y="23"/>
                </a:cubicBezTo>
                <a:cubicBezTo>
                  <a:pt x="65" y="23"/>
                  <a:pt x="65" y="23"/>
                  <a:pt x="65" y="23"/>
                </a:cubicBezTo>
                <a:close/>
                <a:moveTo>
                  <a:pt x="65" y="29"/>
                </a:moveTo>
                <a:cubicBezTo>
                  <a:pt x="50" y="29"/>
                  <a:pt x="38" y="37"/>
                  <a:pt x="32" y="50"/>
                </a:cubicBezTo>
                <a:cubicBezTo>
                  <a:pt x="32" y="81"/>
                  <a:pt x="32" y="81"/>
                  <a:pt x="32" y="81"/>
                </a:cubicBezTo>
                <a:cubicBezTo>
                  <a:pt x="35" y="87"/>
                  <a:pt x="40" y="92"/>
                  <a:pt x="45" y="96"/>
                </a:cubicBezTo>
                <a:cubicBezTo>
                  <a:pt x="45" y="124"/>
                  <a:pt x="45" y="124"/>
                  <a:pt x="45" y="124"/>
                </a:cubicBezTo>
                <a:cubicBezTo>
                  <a:pt x="45" y="134"/>
                  <a:pt x="53" y="142"/>
                  <a:pt x="63" y="142"/>
                </a:cubicBezTo>
                <a:cubicBezTo>
                  <a:pt x="65" y="142"/>
                  <a:pt x="65" y="142"/>
                  <a:pt x="65" y="142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52" y="110"/>
                  <a:pt x="52" y="110"/>
                  <a:pt x="52" y="110"/>
                </a:cubicBezTo>
                <a:cubicBezTo>
                  <a:pt x="52" y="93"/>
                  <a:pt x="52" y="93"/>
                  <a:pt x="52" y="93"/>
                </a:cubicBezTo>
                <a:cubicBezTo>
                  <a:pt x="52" y="92"/>
                  <a:pt x="52" y="91"/>
                  <a:pt x="51" y="90"/>
                </a:cubicBezTo>
                <a:cubicBezTo>
                  <a:pt x="42" y="85"/>
                  <a:pt x="36" y="76"/>
                  <a:pt x="36" y="65"/>
                </a:cubicBezTo>
                <a:cubicBezTo>
                  <a:pt x="36" y="57"/>
                  <a:pt x="39" y="50"/>
                  <a:pt x="44" y="45"/>
                </a:cubicBezTo>
                <a:cubicBezTo>
                  <a:pt x="50" y="40"/>
                  <a:pt x="57" y="37"/>
                  <a:pt x="65" y="37"/>
                </a:cubicBezTo>
                <a:cubicBezTo>
                  <a:pt x="65" y="37"/>
                  <a:pt x="65" y="37"/>
                  <a:pt x="65" y="37"/>
                </a:cubicBezTo>
                <a:cubicBezTo>
                  <a:pt x="65" y="29"/>
                  <a:pt x="65" y="29"/>
                  <a:pt x="65" y="29"/>
                </a:cubicBezTo>
                <a:cubicBezTo>
                  <a:pt x="65" y="29"/>
                  <a:pt x="65" y="29"/>
                  <a:pt x="65" y="29"/>
                </a:cubicBezTo>
                <a:close/>
                <a:moveTo>
                  <a:pt x="65" y="0"/>
                </a:moveTo>
                <a:cubicBezTo>
                  <a:pt x="65" y="23"/>
                  <a:pt x="65" y="23"/>
                  <a:pt x="65" y="23"/>
                </a:cubicBezTo>
                <a:cubicBezTo>
                  <a:pt x="63" y="23"/>
                  <a:pt x="62" y="21"/>
                  <a:pt x="62" y="20"/>
                </a:cubicBezTo>
                <a:cubicBezTo>
                  <a:pt x="62" y="3"/>
                  <a:pt x="62" y="3"/>
                  <a:pt x="62" y="3"/>
                </a:cubicBezTo>
                <a:cubicBezTo>
                  <a:pt x="62" y="2"/>
                  <a:pt x="63" y="0"/>
                  <a:pt x="65" y="0"/>
                </a:cubicBezTo>
                <a:close/>
                <a:moveTo>
                  <a:pt x="32" y="103"/>
                </a:moveTo>
                <a:cubicBezTo>
                  <a:pt x="32" y="94"/>
                  <a:pt x="32" y="94"/>
                  <a:pt x="32" y="94"/>
                </a:cubicBezTo>
                <a:cubicBezTo>
                  <a:pt x="33" y="94"/>
                  <a:pt x="34" y="95"/>
                  <a:pt x="35" y="95"/>
                </a:cubicBezTo>
                <a:cubicBezTo>
                  <a:pt x="36" y="97"/>
                  <a:pt x="36" y="99"/>
                  <a:pt x="35" y="100"/>
                </a:cubicBezTo>
                <a:cubicBezTo>
                  <a:pt x="32" y="103"/>
                  <a:pt x="32" y="103"/>
                  <a:pt x="32" y="103"/>
                </a:cubicBezTo>
                <a:close/>
                <a:moveTo>
                  <a:pt x="32" y="36"/>
                </a:moveTo>
                <a:cubicBezTo>
                  <a:pt x="32" y="28"/>
                  <a:pt x="32" y="28"/>
                  <a:pt x="32" y="28"/>
                </a:cubicBezTo>
                <a:cubicBezTo>
                  <a:pt x="35" y="31"/>
                  <a:pt x="35" y="31"/>
                  <a:pt x="35" y="31"/>
                </a:cubicBezTo>
                <a:cubicBezTo>
                  <a:pt x="36" y="32"/>
                  <a:pt x="36" y="34"/>
                  <a:pt x="35" y="35"/>
                </a:cubicBezTo>
                <a:cubicBezTo>
                  <a:pt x="34" y="36"/>
                  <a:pt x="33" y="36"/>
                  <a:pt x="32" y="36"/>
                </a:cubicBezTo>
                <a:close/>
                <a:moveTo>
                  <a:pt x="32" y="50"/>
                </a:moveTo>
                <a:cubicBezTo>
                  <a:pt x="30" y="54"/>
                  <a:pt x="29" y="60"/>
                  <a:pt x="29" y="65"/>
                </a:cubicBezTo>
                <a:cubicBezTo>
                  <a:pt x="29" y="71"/>
                  <a:pt x="30" y="76"/>
                  <a:pt x="32" y="81"/>
                </a:cubicBezTo>
                <a:cubicBezTo>
                  <a:pt x="32" y="50"/>
                  <a:pt x="32" y="50"/>
                  <a:pt x="32" y="50"/>
                </a:cubicBezTo>
                <a:close/>
                <a:moveTo>
                  <a:pt x="32" y="28"/>
                </a:moveTo>
                <a:cubicBezTo>
                  <a:pt x="32" y="36"/>
                  <a:pt x="32" y="36"/>
                  <a:pt x="32" y="36"/>
                </a:cubicBezTo>
                <a:cubicBezTo>
                  <a:pt x="32" y="36"/>
                  <a:pt x="31" y="36"/>
                  <a:pt x="30" y="35"/>
                </a:cubicBezTo>
                <a:cubicBezTo>
                  <a:pt x="30" y="35"/>
                  <a:pt x="30" y="35"/>
                  <a:pt x="30" y="35"/>
                </a:cubicBezTo>
                <a:cubicBezTo>
                  <a:pt x="19" y="24"/>
                  <a:pt x="19" y="24"/>
                  <a:pt x="19" y="24"/>
                </a:cubicBezTo>
                <a:cubicBezTo>
                  <a:pt x="17" y="23"/>
                  <a:pt x="17" y="20"/>
                  <a:pt x="19" y="19"/>
                </a:cubicBezTo>
                <a:cubicBezTo>
                  <a:pt x="20" y="18"/>
                  <a:pt x="22" y="18"/>
                  <a:pt x="24" y="19"/>
                </a:cubicBezTo>
                <a:cubicBezTo>
                  <a:pt x="32" y="28"/>
                  <a:pt x="32" y="28"/>
                  <a:pt x="32" y="28"/>
                </a:cubicBezTo>
                <a:close/>
                <a:moveTo>
                  <a:pt x="32" y="94"/>
                </a:moveTo>
                <a:cubicBezTo>
                  <a:pt x="32" y="103"/>
                  <a:pt x="32" y="103"/>
                  <a:pt x="32" y="103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22" y="113"/>
                  <a:pt x="20" y="113"/>
                  <a:pt x="19" y="112"/>
                </a:cubicBezTo>
                <a:cubicBezTo>
                  <a:pt x="17" y="110"/>
                  <a:pt x="17" y="108"/>
                  <a:pt x="19" y="107"/>
                </a:cubicBezTo>
                <a:cubicBezTo>
                  <a:pt x="30" y="95"/>
                  <a:pt x="30" y="95"/>
                  <a:pt x="30" y="95"/>
                </a:cubicBezTo>
                <a:cubicBezTo>
                  <a:pt x="30" y="95"/>
                  <a:pt x="30" y="95"/>
                  <a:pt x="30" y="95"/>
                </a:cubicBezTo>
                <a:cubicBezTo>
                  <a:pt x="31" y="95"/>
                  <a:pt x="32" y="95"/>
                  <a:pt x="32" y="94"/>
                </a:cubicBezTo>
                <a:close/>
                <a:moveTo>
                  <a:pt x="22" y="65"/>
                </a:moveTo>
                <a:cubicBezTo>
                  <a:pt x="22" y="65"/>
                  <a:pt x="22" y="65"/>
                  <a:pt x="22" y="65"/>
                </a:cubicBezTo>
                <a:cubicBezTo>
                  <a:pt x="22" y="64"/>
                  <a:pt x="21" y="62"/>
                  <a:pt x="19" y="62"/>
                </a:cubicBezTo>
                <a:cubicBezTo>
                  <a:pt x="3" y="62"/>
                  <a:pt x="3" y="62"/>
                  <a:pt x="3" y="62"/>
                </a:cubicBezTo>
                <a:cubicBezTo>
                  <a:pt x="1" y="62"/>
                  <a:pt x="0" y="64"/>
                  <a:pt x="0" y="65"/>
                </a:cubicBezTo>
                <a:cubicBezTo>
                  <a:pt x="0" y="67"/>
                  <a:pt x="1" y="69"/>
                  <a:pt x="3" y="69"/>
                </a:cubicBezTo>
                <a:cubicBezTo>
                  <a:pt x="19" y="69"/>
                  <a:pt x="19" y="69"/>
                  <a:pt x="19" y="69"/>
                </a:cubicBezTo>
                <a:cubicBezTo>
                  <a:pt x="21" y="69"/>
                  <a:pt x="22" y="67"/>
                  <a:pt x="22" y="65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8" name="Freeform 81"/>
          <p:cNvSpPr>
            <a:spLocks noEditPoints="1"/>
          </p:cNvSpPr>
          <p:nvPr/>
        </p:nvSpPr>
        <p:spPr bwMode="auto">
          <a:xfrm>
            <a:off x="8255321" y="1580540"/>
            <a:ext cx="427038" cy="614363"/>
          </a:xfrm>
          <a:custGeom>
            <a:avLst/>
            <a:gdLst>
              <a:gd name="T0" fmla="*/ 98 w 196"/>
              <a:gd name="T1" fmla="*/ 5 h 282"/>
              <a:gd name="T2" fmla="*/ 113 w 196"/>
              <a:gd name="T3" fmla="*/ 0 h 282"/>
              <a:gd name="T4" fmla="*/ 155 w 196"/>
              <a:gd name="T5" fmla="*/ 128 h 282"/>
              <a:gd name="T6" fmla="*/ 108 w 196"/>
              <a:gd name="T7" fmla="*/ 143 h 282"/>
              <a:gd name="T8" fmla="*/ 98 w 196"/>
              <a:gd name="T9" fmla="*/ 111 h 282"/>
              <a:gd name="T10" fmla="*/ 98 w 196"/>
              <a:gd name="T11" fmla="*/ 5 h 282"/>
              <a:gd name="T12" fmla="*/ 98 w 196"/>
              <a:gd name="T13" fmla="*/ 222 h 282"/>
              <a:gd name="T14" fmla="*/ 136 w 196"/>
              <a:gd name="T15" fmla="*/ 209 h 282"/>
              <a:gd name="T16" fmla="*/ 107 w 196"/>
              <a:gd name="T17" fmla="*/ 209 h 282"/>
              <a:gd name="T18" fmla="*/ 107 w 196"/>
              <a:gd name="T19" fmla="*/ 192 h 282"/>
              <a:gd name="T20" fmla="*/ 152 w 196"/>
              <a:gd name="T21" fmla="*/ 192 h 282"/>
              <a:gd name="T22" fmla="*/ 189 w 196"/>
              <a:gd name="T23" fmla="*/ 192 h 282"/>
              <a:gd name="T24" fmla="*/ 196 w 196"/>
              <a:gd name="T25" fmla="*/ 192 h 282"/>
              <a:gd name="T26" fmla="*/ 196 w 196"/>
              <a:gd name="T27" fmla="*/ 209 h 282"/>
              <a:gd name="T28" fmla="*/ 180 w 196"/>
              <a:gd name="T29" fmla="*/ 209 h 282"/>
              <a:gd name="T30" fmla="*/ 134 w 196"/>
              <a:gd name="T31" fmla="*/ 247 h 282"/>
              <a:gd name="T32" fmla="*/ 169 w 196"/>
              <a:gd name="T33" fmla="*/ 267 h 282"/>
              <a:gd name="T34" fmla="*/ 169 w 196"/>
              <a:gd name="T35" fmla="*/ 282 h 282"/>
              <a:gd name="T36" fmla="*/ 98 w 196"/>
              <a:gd name="T37" fmla="*/ 282 h 282"/>
              <a:gd name="T38" fmla="*/ 98 w 196"/>
              <a:gd name="T39" fmla="*/ 268 h 282"/>
              <a:gd name="T40" fmla="*/ 111 w 196"/>
              <a:gd name="T41" fmla="*/ 255 h 282"/>
              <a:gd name="T42" fmla="*/ 98 w 196"/>
              <a:gd name="T43" fmla="*/ 242 h 282"/>
              <a:gd name="T44" fmla="*/ 98 w 196"/>
              <a:gd name="T45" fmla="*/ 222 h 282"/>
              <a:gd name="T46" fmla="*/ 67 w 196"/>
              <a:gd name="T47" fmla="*/ 15 h 282"/>
              <a:gd name="T48" fmla="*/ 98 w 196"/>
              <a:gd name="T49" fmla="*/ 5 h 282"/>
              <a:gd name="T50" fmla="*/ 98 w 196"/>
              <a:gd name="T51" fmla="*/ 111 h 282"/>
              <a:gd name="T52" fmla="*/ 92 w 196"/>
              <a:gd name="T53" fmla="*/ 92 h 282"/>
              <a:gd name="T54" fmla="*/ 33 w 196"/>
              <a:gd name="T55" fmla="*/ 157 h 282"/>
              <a:gd name="T56" fmla="*/ 98 w 196"/>
              <a:gd name="T57" fmla="*/ 222 h 282"/>
              <a:gd name="T58" fmla="*/ 98 w 196"/>
              <a:gd name="T59" fmla="*/ 222 h 282"/>
              <a:gd name="T60" fmla="*/ 98 w 196"/>
              <a:gd name="T61" fmla="*/ 242 h 282"/>
              <a:gd name="T62" fmla="*/ 85 w 196"/>
              <a:gd name="T63" fmla="*/ 255 h 282"/>
              <a:gd name="T64" fmla="*/ 98 w 196"/>
              <a:gd name="T65" fmla="*/ 268 h 282"/>
              <a:gd name="T66" fmla="*/ 98 w 196"/>
              <a:gd name="T67" fmla="*/ 282 h 282"/>
              <a:gd name="T68" fmla="*/ 27 w 196"/>
              <a:gd name="T69" fmla="*/ 282 h 282"/>
              <a:gd name="T70" fmla="*/ 27 w 196"/>
              <a:gd name="T71" fmla="*/ 267 h 282"/>
              <a:gd name="T72" fmla="*/ 61 w 196"/>
              <a:gd name="T73" fmla="*/ 247 h 282"/>
              <a:gd name="T74" fmla="*/ 0 w 196"/>
              <a:gd name="T75" fmla="*/ 157 h 282"/>
              <a:gd name="T76" fmla="*/ 82 w 196"/>
              <a:gd name="T77" fmla="*/ 61 h 282"/>
              <a:gd name="T78" fmla="*/ 67 w 196"/>
              <a:gd name="T79" fmla="*/ 15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6" h="282">
                <a:moveTo>
                  <a:pt x="98" y="5"/>
                </a:moveTo>
                <a:cubicBezTo>
                  <a:pt x="113" y="0"/>
                  <a:pt x="113" y="0"/>
                  <a:pt x="113" y="0"/>
                </a:cubicBezTo>
                <a:cubicBezTo>
                  <a:pt x="155" y="128"/>
                  <a:pt x="155" y="128"/>
                  <a:pt x="155" y="128"/>
                </a:cubicBezTo>
                <a:cubicBezTo>
                  <a:pt x="108" y="143"/>
                  <a:pt x="108" y="143"/>
                  <a:pt x="108" y="143"/>
                </a:cubicBezTo>
                <a:cubicBezTo>
                  <a:pt x="98" y="111"/>
                  <a:pt x="98" y="111"/>
                  <a:pt x="98" y="111"/>
                </a:cubicBezTo>
                <a:cubicBezTo>
                  <a:pt x="98" y="5"/>
                  <a:pt x="98" y="5"/>
                  <a:pt x="98" y="5"/>
                </a:cubicBezTo>
                <a:close/>
                <a:moveTo>
                  <a:pt x="98" y="222"/>
                </a:moveTo>
                <a:cubicBezTo>
                  <a:pt x="112" y="222"/>
                  <a:pt x="125" y="217"/>
                  <a:pt x="136" y="209"/>
                </a:cubicBezTo>
                <a:cubicBezTo>
                  <a:pt x="107" y="209"/>
                  <a:pt x="107" y="209"/>
                  <a:pt x="107" y="209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52" y="192"/>
                  <a:pt x="152" y="192"/>
                  <a:pt x="152" y="192"/>
                </a:cubicBezTo>
                <a:cubicBezTo>
                  <a:pt x="189" y="192"/>
                  <a:pt x="189" y="192"/>
                  <a:pt x="189" y="192"/>
                </a:cubicBezTo>
                <a:cubicBezTo>
                  <a:pt x="196" y="192"/>
                  <a:pt x="196" y="192"/>
                  <a:pt x="196" y="192"/>
                </a:cubicBezTo>
                <a:cubicBezTo>
                  <a:pt x="196" y="209"/>
                  <a:pt x="196" y="209"/>
                  <a:pt x="196" y="209"/>
                </a:cubicBezTo>
                <a:cubicBezTo>
                  <a:pt x="180" y="209"/>
                  <a:pt x="180" y="209"/>
                  <a:pt x="180" y="209"/>
                </a:cubicBezTo>
                <a:cubicBezTo>
                  <a:pt x="169" y="226"/>
                  <a:pt x="153" y="239"/>
                  <a:pt x="134" y="247"/>
                </a:cubicBezTo>
                <a:cubicBezTo>
                  <a:pt x="154" y="251"/>
                  <a:pt x="169" y="257"/>
                  <a:pt x="169" y="267"/>
                </a:cubicBezTo>
                <a:cubicBezTo>
                  <a:pt x="169" y="282"/>
                  <a:pt x="169" y="282"/>
                  <a:pt x="169" y="282"/>
                </a:cubicBezTo>
                <a:cubicBezTo>
                  <a:pt x="98" y="282"/>
                  <a:pt x="98" y="282"/>
                  <a:pt x="98" y="282"/>
                </a:cubicBezTo>
                <a:cubicBezTo>
                  <a:pt x="98" y="268"/>
                  <a:pt x="98" y="268"/>
                  <a:pt x="98" y="268"/>
                </a:cubicBezTo>
                <a:cubicBezTo>
                  <a:pt x="105" y="268"/>
                  <a:pt x="111" y="262"/>
                  <a:pt x="111" y="255"/>
                </a:cubicBezTo>
                <a:cubicBezTo>
                  <a:pt x="111" y="248"/>
                  <a:pt x="105" y="242"/>
                  <a:pt x="98" y="242"/>
                </a:cubicBezTo>
                <a:lnTo>
                  <a:pt x="98" y="222"/>
                </a:lnTo>
                <a:close/>
                <a:moveTo>
                  <a:pt x="67" y="15"/>
                </a:moveTo>
                <a:cubicBezTo>
                  <a:pt x="98" y="5"/>
                  <a:pt x="98" y="5"/>
                  <a:pt x="98" y="5"/>
                </a:cubicBezTo>
                <a:cubicBezTo>
                  <a:pt x="98" y="111"/>
                  <a:pt x="98" y="111"/>
                  <a:pt x="98" y="111"/>
                </a:cubicBezTo>
                <a:cubicBezTo>
                  <a:pt x="92" y="92"/>
                  <a:pt x="92" y="92"/>
                  <a:pt x="92" y="92"/>
                </a:cubicBezTo>
                <a:cubicBezTo>
                  <a:pt x="59" y="95"/>
                  <a:pt x="33" y="123"/>
                  <a:pt x="33" y="157"/>
                </a:cubicBezTo>
                <a:cubicBezTo>
                  <a:pt x="33" y="193"/>
                  <a:pt x="62" y="222"/>
                  <a:pt x="98" y="222"/>
                </a:cubicBezTo>
                <a:cubicBezTo>
                  <a:pt x="98" y="222"/>
                  <a:pt x="98" y="222"/>
                  <a:pt x="98" y="222"/>
                </a:cubicBezTo>
                <a:cubicBezTo>
                  <a:pt x="98" y="242"/>
                  <a:pt x="98" y="242"/>
                  <a:pt x="98" y="242"/>
                </a:cubicBezTo>
                <a:cubicBezTo>
                  <a:pt x="91" y="242"/>
                  <a:pt x="85" y="248"/>
                  <a:pt x="85" y="255"/>
                </a:cubicBezTo>
                <a:cubicBezTo>
                  <a:pt x="85" y="262"/>
                  <a:pt x="91" y="268"/>
                  <a:pt x="98" y="268"/>
                </a:cubicBezTo>
                <a:cubicBezTo>
                  <a:pt x="98" y="282"/>
                  <a:pt x="98" y="282"/>
                  <a:pt x="98" y="282"/>
                </a:cubicBezTo>
                <a:cubicBezTo>
                  <a:pt x="27" y="282"/>
                  <a:pt x="27" y="282"/>
                  <a:pt x="27" y="282"/>
                </a:cubicBezTo>
                <a:cubicBezTo>
                  <a:pt x="27" y="267"/>
                  <a:pt x="27" y="267"/>
                  <a:pt x="27" y="267"/>
                </a:cubicBezTo>
                <a:cubicBezTo>
                  <a:pt x="27" y="257"/>
                  <a:pt x="41" y="251"/>
                  <a:pt x="61" y="247"/>
                </a:cubicBezTo>
                <a:cubicBezTo>
                  <a:pt x="26" y="233"/>
                  <a:pt x="0" y="198"/>
                  <a:pt x="0" y="157"/>
                </a:cubicBezTo>
                <a:cubicBezTo>
                  <a:pt x="0" y="108"/>
                  <a:pt x="36" y="68"/>
                  <a:pt x="82" y="61"/>
                </a:cubicBezTo>
                <a:lnTo>
                  <a:pt x="67" y="15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19" name="Freeform 82"/>
          <p:cNvSpPr>
            <a:spLocks noEditPoints="1"/>
          </p:cNvSpPr>
          <p:nvPr/>
        </p:nvSpPr>
        <p:spPr bwMode="auto">
          <a:xfrm>
            <a:off x="8102921" y="1493228"/>
            <a:ext cx="246063" cy="217488"/>
          </a:xfrm>
          <a:custGeom>
            <a:avLst/>
            <a:gdLst>
              <a:gd name="T0" fmla="*/ 103 w 113"/>
              <a:gd name="T1" fmla="*/ 31 h 100"/>
              <a:gd name="T2" fmla="*/ 57 w 113"/>
              <a:gd name="T3" fmla="*/ 0 h 100"/>
              <a:gd name="T4" fmla="*/ 57 w 113"/>
              <a:gd name="T5" fmla="*/ 9 h 100"/>
              <a:gd name="T6" fmla="*/ 95 w 113"/>
              <a:gd name="T7" fmla="*/ 35 h 100"/>
              <a:gd name="T8" fmla="*/ 72 w 113"/>
              <a:gd name="T9" fmla="*/ 88 h 100"/>
              <a:gd name="T10" fmla="*/ 57 w 113"/>
              <a:gd name="T11" fmla="*/ 91 h 100"/>
              <a:gd name="T12" fmla="*/ 57 w 113"/>
              <a:gd name="T13" fmla="*/ 100 h 100"/>
              <a:gd name="T14" fmla="*/ 75 w 113"/>
              <a:gd name="T15" fmla="*/ 96 h 100"/>
              <a:gd name="T16" fmla="*/ 103 w 113"/>
              <a:gd name="T17" fmla="*/ 31 h 100"/>
              <a:gd name="T18" fmla="*/ 57 w 113"/>
              <a:gd name="T19" fmla="*/ 0 h 100"/>
              <a:gd name="T20" fmla="*/ 38 w 113"/>
              <a:gd name="T21" fmla="*/ 4 h 100"/>
              <a:gd name="T22" fmla="*/ 11 w 113"/>
              <a:gd name="T23" fmla="*/ 68 h 100"/>
              <a:gd name="T24" fmla="*/ 57 w 113"/>
              <a:gd name="T25" fmla="*/ 100 h 100"/>
              <a:gd name="T26" fmla="*/ 57 w 113"/>
              <a:gd name="T27" fmla="*/ 91 h 100"/>
              <a:gd name="T28" fmla="*/ 19 w 113"/>
              <a:gd name="T29" fmla="*/ 65 h 100"/>
              <a:gd name="T30" fmla="*/ 19 w 113"/>
              <a:gd name="T31" fmla="*/ 65 h 100"/>
              <a:gd name="T32" fmla="*/ 42 w 113"/>
              <a:gd name="T33" fmla="*/ 12 h 100"/>
              <a:gd name="T34" fmla="*/ 57 w 113"/>
              <a:gd name="T35" fmla="*/ 9 h 100"/>
              <a:gd name="T36" fmla="*/ 57 w 113"/>
              <a:gd name="T37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3" h="100">
                <a:moveTo>
                  <a:pt x="103" y="31"/>
                </a:moveTo>
                <a:cubicBezTo>
                  <a:pt x="95" y="12"/>
                  <a:pt x="77" y="0"/>
                  <a:pt x="57" y="0"/>
                </a:cubicBezTo>
                <a:cubicBezTo>
                  <a:pt x="57" y="9"/>
                  <a:pt x="57" y="9"/>
                  <a:pt x="57" y="9"/>
                </a:cubicBezTo>
                <a:cubicBezTo>
                  <a:pt x="73" y="9"/>
                  <a:pt x="88" y="19"/>
                  <a:pt x="95" y="35"/>
                </a:cubicBezTo>
                <a:cubicBezTo>
                  <a:pt x="103" y="56"/>
                  <a:pt x="93" y="79"/>
                  <a:pt x="72" y="88"/>
                </a:cubicBezTo>
                <a:cubicBezTo>
                  <a:pt x="67" y="90"/>
                  <a:pt x="62" y="91"/>
                  <a:pt x="57" y="91"/>
                </a:cubicBezTo>
                <a:cubicBezTo>
                  <a:pt x="57" y="100"/>
                  <a:pt x="57" y="100"/>
                  <a:pt x="57" y="100"/>
                </a:cubicBezTo>
                <a:cubicBezTo>
                  <a:pt x="63" y="100"/>
                  <a:pt x="69" y="99"/>
                  <a:pt x="75" y="96"/>
                </a:cubicBezTo>
                <a:cubicBezTo>
                  <a:pt x="101" y="86"/>
                  <a:pt x="113" y="57"/>
                  <a:pt x="103" y="31"/>
                </a:cubicBezTo>
                <a:close/>
                <a:moveTo>
                  <a:pt x="57" y="0"/>
                </a:moveTo>
                <a:cubicBezTo>
                  <a:pt x="51" y="0"/>
                  <a:pt x="44" y="1"/>
                  <a:pt x="38" y="4"/>
                </a:cubicBezTo>
                <a:cubicBezTo>
                  <a:pt x="13" y="14"/>
                  <a:pt x="0" y="43"/>
                  <a:pt x="11" y="68"/>
                </a:cubicBezTo>
                <a:cubicBezTo>
                  <a:pt x="18" y="88"/>
                  <a:pt x="37" y="100"/>
                  <a:pt x="57" y="100"/>
                </a:cubicBezTo>
                <a:cubicBezTo>
                  <a:pt x="57" y="91"/>
                  <a:pt x="57" y="91"/>
                  <a:pt x="57" y="91"/>
                </a:cubicBezTo>
                <a:cubicBezTo>
                  <a:pt x="41" y="90"/>
                  <a:pt x="26" y="81"/>
                  <a:pt x="19" y="65"/>
                </a:cubicBezTo>
                <a:cubicBezTo>
                  <a:pt x="19" y="65"/>
                  <a:pt x="19" y="65"/>
                  <a:pt x="19" y="65"/>
                </a:cubicBezTo>
                <a:cubicBezTo>
                  <a:pt x="11" y="44"/>
                  <a:pt x="21" y="21"/>
                  <a:pt x="42" y="12"/>
                </a:cubicBezTo>
                <a:cubicBezTo>
                  <a:pt x="47" y="10"/>
                  <a:pt x="52" y="9"/>
                  <a:pt x="57" y="9"/>
                </a:cubicBezTo>
                <a:lnTo>
                  <a:pt x="57" y="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0" name="Freeform 83"/>
          <p:cNvSpPr/>
          <p:nvPr/>
        </p:nvSpPr>
        <p:spPr bwMode="auto">
          <a:xfrm>
            <a:off x="8033071" y="1623403"/>
            <a:ext cx="107950" cy="68263"/>
          </a:xfrm>
          <a:custGeom>
            <a:avLst/>
            <a:gdLst>
              <a:gd name="T0" fmla="*/ 7 w 68"/>
              <a:gd name="T1" fmla="*/ 43 h 43"/>
              <a:gd name="T2" fmla="*/ 0 w 68"/>
              <a:gd name="T3" fmla="*/ 25 h 43"/>
              <a:gd name="T4" fmla="*/ 62 w 68"/>
              <a:gd name="T5" fmla="*/ 0 h 43"/>
              <a:gd name="T6" fmla="*/ 68 w 68"/>
              <a:gd name="T7" fmla="*/ 18 h 43"/>
              <a:gd name="T8" fmla="*/ 7 w 68"/>
              <a:gd name="T9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" h="43">
                <a:moveTo>
                  <a:pt x="7" y="43"/>
                </a:moveTo>
                <a:lnTo>
                  <a:pt x="0" y="25"/>
                </a:lnTo>
                <a:lnTo>
                  <a:pt x="62" y="0"/>
                </a:lnTo>
                <a:lnTo>
                  <a:pt x="68" y="18"/>
                </a:lnTo>
                <a:lnTo>
                  <a:pt x="7" y="43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1" name="Freeform 84"/>
          <p:cNvSpPr/>
          <p:nvPr/>
        </p:nvSpPr>
        <p:spPr bwMode="auto">
          <a:xfrm>
            <a:off x="7964809" y="1632928"/>
            <a:ext cx="146050" cy="88900"/>
          </a:xfrm>
          <a:custGeom>
            <a:avLst/>
            <a:gdLst>
              <a:gd name="T0" fmla="*/ 16 w 67"/>
              <a:gd name="T1" fmla="*/ 39 h 41"/>
              <a:gd name="T2" fmla="*/ 2 w 67"/>
              <a:gd name="T3" fmla="*/ 33 h 41"/>
              <a:gd name="T4" fmla="*/ 8 w 67"/>
              <a:gd name="T5" fmla="*/ 19 h 41"/>
              <a:gd name="T6" fmla="*/ 50 w 67"/>
              <a:gd name="T7" fmla="*/ 2 h 41"/>
              <a:gd name="T8" fmla="*/ 64 w 67"/>
              <a:gd name="T9" fmla="*/ 8 h 41"/>
              <a:gd name="T10" fmla="*/ 58 w 67"/>
              <a:gd name="T11" fmla="*/ 22 h 41"/>
              <a:gd name="T12" fmla="*/ 16 w 67"/>
              <a:gd name="T13" fmla="*/ 3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7" h="41">
                <a:moveTo>
                  <a:pt x="16" y="39"/>
                </a:moveTo>
                <a:cubicBezTo>
                  <a:pt x="10" y="41"/>
                  <a:pt x="4" y="39"/>
                  <a:pt x="2" y="33"/>
                </a:cubicBezTo>
                <a:cubicBezTo>
                  <a:pt x="0" y="28"/>
                  <a:pt x="2" y="21"/>
                  <a:pt x="8" y="19"/>
                </a:cubicBezTo>
                <a:cubicBezTo>
                  <a:pt x="50" y="2"/>
                  <a:pt x="50" y="2"/>
                  <a:pt x="50" y="2"/>
                </a:cubicBezTo>
                <a:cubicBezTo>
                  <a:pt x="56" y="0"/>
                  <a:pt x="62" y="3"/>
                  <a:pt x="64" y="8"/>
                </a:cubicBezTo>
                <a:cubicBezTo>
                  <a:pt x="67" y="14"/>
                  <a:pt x="64" y="20"/>
                  <a:pt x="58" y="22"/>
                </a:cubicBezTo>
                <a:lnTo>
                  <a:pt x="16" y="39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2" name="Freeform 85"/>
          <p:cNvSpPr>
            <a:spLocks noEditPoints="1"/>
          </p:cNvSpPr>
          <p:nvPr/>
        </p:nvSpPr>
        <p:spPr bwMode="auto">
          <a:xfrm>
            <a:off x="7880671" y="2791803"/>
            <a:ext cx="446088" cy="158750"/>
          </a:xfrm>
          <a:custGeom>
            <a:avLst/>
            <a:gdLst>
              <a:gd name="T0" fmla="*/ 142 w 205"/>
              <a:gd name="T1" fmla="*/ 5 h 73"/>
              <a:gd name="T2" fmla="*/ 157 w 205"/>
              <a:gd name="T3" fmla="*/ 2 h 73"/>
              <a:gd name="T4" fmla="*/ 164 w 205"/>
              <a:gd name="T5" fmla="*/ 5 h 73"/>
              <a:gd name="T6" fmla="*/ 179 w 205"/>
              <a:gd name="T7" fmla="*/ 2 h 73"/>
              <a:gd name="T8" fmla="*/ 202 w 205"/>
              <a:gd name="T9" fmla="*/ 18 h 73"/>
              <a:gd name="T10" fmla="*/ 187 w 205"/>
              <a:gd name="T11" fmla="*/ 42 h 73"/>
              <a:gd name="T12" fmla="*/ 177 w 205"/>
              <a:gd name="T13" fmla="*/ 43 h 73"/>
              <a:gd name="T14" fmla="*/ 166 w 205"/>
              <a:gd name="T15" fmla="*/ 18 h 73"/>
              <a:gd name="T16" fmla="*/ 172 w 205"/>
              <a:gd name="T17" fmla="*/ 45 h 73"/>
              <a:gd name="T18" fmla="*/ 167 w 205"/>
              <a:gd name="T19" fmla="*/ 50 h 73"/>
              <a:gd name="T20" fmla="*/ 142 w 205"/>
              <a:gd name="T21" fmla="*/ 55 h 73"/>
              <a:gd name="T22" fmla="*/ 142 w 205"/>
              <a:gd name="T23" fmla="*/ 20 h 73"/>
              <a:gd name="T24" fmla="*/ 158 w 205"/>
              <a:gd name="T25" fmla="*/ 17 h 73"/>
              <a:gd name="T26" fmla="*/ 163 w 205"/>
              <a:gd name="T27" fmla="*/ 19 h 73"/>
              <a:gd name="T28" fmla="*/ 161 w 205"/>
              <a:gd name="T29" fmla="*/ 9 h 73"/>
              <a:gd name="T30" fmla="*/ 155 w 205"/>
              <a:gd name="T31" fmla="*/ 5 h 73"/>
              <a:gd name="T32" fmla="*/ 142 w 205"/>
              <a:gd name="T33" fmla="*/ 8 h 73"/>
              <a:gd name="T34" fmla="*/ 142 w 205"/>
              <a:gd name="T35" fmla="*/ 5 h 73"/>
              <a:gd name="T36" fmla="*/ 28 w 205"/>
              <a:gd name="T37" fmla="*/ 30 h 73"/>
              <a:gd name="T38" fmla="*/ 116 w 205"/>
              <a:gd name="T39" fmla="*/ 13 h 73"/>
              <a:gd name="T40" fmla="*/ 121 w 205"/>
              <a:gd name="T41" fmla="*/ 9 h 73"/>
              <a:gd name="T42" fmla="*/ 142 w 205"/>
              <a:gd name="T43" fmla="*/ 5 h 73"/>
              <a:gd name="T44" fmla="*/ 142 w 205"/>
              <a:gd name="T45" fmla="*/ 8 h 73"/>
              <a:gd name="T46" fmla="*/ 124 w 205"/>
              <a:gd name="T47" fmla="*/ 11 h 73"/>
              <a:gd name="T48" fmla="*/ 120 w 205"/>
              <a:gd name="T49" fmla="*/ 17 h 73"/>
              <a:gd name="T50" fmla="*/ 122 w 205"/>
              <a:gd name="T51" fmla="*/ 28 h 73"/>
              <a:gd name="T52" fmla="*/ 122 w 205"/>
              <a:gd name="T53" fmla="*/ 28 h 73"/>
              <a:gd name="T54" fmla="*/ 126 w 205"/>
              <a:gd name="T55" fmla="*/ 24 h 73"/>
              <a:gd name="T56" fmla="*/ 142 w 205"/>
              <a:gd name="T57" fmla="*/ 20 h 73"/>
              <a:gd name="T58" fmla="*/ 142 w 205"/>
              <a:gd name="T59" fmla="*/ 55 h 73"/>
              <a:gd name="T60" fmla="*/ 130 w 205"/>
              <a:gd name="T61" fmla="*/ 57 h 73"/>
              <a:gd name="T62" fmla="*/ 125 w 205"/>
              <a:gd name="T63" fmla="*/ 56 h 73"/>
              <a:gd name="T64" fmla="*/ 35 w 205"/>
              <a:gd name="T65" fmla="*/ 73 h 73"/>
              <a:gd name="T66" fmla="*/ 28 w 205"/>
              <a:gd name="T67" fmla="*/ 70 h 73"/>
              <a:gd name="T68" fmla="*/ 28 w 205"/>
              <a:gd name="T69" fmla="*/ 67 h 73"/>
              <a:gd name="T70" fmla="*/ 35 w 205"/>
              <a:gd name="T71" fmla="*/ 70 h 73"/>
              <a:gd name="T72" fmla="*/ 35 w 205"/>
              <a:gd name="T73" fmla="*/ 70 h 73"/>
              <a:gd name="T74" fmla="*/ 37 w 205"/>
              <a:gd name="T75" fmla="*/ 70 h 73"/>
              <a:gd name="T76" fmla="*/ 42 w 205"/>
              <a:gd name="T77" fmla="*/ 62 h 73"/>
              <a:gd name="T78" fmla="*/ 36 w 205"/>
              <a:gd name="T79" fmla="*/ 57 h 73"/>
              <a:gd name="T80" fmla="*/ 40 w 205"/>
              <a:gd name="T81" fmla="*/ 50 h 73"/>
              <a:gd name="T82" fmla="*/ 34 w 205"/>
              <a:gd name="T83" fmla="*/ 45 h 73"/>
              <a:gd name="T84" fmla="*/ 37 w 205"/>
              <a:gd name="T85" fmla="*/ 38 h 73"/>
              <a:gd name="T86" fmla="*/ 30 w 205"/>
              <a:gd name="T87" fmla="*/ 33 h 73"/>
              <a:gd name="T88" fmla="*/ 28 w 205"/>
              <a:gd name="T89" fmla="*/ 33 h 73"/>
              <a:gd name="T90" fmla="*/ 28 w 205"/>
              <a:gd name="T91" fmla="*/ 34 h 73"/>
              <a:gd name="T92" fmla="*/ 28 w 205"/>
              <a:gd name="T93" fmla="*/ 30 h 73"/>
              <a:gd name="T94" fmla="*/ 26 w 205"/>
              <a:gd name="T95" fmla="*/ 31 h 73"/>
              <a:gd name="T96" fmla="*/ 28 w 205"/>
              <a:gd name="T97" fmla="*/ 30 h 73"/>
              <a:gd name="T98" fmla="*/ 28 w 205"/>
              <a:gd name="T99" fmla="*/ 34 h 73"/>
              <a:gd name="T100" fmla="*/ 13 w 205"/>
              <a:gd name="T101" fmla="*/ 49 h 73"/>
              <a:gd name="T102" fmla="*/ 15 w 205"/>
              <a:gd name="T103" fmla="*/ 62 h 73"/>
              <a:gd name="T104" fmla="*/ 28 w 205"/>
              <a:gd name="T105" fmla="*/ 67 h 73"/>
              <a:gd name="T106" fmla="*/ 28 w 205"/>
              <a:gd name="T107" fmla="*/ 70 h 73"/>
              <a:gd name="T108" fmla="*/ 0 w 205"/>
              <a:gd name="T109" fmla="*/ 58 h 73"/>
              <a:gd name="T110" fmla="*/ 26 w 205"/>
              <a:gd name="T111" fmla="*/ 31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05" h="73">
                <a:moveTo>
                  <a:pt x="142" y="5"/>
                </a:moveTo>
                <a:cubicBezTo>
                  <a:pt x="157" y="2"/>
                  <a:pt x="157" y="2"/>
                  <a:pt x="157" y="2"/>
                </a:cubicBezTo>
                <a:cubicBezTo>
                  <a:pt x="160" y="1"/>
                  <a:pt x="163" y="3"/>
                  <a:pt x="164" y="5"/>
                </a:cubicBezTo>
                <a:cubicBezTo>
                  <a:pt x="179" y="2"/>
                  <a:pt x="179" y="2"/>
                  <a:pt x="179" y="2"/>
                </a:cubicBezTo>
                <a:cubicBezTo>
                  <a:pt x="190" y="0"/>
                  <a:pt x="200" y="7"/>
                  <a:pt x="202" y="18"/>
                </a:cubicBezTo>
                <a:cubicBezTo>
                  <a:pt x="205" y="29"/>
                  <a:pt x="197" y="39"/>
                  <a:pt x="187" y="42"/>
                </a:cubicBezTo>
                <a:cubicBezTo>
                  <a:pt x="177" y="43"/>
                  <a:pt x="177" y="43"/>
                  <a:pt x="177" y="43"/>
                </a:cubicBezTo>
                <a:cubicBezTo>
                  <a:pt x="166" y="18"/>
                  <a:pt x="166" y="18"/>
                  <a:pt x="166" y="18"/>
                </a:cubicBezTo>
                <a:cubicBezTo>
                  <a:pt x="172" y="45"/>
                  <a:pt x="172" y="45"/>
                  <a:pt x="172" y="45"/>
                </a:cubicBezTo>
                <a:cubicBezTo>
                  <a:pt x="172" y="47"/>
                  <a:pt x="170" y="50"/>
                  <a:pt x="167" y="50"/>
                </a:cubicBezTo>
                <a:cubicBezTo>
                  <a:pt x="142" y="55"/>
                  <a:pt x="142" y="55"/>
                  <a:pt x="142" y="55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58" y="17"/>
                  <a:pt x="158" y="17"/>
                  <a:pt x="158" y="17"/>
                </a:cubicBezTo>
                <a:cubicBezTo>
                  <a:pt x="160" y="17"/>
                  <a:pt x="162" y="18"/>
                  <a:pt x="163" y="19"/>
                </a:cubicBezTo>
                <a:cubicBezTo>
                  <a:pt x="161" y="9"/>
                  <a:pt x="161" y="9"/>
                  <a:pt x="161" y="9"/>
                </a:cubicBezTo>
                <a:cubicBezTo>
                  <a:pt x="161" y="6"/>
                  <a:pt x="158" y="5"/>
                  <a:pt x="155" y="5"/>
                </a:cubicBezTo>
                <a:cubicBezTo>
                  <a:pt x="142" y="8"/>
                  <a:pt x="142" y="8"/>
                  <a:pt x="142" y="8"/>
                </a:cubicBezTo>
                <a:lnTo>
                  <a:pt x="142" y="5"/>
                </a:lnTo>
                <a:close/>
                <a:moveTo>
                  <a:pt x="28" y="30"/>
                </a:moveTo>
                <a:cubicBezTo>
                  <a:pt x="116" y="13"/>
                  <a:pt x="116" y="13"/>
                  <a:pt x="116" y="13"/>
                </a:cubicBezTo>
                <a:cubicBezTo>
                  <a:pt x="117" y="11"/>
                  <a:pt x="119" y="9"/>
                  <a:pt x="121" y="9"/>
                </a:cubicBezTo>
                <a:cubicBezTo>
                  <a:pt x="142" y="5"/>
                  <a:pt x="142" y="5"/>
                  <a:pt x="142" y="5"/>
                </a:cubicBezTo>
                <a:cubicBezTo>
                  <a:pt x="142" y="8"/>
                  <a:pt x="142" y="8"/>
                  <a:pt x="142" y="8"/>
                </a:cubicBezTo>
                <a:cubicBezTo>
                  <a:pt x="124" y="11"/>
                  <a:pt x="124" y="11"/>
                  <a:pt x="124" y="11"/>
                </a:cubicBezTo>
                <a:cubicBezTo>
                  <a:pt x="121" y="12"/>
                  <a:pt x="119" y="15"/>
                  <a:pt x="120" y="17"/>
                </a:cubicBezTo>
                <a:cubicBezTo>
                  <a:pt x="122" y="28"/>
                  <a:pt x="122" y="28"/>
                  <a:pt x="122" y="28"/>
                </a:cubicBezTo>
                <a:cubicBezTo>
                  <a:pt x="122" y="28"/>
                  <a:pt x="122" y="28"/>
                  <a:pt x="122" y="28"/>
                </a:cubicBezTo>
                <a:cubicBezTo>
                  <a:pt x="122" y="26"/>
                  <a:pt x="124" y="24"/>
                  <a:pt x="126" y="24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55"/>
                  <a:pt x="142" y="55"/>
                  <a:pt x="142" y="55"/>
                </a:cubicBezTo>
                <a:cubicBezTo>
                  <a:pt x="130" y="57"/>
                  <a:pt x="130" y="57"/>
                  <a:pt x="130" y="57"/>
                </a:cubicBezTo>
                <a:cubicBezTo>
                  <a:pt x="128" y="58"/>
                  <a:pt x="126" y="57"/>
                  <a:pt x="125" y="56"/>
                </a:cubicBezTo>
                <a:cubicBezTo>
                  <a:pt x="35" y="73"/>
                  <a:pt x="35" y="73"/>
                  <a:pt x="35" y="73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67"/>
                  <a:pt x="28" y="67"/>
                  <a:pt x="28" y="67"/>
                </a:cubicBezTo>
                <a:cubicBezTo>
                  <a:pt x="35" y="70"/>
                  <a:pt x="35" y="70"/>
                  <a:pt x="35" y="70"/>
                </a:cubicBezTo>
                <a:cubicBezTo>
                  <a:pt x="35" y="70"/>
                  <a:pt x="35" y="70"/>
                  <a:pt x="35" y="70"/>
                </a:cubicBezTo>
                <a:cubicBezTo>
                  <a:pt x="37" y="70"/>
                  <a:pt x="37" y="70"/>
                  <a:pt x="37" y="70"/>
                </a:cubicBezTo>
                <a:cubicBezTo>
                  <a:pt x="41" y="69"/>
                  <a:pt x="43" y="66"/>
                  <a:pt x="42" y="62"/>
                </a:cubicBezTo>
                <a:cubicBezTo>
                  <a:pt x="42" y="59"/>
                  <a:pt x="39" y="57"/>
                  <a:pt x="36" y="57"/>
                </a:cubicBezTo>
                <a:cubicBezTo>
                  <a:pt x="39" y="56"/>
                  <a:pt x="40" y="53"/>
                  <a:pt x="40" y="50"/>
                </a:cubicBezTo>
                <a:cubicBezTo>
                  <a:pt x="39" y="47"/>
                  <a:pt x="37" y="45"/>
                  <a:pt x="34" y="45"/>
                </a:cubicBezTo>
                <a:cubicBezTo>
                  <a:pt x="36" y="44"/>
                  <a:pt x="38" y="41"/>
                  <a:pt x="37" y="38"/>
                </a:cubicBezTo>
                <a:cubicBezTo>
                  <a:pt x="37" y="34"/>
                  <a:pt x="33" y="32"/>
                  <a:pt x="30" y="33"/>
                </a:cubicBezTo>
                <a:cubicBezTo>
                  <a:pt x="28" y="33"/>
                  <a:pt x="28" y="33"/>
                  <a:pt x="28" y="33"/>
                </a:cubicBezTo>
                <a:cubicBezTo>
                  <a:pt x="28" y="34"/>
                  <a:pt x="28" y="34"/>
                  <a:pt x="28" y="34"/>
                </a:cubicBezTo>
                <a:lnTo>
                  <a:pt x="28" y="30"/>
                </a:lnTo>
                <a:close/>
                <a:moveTo>
                  <a:pt x="26" y="31"/>
                </a:moveTo>
                <a:cubicBezTo>
                  <a:pt x="28" y="30"/>
                  <a:pt x="28" y="30"/>
                  <a:pt x="28" y="30"/>
                </a:cubicBezTo>
                <a:cubicBezTo>
                  <a:pt x="28" y="34"/>
                  <a:pt x="28" y="34"/>
                  <a:pt x="28" y="34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62"/>
                  <a:pt x="15" y="62"/>
                  <a:pt x="15" y="62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70"/>
                  <a:pt x="28" y="70"/>
                  <a:pt x="28" y="70"/>
                </a:cubicBezTo>
                <a:cubicBezTo>
                  <a:pt x="0" y="58"/>
                  <a:pt x="0" y="58"/>
                  <a:pt x="0" y="58"/>
                </a:cubicBezTo>
                <a:lnTo>
                  <a:pt x="26" y="31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3" name="Freeform 86"/>
          <p:cNvSpPr/>
          <p:nvPr/>
        </p:nvSpPr>
        <p:spPr bwMode="auto">
          <a:xfrm>
            <a:off x="9728521" y="3201378"/>
            <a:ext cx="246063" cy="315913"/>
          </a:xfrm>
          <a:custGeom>
            <a:avLst/>
            <a:gdLst>
              <a:gd name="T0" fmla="*/ 113 w 113"/>
              <a:gd name="T1" fmla="*/ 25 h 145"/>
              <a:gd name="T2" fmla="*/ 108 w 113"/>
              <a:gd name="T3" fmla="*/ 22 h 145"/>
              <a:gd name="T4" fmla="*/ 42 w 113"/>
              <a:gd name="T5" fmla="*/ 128 h 145"/>
              <a:gd name="T6" fmla="*/ 19 w 113"/>
              <a:gd name="T7" fmla="*/ 132 h 145"/>
              <a:gd name="T8" fmla="*/ 12 w 113"/>
              <a:gd name="T9" fmla="*/ 109 h 145"/>
              <a:gd name="T10" fmla="*/ 78 w 113"/>
              <a:gd name="T11" fmla="*/ 3 h 145"/>
              <a:gd name="T12" fmla="*/ 73 w 113"/>
              <a:gd name="T13" fmla="*/ 0 h 145"/>
              <a:gd name="T14" fmla="*/ 6 w 113"/>
              <a:gd name="T15" fmla="*/ 107 h 145"/>
              <a:gd name="T16" fmla="*/ 15 w 113"/>
              <a:gd name="T17" fmla="*/ 138 h 145"/>
              <a:gd name="T18" fmla="*/ 47 w 113"/>
              <a:gd name="T19" fmla="*/ 132 h 145"/>
              <a:gd name="T20" fmla="*/ 113 w 113"/>
              <a:gd name="T21" fmla="*/ 2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3" h="145">
                <a:moveTo>
                  <a:pt x="113" y="25"/>
                </a:moveTo>
                <a:cubicBezTo>
                  <a:pt x="108" y="22"/>
                  <a:pt x="108" y="22"/>
                  <a:pt x="108" y="22"/>
                </a:cubicBezTo>
                <a:cubicBezTo>
                  <a:pt x="42" y="128"/>
                  <a:pt x="42" y="128"/>
                  <a:pt x="42" y="128"/>
                </a:cubicBezTo>
                <a:cubicBezTo>
                  <a:pt x="38" y="135"/>
                  <a:pt x="27" y="137"/>
                  <a:pt x="19" y="132"/>
                </a:cubicBezTo>
                <a:cubicBezTo>
                  <a:pt x="11" y="127"/>
                  <a:pt x="8" y="117"/>
                  <a:pt x="12" y="109"/>
                </a:cubicBezTo>
                <a:cubicBezTo>
                  <a:pt x="78" y="3"/>
                  <a:pt x="78" y="3"/>
                  <a:pt x="78" y="3"/>
                </a:cubicBezTo>
                <a:cubicBezTo>
                  <a:pt x="73" y="0"/>
                  <a:pt x="73" y="0"/>
                  <a:pt x="73" y="0"/>
                </a:cubicBezTo>
                <a:cubicBezTo>
                  <a:pt x="6" y="107"/>
                  <a:pt x="6" y="107"/>
                  <a:pt x="6" y="107"/>
                </a:cubicBezTo>
                <a:cubicBezTo>
                  <a:pt x="0" y="117"/>
                  <a:pt x="4" y="131"/>
                  <a:pt x="15" y="138"/>
                </a:cubicBezTo>
                <a:cubicBezTo>
                  <a:pt x="26" y="145"/>
                  <a:pt x="40" y="142"/>
                  <a:pt x="47" y="132"/>
                </a:cubicBezTo>
                <a:lnTo>
                  <a:pt x="113" y="25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4" name="Freeform 87"/>
          <p:cNvSpPr/>
          <p:nvPr/>
        </p:nvSpPr>
        <p:spPr bwMode="auto">
          <a:xfrm>
            <a:off x="9868221" y="3190265"/>
            <a:ext cx="119063" cy="82550"/>
          </a:xfrm>
          <a:custGeom>
            <a:avLst/>
            <a:gdLst>
              <a:gd name="T0" fmla="*/ 54 w 55"/>
              <a:gd name="T1" fmla="*/ 35 h 38"/>
              <a:gd name="T2" fmla="*/ 48 w 55"/>
              <a:gd name="T3" fmla="*/ 37 h 38"/>
              <a:gd name="T4" fmla="*/ 3 w 55"/>
              <a:gd name="T5" fmla="*/ 9 h 38"/>
              <a:gd name="T6" fmla="*/ 2 w 55"/>
              <a:gd name="T7" fmla="*/ 3 h 38"/>
              <a:gd name="T8" fmla="*/ 8 w 55"/>
              <a:gd name="T9" fmla="*/ 1 h 38"/>
              <a:gd name="T10" fmla="*/ 53 w 55"/>
              <a:gd name="T11" fmla="*/ 29 h 38"/>
              <a:gd name="T12" fmla="*/ 54 w 55"/>
              <a:gd name="T13" fmla="*/ 35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38">
                <a:moveTo>
                  <a:pt x="54" y="35"/>
                </a:moveTo>
                <a:cubicBezTo>
                  <a:pt x="53" y="37"/>
                  <a:pt x="50" y="38"/>
                  <a:pt x="48" y="37"/>
                </a:cubicBezTo>
                <a:cubicBezTo>
                  <a:pt x="3" y="9"/>
                  <a:pt x="3" y="9"/>
                  <a:pt x="3" y="9"/>
                </a:cubicBezTo>
                <a:cubicBezTo>
                  <a:pt x="1" y="7"/>
                  <a:pt x="0" y="5"/>
                  <a:pt x="2" y="3"/>
                </a:cubicBezTo>
                <a:cubicBezTo>
                  <a:pt x="3" y="1"/>
                  <a:pt x="6" y="0"/>
                  <a:pt x="8" y="1"/>
                </a:cubicBezTo>
                <a:cubicBezTo>
                  <a:pt x="53" y="29"/>
                  <a:pt x="53" y="29"/>
                  <a:pt x="53" y="29"/>
                </a:cubicBezTo>
                <a:cubicBezTo>
                  <a:pt x="55" y="31"/>
                  <a:pt x="55" y="33"/>
                  <a:pt x="54" y="35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5" name="Freeform 88"/>
          <p:cNvSpPr/>
          <p:nvPr/>
        </p:nvSpPr>
        <p:spPr bwMode="auto">
          <a:xfrm>
            <a:off x="9776146" y="3255353"/>
            <a:ext cx="163513" cy="227013"/>
          </a:xfrm>
          <a:custGeom>
            <a:avLst/>
            <a:gdLst>
              <a:gd name="T0" fmla="*/ 75 w 75"/>
              <a:gd name="T1" fmla="*/ 4 h 104"/>
              <a:gd name="T2" fmla="*/ 69 w 75"/>
              <a:gd name="T3" fmla="*/ 0 h 104"/>
              <a:gd name="T4" fmla="*/ 10 w 75"/>
              <a:gd name="T5" fmla="*/ 95 h 104"/>
              <a:gd name="T6" fmla="*/ 0 w 75"/>
              <a:gd name="T7" fmla="*/ 100 h 104"/>
              <a:gd name="T8" fmla="*/ 1 w 75"/>
              <a:gd name="T9" fmla="*/ 101 h 104"/>
              <a:gd name="T10" fmla="*/ 17 w 75"/>
              <a:gd name="T11" fmla="*/ 98 h 104"/>
              <a:gd name="T12" fmla="*/ 75 w 75"/>
              <a:gd name="T13" fmla="*/ 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" h="104">
                <a:moveTo>
                  <a:pt x="75" y="4"/>
                </a:moveTo>
                <a:cubicBezTo>
                  <a:pt x="69" y="0"/>
                  <a:pt x="69" y="0"/>
                  <a:pt x="69" y="0"/>
                </a:cubicBezTo>
                <a:cubicBezTo>
                  <a:pt x="10" y="95"/>
                  <a:pt x="10" y="95"/>
                  <a:pt x="10" y="95"/>
                </a:cubicBezTo>
                <a:cubicBezTo>
                  <a:pt x="8" y="98"/>
                  <a:pt x="4" y="100"/>
                  <a:pt x="0" y="100"/>
                </a:cubicBezTo>
                <a:cubicBezTo>
                  <a:pt x="0" y="100"/>
                  <a:pt x="1" y="100"/>
                  <a:pt x="1" y="101"/>
                </a:cubicBezTo>
                <a:cubicBezTo>
                  <a:pt x="7" y="104"/>
                  <a:pt x="14" y="103"/>
                  <a:pt x="17" y="98"/>
                </a:cubicBezTo>
                <a:lnTo>
                  <a:pt x="75" y="4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6" name="Freeform 89"/>
          <p:cNvSpPr>
            <a:spLocks noEditPoints="1"/>
          </p:cNvSpPr>
          <p:nvPr/>
        </p:nvSpPr>
        <p:spPr bwMode="auto">
          <a:xfrm>
            <a:off x="9395146" y="1963128"/>
            <a:ext cx="222250" cy="161925"/>
          </a:xfrm>
          <a:custGeom>
            <a:avLst/>
            <a:gdLst>
              <a:gd name="T0" fmla="*/ 84 w 102"/>
              <a:gd name="T1" fmla="*/ 71 h 74"/>
              <a:gd name="T2" fmla="*/ 79 w 102"/>
              <a:gd name="T3" fmla="*/ 69 h 74"/>
              <a:gd name="T4" fmla="*/ 79 w 102"/>
              <a:gd name="T5" fmla="*/ 69 h 74"/>
              <a:gd name="T6" fmla="*/ 79 w 102"/>
              <a:gd name="T7" fmla="*/ 52 h 74"/>
              <a:gd name="T8" fmla="*/ 86 w 102"/>
              <a:gd name="T9" fmla="*/ 49 h 74"/>
              <a:gd name="T10" fmla="*/ 90 w 102"/>
              <a:gd name="T11" fmla="*/ 38 h 74"/>
              <a:gd name="T12" fmla="*/ 79 w 102"/>
              <a:gd name="T13" fmla="*/ 31 h 74"/>
              <a:gd name="T14" fmla="*/ 85 w 102"/>
              <a:gd name="T15" fmla="*/ 20 h 74"/>
              <a:gd name="T16" fmla="*/ 79 w 102"/>
              <a:gd name="T17" fmla="*/ 16 h 74"/>
              <a:gd name="T18" fmla="*/ 72 w 102"/>
              <a:gd name="T19" fmla="*/ 3 h 74"/>
              <a:gd name="T20" fmla="*/ 79 w 102"/>
              <a:gd name="T21" fmla="*/ 16 h 74"/>
              <a:gd name="T22" fmla="*/ 72 w 102"/>
              <a:gd name="T23" fmla="*/ 21 h 74"/>
              <a:gd name="T24" fmla="*/ 72 w 102"/>
              <a:gd name="T25" fmla="*/ 9 h 74"/>
              <a:gd name="T26" fmla="*/ 79 w 102"/>
              <a:gd name="T27" fmla="*/ 73 h 74"/>
              <a:gd name="T28" fmla="*/ 72 w 102"/>
              <a:gd name="T29" fmla="*/ 69 h 74"/>
              <a:gd name="T30" fmla="*/ 79 w 102"/>
              <a:gd name="T31" fmla="*/ 73 h 74"/>
              <a:gd name="T32" fmla="*/ 79 w 102"/>
              <a:gd name="T33" fmla="*/ 34 h 74"/>
              <a:gd name="T34" fmla="*/ 75 w 102"/>
              <a:gd name="T35" fmla="*/ 45 h 74"/>
              <a:gd name="T36" fmla="*/ 79 w 102"/>
              <a:gd name="T37" fmla="*/ 52 h 74"/>
              <a:gd name="T38" fmla="*/ 72 w 102"/>
              <a:gd name="T39" fmla="*/ 25 h 74"/>
              <a:gd name="T40" fmla="*/ 79 w 102"/>
              <a:gd name="T41" fmla="*/ 31 h 74"/>
              <a:gd name="T42" fmla="*/ 72 w 102"/>
              <a:gd name="T43" fmla="*/ 3 h 74"/>
              <a:gd name="T44" fmla="*/ 71 w 102"/>
              <a:gd name="T45" fmla="*/ 8 h 74"/>
              <a:gd name="T46" fmla="*/ 66 w 102"/>
              <a:gd name="T47" fmla="*/ 2 h 74"/>
              <a:gd name="T48" fmla="*/ 66 w 102"/>
              <a:gd name="T49" fmla="*/ 73 h 74"/>
              <a:gd name="T50" fmla="*/ 67 w 102"/>
              <a:gd name="T51" fmla="*/ 65 h 74"/>
              <a:gd name="T52" fmla="*/ 72 w 102"/>
              <a:gd name="T53" fmla="*/ 74 h 74"/>
              <a:gd name="T54" fmla="*/ 72 w 102"/>
              <a:gd name="T55" fmla="*/ 21 h 74"/>
              <a:gd name="T56" fmla="*/ 72 w 102"/>
              <a:gd name="T57" fmla="*/ 52 h 74"/>
              <a:gd name="T58" fmla="*/ 66 w 102"/>
              <a:gd name="T59" fmla="*/ 57 h 74"/>
              <a:gd name="T60" fmla="*/ 69 w 102"/>
              <a:gd name="T61" fmla="*/ 16 h 74"/>
              <a:gd name="T62" fmla="*/ 22 w 102"/>
              <a:gd name="T63" fmla="*/ 10 h 74"/>
              <a:gd name="T64" fmla="*/ 66 w 102"/>
              <a:gd name="T65" fmla="*/ 5 h 74"/>
              <a:gd name="T66" fmla="*/ 64 w 102"/>
              <a:gd name="T67" fmla="*/ 6 h 74"/>
              <a:gd name="T68" fmla="*/ 66 w 102"/>
              <a:gd name="T69" fmla="*/ 16 h 74"/>
              <a:gd name="T70" fmla="*/ 66 w 102"/>
              <a:gd name="T71" fmla="*/ 64 h 74"/>
              <a:gd name="T72" fmla="*/ 37 w 102"/>
              <a:gd name="T73" fmla="*/ 57 h 74"/>
              <a:gd name="T74" fmla="*/ 22 w 102"/>
              <a:gd name="T75" fmla="*/ 49 h 74"/>
              <a:gd name="T76" fmla="*/ 27 w 102"/>
              <a:gd name="T77" fmla="*/ 48 h 74"/>
              <a:gd name="T78" fmla="*/ 22 w 102"/>
              <a:gd name="T79" fmla="*/ 27 h 74"/>
              <a:gd name="T80" fmla="*/ 2 w 102"/>
              <a:gd name="T81" fmla="*/ 41 h 74"/>
              <a:gd name="T82" fmla="*/ 22 w 102"/>
              <a:gd name="T83" fmla="*/ 10 h 74"/>
              <a:gd name="T84" fmla="*/ 17 w 102"/>
              <a:gd name="T85" fmla="*/ 28 h 74"/>
              <a:gd name="T86" fmla="*/ 22 w 102"/>
              <a:gd name="T87" fmla="*/ 49 h 74"/>
              <a:gd name="T88" fmla="*/ 2 w 102"/>
              <a:gd name="T89" fmla="*/ 41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2" h="74">
                <a:moveTo>
                  <a:pt x="79" y="7"/>
                </a:moveTo>
                <a:cubicBezTo>
                  <a:pt x="102" y="22"/>
                  <a:pt x="98" y="62"/>
                  <a:pt x="84" y="71"/>
                </a:cubicBezTo>
                <a:cubicBezTo>
                  <a:pt x="82" y="72"/>
                  <a:pt x="80" y="73"/>
                  <a:pt x="79" y="73"/>
                </a:cubicBezTo>
                <a:cubicBezTo>
                  <a:pt x="79" y="69"/>
                  <a:pt x="79" y="69"/>
                  <a:pt x="79" y="69"/>
                </a:cubicBezTo>
                <a:cubicBezTo>
                  <a:pt x="79" y="69"/>
                  <a:pt x="79" y="69"/>
                  <a:pt x="79" y="69"/>
                </a:cubicBezTo>
                <a:cubicBezTo>
                  <a:pt x="79" y="69"/>
                  <a:pt x="79" y="69"/>
                  <a:pt x="79" y="69"/>
                </a:cubicBezTo>
                <a:cubicBezTo>
                  <a:pt x="83" y="67"/>
                  <a:pt x="85" y="61"/>
                  <a:pt x="83" y="57"/>
                </a:cubicBezTo>
                <a:cubicBezTo>
                  <a:pt x="82" y="55"/>
                  <a:pt x="80" y="53"/>
                  <a:pt x="79" y="52"/>
                </a:cubicBezTo>
                <a:cubicBezTo>
                  <a:pt x="79" y="49"/>
                  <a:pt x="79" y="49"/>
                  <a:pt x="79" y="49"/>
                </a:cubicBezTo>
                <a:cubicBezTo>
                  <a:pt x="81" y="50"/>
                  <a:pt x="84" y="50"/>
                  <a:pt x="86" y="49"/>
                </a:cubicBezTo>
                <a:cubicBezTo>
                  <a:pt x="86" y="49"/>
                  <a:pt x="86" y="49"/>
                  <a:pt x="86" y="49"/>
                </a:cubicBezTo>
                <a:cubicBezTo>
                  <a:pt x="90" y="47"/>
                  <a:pt x="92" y="42"/>
                  <a:pt x="90" y="38"/>
                </a:cubicBezTo>
                <a:cubicBezTo>
                  <a:pt x="88" y="34"/>
                  <a:pt x="83" y="32"/>
                  <a:pt x="79" y="34"/>
                </a:cubicBezTo>
                <a:cubicBezTo>
                  <a:pt x="79" y="31"/>
                  <a:pt x="79" y="31"/>
                  <a:pt x="79" y="31"/>
                </a:cubicBezTo>
                <a:cubicBezTo>
                  <a:pt x="80" y="31"/>
                  <a:pt x="81" y="30"/>
                  <a:pt x="82" y="30"/>
                </a:cubicBezTo>
                <a:cubicBezTo>
                  <a:pt x="86" y="28"/>
                  <a:pt x="87" y="24"/>
                  <a:pt x="85" y="20"/>
                </a:cubicBezTo>
                <a:cubicBezTo>
                  <a:pt x="85" y="20"/>
                  <a:pt x="85" y="20"/>
                  <a:pt x="85" y="20"/>
                </a:cubicBezTo>
                <a:cubicBezTo>
                  <a:pt x="84" y="17"/>
                  <a:pt x="81" y="16"/>
                  <a:pt x="79" y="16"/>
                </a:cubicBezTo>
                <a:lnTo>
                  <a:pt x="79" y="7"/>
                </a:lnTo>
                <a:close/>
                <a:moveTo>
                  <a:pt x="72" y="3"/>
                </a:moveTo>
                <a:cubicBezTo>
                  <a:pt x="74" y="4"/>
                  <a:pt x="76" y="5"/>
                  <a:pt x="79" y="7"/>
                </a:cubicBezTo>
                <a:cubicBezTo>
                  <a:pt x="79" y="16"/>
                  <a:pt x="79" y="16"/>
                  <a:pt x="79" y="16"/>
                </a:cubicBezTo>
                <a:cubicBezTo>
                  <a:pt x="77" y="16"/>
                  <a:pt x="76" y="16"/>
                  <a:pt x="75" y="17"/>
                </a:cubicBezTo>
                <a:cubicBezTo>
                  <a:pt x="73" y="17"/>
                  <a:pt x="72" y="19"/>
                  <a:pt x="72" y="21"/>
                </a:cubicBezTo>
                <a:cubicBezTo>
                  <a:pt x="72" y="13"/>
                  <a:pt x="72" y="13"/>
                  <a:pt x="72" y="13"/>
                </a:cubicBezTo>
                <a:cubicBezTo>
                  <a:pt x="72" y="12"/>
                  <a:pt x="72" y="10"/>
                  <a:pt x="72" y="9"/>
                </a:cubicBezTo>
                <a:cubicBezTo>
                  <a:pt x="72" y="3"/>
                  <a:pt x="72" y="3"/>
                  <a:pt x="72" y="3"/>
                </a:cubicBezTo>
                <a:close/>
                <a:moveTo>
                  <a:pt x="79" y="73"/>
                </a:moveTo>
                <a:cubicBezTo>
                  <a:pt x="76" y="74"/>
                  <a:pt x="74" y="74"/>
                  <a:pt x="72" y="74"/>
                </a:cubicBezTo>
                <a:cubicBezTo>
                  <a:pt x="72" y="69"/>
                  <a:pt x="72" y="69"/>
                  <a:pt x="72" y="69"/>
                </a:cubicBezTo>
                <a:cubicBezTo>
                  <a:pt x="74" y="70"/>
                  <a:pt x="76" y="70"/>
                  <a:pt x="79" y="69"/>
                </a:cubicBezTo>
                <a:cubicBezTo>
                  <a:pt x="79" y="73"/>
                  <a:pt x="79" y="73"/>
                  <a:pt x="79" y="73"/>
                </a:cubicBezTo>
                <a:close/>
                <a:moveTo>
                  <a:pt x="79" y="31"/>
                </a:moveTo>
                <a:cubicBezTo>
                  <a:pt x="79" y="34"/>
                  <a:pt x="79" y="34"/>
                  <a:pt x="79" y="34"/>
                </a:cubicBezTo>
                <a:cubicBezTo>
                  <a:pt x="78" y="34"/>
                  <a:pt x="78" y="34"/>
                  <a:pt x="78" y="34"/>
                </a:cubicBezTo>
                <a:cubicBezTo>
                  <a:pt x="74" y="36"/>
                  <a:pt x="73" y="41"/>
                  <a:pt x="75" y="45"/>
                </a:cubicBezTo>
                <a:cubicBezTo>
                  <a:pt x="76" y="47"/>
                  <a:pt x="77" y="48"/>
                  <a:pt x="79" y="49"/>
                </a:cubicBezTo>
                <a:cubicBezTo>
                  <a:pt x="79" y="52"/>
                  <a:pt x="79" y="52"/>
                  <a:pt x="79" y="52"/>
                </a:cubicBezTo>
                <a:cubicBezTo>
                  <a:pt x="76" y="51"/>
                  <a:pt x="74" y="51"/>
                  <a:pt x="72" y="52"/>
                </a:cubicBezTo>
                <a:cubicBezTo>
                  <a:pt x="72" y="25"/>
                  <a:pt x="72" y="25"/>
                  <a:pt x="72" y="25"/>
                </a:cubicBezTo>
                <a:cubicBezTo>
                  <a:pt x="72" y="26"/>
                  <a:pt x="72" y="26"/>
                  <a:pt x="72" y="26"/>
                </a:cubicBezTo>
                <a:cubicBezTo>
                  <a:pt x="73" y="29"/>
                  <a:pt x="76" y="31"/>
                  <a:pt x="79" y="31"/>
                </a:cubicBezTo>
                <a:close/>
                <a:moveTo>
                  <a:pt x="66" y="2"/>
                </a:moveTo>
                <a:cubicBezTo>
                  <a:pt x="68" y="2"/>
                  <a:pt x="70" y="3"/>
                  <a:pt x="72" y="3"/>
                </a:cubicBezTo>
                <a:cubicBezTo>
                  <a:pt x="72" y="9"/>
                  <a:pt x="72" y="9"/>
                  <a:pt x="72" y="9"/>
                </a:cubicBezTo>
                <a:cubicBezTo>
                  <a:pt x="71" y="9"/>
                  <a:pt x="71" y="9"/>
                  <a:pt x="71" y="8"/>
                </a:cubicBezTo>
                <a:cubicBezTo>
                  <a:pt x="70" y="7"/>
                  <a:pt x="68" y="5"/>
                  <a:pt x="66" y="5"/>
                </a:cubicBezTo>
                <a:cubicBezTo>
                  <a:pt x="66" y="2"/>
                  <a:pt x="66" y="2"/>
                  <a:pt x="66" y="2"/>
                </a:cubicBezTo>
                <a:close/>
                <a:moveTo>
                  <a:pt x="72" y="74"/>
                </a:moveTo>
                <a:cubicBezTo>
                  <a:pt x="70" y="74"/>
                  <a:pt x="68" y="73"/>
                  <a:pt x="66" y="73"/>
                </a:cubicBezTo>
                <a:cubicBezTo>
                  <a:pt x="66" y="64"/>
                  <a:pt x="66" y="64"/>
                  <a:pt x="66" y="64"/>
                </a:cubicBezTo>
                <a:cubicBezTo>
                  <a:pt x="66" y="64"/>
                  <a:pt x="67" y="64"/>
                  <a:pt x="67" y="65"/>
                </a:cubicBezTo>
                <a:cubicBezTo>
                  <a:pt x="68" y="67"/>
                  <a:pt x="70" y="68"/>
                  <a:pt x="72" y="69"/>
                </a:cubicBezTo>
                <a:cubicBezTo>
                  <a:pt x="72" y="74"/>
                  <a:pt x="72" y="74"/>
                  <a:pt x="72" y="74"/>
                </a:cubicBezTo>
                <a:close/>
                <a:moveTo>
                  <a:pt x="72" y="13"/>
                </a:moveTo>
                <a:cubicBezTo>
                  <a:pt x="72" y="21"/>
                  <a:pt x="72" y="21"/>
                  <a:pt x="72" y="21"/>
                </a:cubicBezTo>
                <a:cubicBezTo>
                  <a:pt x="71" y="22"/>
                  <a:pt x="71" y="24"/>
                  <a:pt x="72" y="25"/>
                </a:cubicBezTo>
                <a:cubicBezTo>
                  <a:pt x="72" y="52"/>
                  <a:pt x="72" y="52"/>
                  <a:pt x="72" y="52"/>
                </a:cubicBezTo>
                <a:cubicBezTo>
                  <a:pt x="71" y="52"/>
                  <a:pt x="71" y="52"/>
                  <a:pt x="71" y="52"/>
                </a:cubicBezTo>
                <a:cubicBezTo>
                  <a:pt x="69" y="54"/>
                  <a:pt x="67" y="55"/>
                  <a:pt x="66" y="57"/>
                </a:cubicBezTo>
                <a:cubicBezTo>
                  <a:pt x="66" y="16"/>
                  <a:pt x="66" y="16"/>
                  <a:pt x="66" y="16"/>
                </a:cubicBezTo>
                <a:cubicBezTo>
                  <a:pt x="67" y="16"/>
                  <a:pt x="68" y="16"/>
                  <a:pt x="69" y="16"/>
                </a:cubicBezTo>
                <a:cubicBezTo>
                  <a:pt x="70" y="15"/>
                  <a:pt x="71" y="14"/>
                  <a:pt x="72" y="13"/>
                </a:cubicBezTo>
                <a:close/>
                <a:moveTo>
                  <a:pt x="22" y="10"/>
                </a:moveTo>
                <a:cubicBezTo>
                  <a:pt x="41" y="2"/>
                  <a:pt x="55" y="0"/>
                  <a:pt x="66" y="2"/>
                </a:cubicBezTo>
                <a:cubicBezTo>
                  <a:pt x="66" y="5"/>
                  <a:pt x="66" y="5"/>
                  <a:pt x="66" y="5"/>
                </a:cubicBezTo>
                <a:cubicBezTo>
                  <a:pt x="65" y="5"/>
                  <a:pt x="65" y="6"/>
                  <a:pt x="64" y="6"/>
                </a:cubicBezTo>
                <a:cubicBezTo>
                  <a:pt x="64" y="6"/>
                  <a:pt x="64" y="6"/>
                  <a:pt x="64" y="6"/>
                </a:cubicBezTo>
                <a:cubicBezTo>
                  <a:pt x="61" y="7"/>
                  <a:pt x="60" y="11"/>
                  <a:pt x="61" y="13"/>
                </a:cubicBezTo>
                <a:cubicBezTo>
                  <a:pt x="62" y="15"/>
                  <a:pt x="64" y="16"/>
                  <a:pt x="66" y="16"/>
                </a:cubicBezTo>
                <a:cubicBezTo>
                  <a:pt x="66" y="57"/>
                  <a:pt x="66" y="57"/>
                  <a:pt x="66" y="57"/>
                </a:cubicBezTo>
                <a:cubicBezTo>
                  <a:pt x="66" y="59"/>
                  <a:pt x="66" y="62"/>
                  <a:pt x="66" y="64"/>
                </a:cubicBezTo>
                <a:cubicBezTo>
                  <a:pt x="66" y="73"/>
                  <a:pt x="66" y="73"/>
                  <a:pt x="66" y="73"/>
                </a:cubicBezTo>
                <a:cubicBezTo>
                  <a:pt x="56" y="68"/>
                  <a:pt x="48" y="56"/>
                  <a:pt x="37" y="57"/>
                </a:cubicBezTo>
                <a:cubicBezTo>
                  <a:pt x="32" y="57"/>
                  <a:pt x="27" y="58"/>
                  <a:pt x="22" y="57"/>
                </a:cubicBezTo>
                <a:cubicBezTo>
                  <a:pt x="22" y="49"/>
                  <a:pt x="22" y="49"/>
                  <a:pt x="22" y="49"/>
                </a:cubicBezTo>
                <a:cubicBezTo>
                  <a:pt x="24" y="49"/>
                  <a:pt x="25" y="48"/>
                  <a:pt x="27" y="48"/>
                </a:cubicBezTo>
                <a:cubicBezTo>
                  <a:pt x="27" y="48"/>
                  <a:pt x="27" y="48"/>
                  <a:pt x="27" y="48"/>
                </a:cubicBezTo>
                <a:cubicBezTo>
                  <a:pt x="32" y="45"/>
                  <a:pt x="34" y="38"/>
                  <a:pt x="32" y="33"/>
                </a:cubicBezTo>
                <a:cubicBezTo>
                  <a:pt x="30" y="29"/>
                  <a:pt x="26" y="27"/>
                  <a:pt x="22" y="27"/>
                </a:cubicBezTo>
                <a:lnTo>
                  <a:pt x="22" y="10"/>
                </a:lnTo>
                <a:close/>
                <a:moveTo>
                  <a:pt x="2" y="41"/>
                </a:moveTo>
                <a:cubicBezTo>
                  <a:pt x="0" y="23"/>
                  <a:pt x="18" y="12"/>
                  <a:pt x="18" y="12"/>
                </a:cubicBezTo>
                <a:cubicBezTo>
                  <a:pt x="20" y="12"/>
                  <a:pt x="21" y="11"/>
                  <a:pt x="22" y="10"/>
                </a:cubicBezTo>
                <a:cubicBezTo>
                  <a:pt x="22" y="27"/>
                  <a:pt x="22" y="27"/>
                  <a:pt x="22" y="27"/>
                </a:cubicBezTo>
                <a:cubicBezTo>
                  <a:pt x="20" y="27"/>
                  <a:pt x="19" y="27"/>
                  <a:pt x="17" y="28"/>
                </a:cubicBezTo>
                <a:cubicBezTo>
                  <a:pt x="12" y="31"/>
                  <a:pt x="9" y="37"/>
                  <a:pt x="12" y="43"/>
                </a:cubicBezTo>
                <a:cubicBezTo>
                  <a:pt x="14" y="47"/>
                  <a:pt x="18" y="49"/>
                  <a:pt x="22" y="49"/>
                </a:cubicBezTo>
                <a:cubicBezTo>
                  <a:pt x="22" y="57"/>
                  <a:pt x="22" y="57"/>
                  <a:pt x="22" y="57"/>
                </a:cubicBezTo>
                <a:cubicBezTo>
                  <a:pt x="12" y="57"/>
                  <a:pt x="4" y="53"/>
                  <a:pt x="2" y="41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7" name="Freeform 90"/>
          <p:cNvSpPr/>
          <p:nvPr/>
        </p:nvSpPr>
        <p:spPr bwMode="auto">
          <a:xfrm>
            <a:off x="7542534" y="3023578"/>
            <a:ext cx="206375" cy="266700"/>
          </a:xfrm>
          <a:custGeom>
            <a:avLst/>
            <a:gdLst>
              <a:gd name="T0" fmla="*/ 0 w 95"/>
              <a:gd name="T1" fmla="*/ 21 h 123"/>
              <a:gd name="T2" fmla="*/ 4 w 95"/>
              <a:gd name="T3" fmla="*/ 19 h 123"/>
              <a:gd name="T4" fmla="*/ 59 w 95"/>
              <a:gd name="T5" fmla="*/ 109 h 123"/>
              <a:gd name="T6" fmla="*/ 79 w 95"/>
              <a:gd name="T7" fmla="*/ 112 h 123"/>
              <a:gd name="T8" fmla="*/ 85 w 95"/>
              <a:gd name="T9" fmla="*/ 93 h 123"/>
              <a:gd name="T10" fmla="*/ 29 w 95"/>
              <a:gd name="T11" fmla="*/ 3 h 123"/>
              <a:gd name="T12" fmla="*/ 34 w 95"/>
              <a:gd name="T13" fmla="*/ 0 h 123"/>
              <a:gd name="T14" fmla="*/ 90 w 95"/>
              <a:gd name="T15" fmla="*/ 91 h 123"/>
              <a:gd name="T16" fmla="*/ 82 w 95"/>
              <a:gd name="T17" fmla="*/ 117 h 123"/>
              <a:gd name="T18" fmla="*/ 56 w 95"/>
              <a:gd name="T19" fmla="*/ 112 h 123"/>
              <a:gd name="T20" fmla="*/ 0 w 95"/>
              <a:gd name="T21" fmla="*/ 21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5" h="123">
                <a:moveTo>
                  <a:pt x="0" y="21"/>
                </a:moveTo>
                <a:cubicBezTo>
                  <a:pt x="4" y="19"/>
                  <a:pt x="4" y="19"/>
                  <a:pt x="4" y="19"/>
                </a:cubicBezTo>
                <a:cubicBezTo>
                  <a:pt x="59" y="109"/>
                  <a:pt x="59" y="109"/>
                  <a:pt x="59" y="109"/>
                </a:cubicBezTo>
                <a:cubicBezTo>
                  <a:pt x="63" y="115"/>
                  <a:pt x="72" y="117"/>
                  <a:pt x="79" y="112"/>
                </a:cubicBezTo>
                <a:cubicBezTo>
                  <a:pt x="87" y="108"/>
                  <a:pt x="89" y="99"/>
                  <a:pt x="85" y="93"/>
                </a:cubicBezTo>
                <a:cubicBezTo>
                  <a:pt x="29" y="3"/>
                  <a:pt x="29" y="3"/>
                  <a:pt x="29" y="3"/>
                </a:cubicBezTo>
                <a:cubicBezTo>
                  <a:pt x="34" y="0"/>
                  <a:pt x="34" y="0"/>
                  <a:pt x="34" y="0"/>
                </a:cubicBezTo>
                <a:cubicBezTo>
                  <a:pt x="90" y="91"/>
                  <a:pt x="90" y="91"/>
                  <a:pt x="90" y="91"/>
                </a:cubicBezTo>
                <a:cubicBezTo>
                  <a:pt x="95" y="100"/>
                  <a:pt x="92" y="111"/>
                  <a:pt x="82" y="117"/>
                </a:cubicBezTo>
                <a:cubicBezTo>
                  <a:pt x="73" y="123"/>
                  <a:pt x="61" y="121"/>
                  <a:pt x="56" y="112"/>
                </a:cubicBezTo>
                <a:lnTo>
                  <a:pt x="0" y="21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8" name="Freeform 91"/>
          <p:cNvSpPr/>
          <p:nvPr/>
        </p:nvSpPr>
        <p:spPr bwMode="auto">
          <a:xfrm>
            <a:off x="7529834" y="3014053"/>
            <a:ext cx="101600" cy="69850"/>
          </a:xfrm>
          <a:custGeom>
            <a:avLst/>
            <a:gdLst>
              <a:gd name="T0" fmla="*/ 1 w 47"/>
              <a:gd name="T1" fmla="*/ 30 h 32"/>
              <a:gd name="T2" fmla="*/ 6 w 47"/>
              <a:gd name="T3" fmla="*/ 31 h 32"/>
              <a:gd name="T4" fmla="*/ 44 w 47"/>
              <a:gd name="T5" fmla="*/ 7 h 32"/>
              <a:gd name="T6" fmla="*/ 46 w 47"/>
              <a:gd name="T7" fmla="*/ 2 h 32"/>
              <a:gd name="T8" fmla="*/ 41 w 47"/>
              <a:gd name="T9" fmla="*/ 1 h 32"/>
              <a:gd name="T10" fmla="*/ 2 w 47"/>
              <a:gd name="T11" fmla="*/ 25 h 32"/>
              <a:gd name="T12" fmla="*/ 1 w 47"/>
              <a:gd name="T13" fmla="*/ 3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" h="32">
                <a:moveTo>
                  <a:pt x="1" y="30"/>
                </a:moveTo>
                <a:cubicBezTo>
                  <a:pt x="2" y="32"/>
                  <a:pt x="4" y="32"/>
                  <a:pt x="6" y="31"/>
                </a:cubicBezTo>
                <a:cubicBezTo>
                  <a:pt x="44" y="7"/>
                  <a:pt x="44" y="7"/>
                  <a:pt x="44" y="7"/>
                </a:cubicBezTo>
                <a:cubicBezTo>
                  <a:pt x="46" y="6"/>
                  <a:pt x="47" y="4"/>
                  <a:pt x="46" y="2"/>
                </a:cubicBezTo>
                <a:cubicBezTo>
                  <a:pt x="45" y="1"/>
                  <a:pt x="42" y="0"/>
                  <a:pt x="41" y="1"/>
                </a:cubicBezTo>
                <a:cubicBezTo>
                  <a:pt x="2" y="25"/>
                  <a:pt x="2" y="25"/>
                  <a:pt x="2" y="25"/>
                </a:cubicBezTo>
                <a:cubicBezTo>
                  <a:pt x="1" y="26"/>
                  <a:pt x="0" y="28"/>
                  <a:pt x="1" y="30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9" name="Freeform 92"/>
          <p:cNvSpPr/>
          <p:nvPr/>
        </p:nvSpPr>
        <p:spPr bwMode="auto">
          <a:xfrm>
            <a:off x="7571109" y="3071203"/>
            <a:ext cx="139700" cy="192088"/>
          </a:xfrm>
          <a:custGeom>
            <a:avLst/>
            <a:gdLst>
              <a:gd name="T0" fmla="*/ 0 w 64"/>
              <a:gd name="T1" fmla="*/ 3 h 88"/>
              <a:gd name="T2" fmla="*/ 5 w 64"/>
              <a:gd name="T3" fmla="*/ 0 h 88"/>
              <a:gd name="T4" fmla="*/ 55 w 64"/>
              <a:gd name="T5" fmla="*/ 80 h 88"/>
              <a:gd name="T6" fmla="*/ 64 w 64"/>
              <a:gd name="T7" fmla="*/ 85 h 88"/>
              <a:gd name="T8" fmla="*/ 63 w 64"/>
              <a:gd name="T9" fmla="*/ 85 h 88"/>
              <a:gd name="T10" fmla="*/ 49 w 64"/>
              <a:gd name="T11" fmla="*/ 82 h 88"/>
              <a:gd name="T12" fmla="*/ 0 w 64"/>
              <a:gd name="T13" fmla="*/ 3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88">
                <a:moveTo>
                  <a:pt x="0" y="3"/>
                </a:moveTo>
                <a:cubicBezTo>
                  <a:pt x="5" y="0"/>
                  <a:pt x="5" y="0"/>
                  <a:pt x="5" y="0"/>
                </a:cubicBezTo>
                <a:cubicBezTo>
                  <a:pt x="55" y="80"/>
                  <a:pt x="55" y="80"/>
                  <a:pt x="55" y="80"/>
                </a:cubicBezTo>
                <a:cubicBezTo>
                  <a:pt x="57" y="83"/>
                  <a:pt x="60" y="85"/>
                  <a:pt x="64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58" y="88"/>
                  <a:pt x="52" y="87"/>
                  <a:pt x="49" y="82"/>
                </a:cubicBezTo>
                <a:lnTo>
                  <a:pt x="0" y="3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0" name="Freeform 93"/>
          <p:cNvSpPr>
            <a:spLocks noEditPoints="1"/>
          </p:cNvSpPr>
          <p:nvPr/>
        </p:nvSpPr>
        <p:spPr bwMode="auto">
          <a:xfrm>
            <a:off x="8903021" y="4674578"/>
            <a:ext cx="219075" cy="239713"/>
          </a:xfrm>
          <a:custGeom>
            <a:avLst/>
            <a:gdLst>
              <a:gd name="T0" fmla="*/ 78 w 101"/>
              <a:gd name="T1" fmla="*/ 51 h 110"/>
              <a:gd name="T2" fmla="*/ 75 w 101"/>
              <a:gd name="T3" fmla="*/ 63 h 110"/>
              <a:gd name="T4" fmla="*/ 75 w 101"/>
              <a:gd name="T5" fmla="*/ 73 h 110"/>
              <a:gd name="T6" fmla="*/ 77 w 101"/>
              <a:gd name="T7" fmla="*/ 74 h 110"/>
              <a:gd name="T8" fmla="*/ 86 w 101"/>
              <a:gd name="T9" fmla="*/ 86 h 110"/>
              <a:gd name="T10" fmla="*/ 75 w 101"/>
              <a:gd name="T11" fmla="*/ 80 h 110"/>
              <a:gd name="T12" fmla="*/ 75 w 101"/>
              <a:gd name="T13" fmla="*/ 22 h 110"/>
              <a:gd name="T14" fmla="*/ 86 w 101"/>
              <a:gd name="T15" fmla="*/ 15 h 110"/>
              <a:gd name="T16" fmla="*/ 77 w 101"/>
              <a:gd name="T17" fmla="*/ 28 h 110"/>
              <a:gd name="T18" fmla="*/ 75 w 101"/>
              <a:gd name="T19" fmla="*/ 28 h 110"/>
              <a:gd name="T20" fmla="*/ 98 w 101"/>
              <a:gd name="T21" fmla="*/ 48 h 110"/>
              <a:gd name="T22" fmla="*/ 83 w 101"/>
              <a:gd name="T23" fmla="*/ 51 h 110"/>
              <a:gd name="T24" fmla="*/ 98 w 101"/>
              <a:gd name="T25" fmla="*/ 53 h 110"/>
              <a:gd name="T26" fmla="*/ 98 w 101"/>
              <a:gd name="T27" fmla="*/ 48 h 110"/>
              <a:gd name="T28" fmla="*/ 52 w 101"/>
              <a:gd name="T29" fmla="*/ 110 h 110"/>
              <a:gd name="T30" fmla="*/ 66 w 101"/>
              <a:gd name="T31" fmla="*/ 74 h 110"/>
              <a:gd name="T32" fmla="*/ 75 w 101"/>
              <a:gd name="T33" fmla="*/ 39 h 110"/>
              <a:gd name="T34" fmla="*/ 50 w 101"/>
              <a:gd name="T35" fmla="*/ 29 h 110"/>
              <a:gd name="T36" fmla="*/ 72 w 101"/>
              <a:gd name="T37" fmla="*/ 51 h 110"/>
              <a:gd name="T38" fmla="*/ 62 w 101"/>
              <a:gd name="T39" fmla="*/ 70 h 110"/>
              <a:gd name="T40" fmla="*/ 60 w 101"/>
              <a:gd name="T41" fmla="*/ 85 h 110"/>
              <a:gd name="T42" fmla="*/ 50 w 101"/>
              <a:gd name="T43" fmla="*/ 110 h 110"/>
              <a:gd name="T44" fmla="*/ 75 w 101"/>
              <a:gd name="T45" fmla="*/ 28 h 110"/>
              <a:gd name="T46" fmla="*/ 74 w 101"/>
              <a:gd name="T47" fmla="*/ 24 h 110"/>
              <a:gd name="T48" fmla="*/ 75 w 101"/>
              <a:gd name="T49" fmla="*/ 73 h 110"/>
              <a:gd name="T50" fmla="*/ 74 w 101"/>
              <a:gd name="T51" fmla="*/ 78 h 110"/>
              <a:gd name="T52" fmla="*/ 75 w 101"/>
              <a:gd name="T53" fmla="*/ 73 h 110"/>
              <a:gd name="T54" fmla="*/ 50 w 101"/>
              <a:gd name="T55" fmla="*/ 0 h 110"/>
              <a:gd name="T56" fmla="*/ 53 w 101"/>
              <a:gd name="T57" fmla="*/ 3 h 110"/>
              <a:gd name="T58" fmla="*/ 50 w 101"/>
              <a:gd name="T59" fmla="*/ 18 h 110"/>
              <a:gd name="T60" fmla="*/ 50 w 101"/>
              <a:gd name="T61" fmla="*/ 23 h 110"/>
              <a:gd name="T62" fmla="*/ 25 w 101"/>
              <a:gd name="T63" fmla="*/ 63 h 110"/>
              <a:gd name="T64" fmla="*/ 35 w 101"/>
              <a:gd name="T65" fmla="*/ 96 h 110"/>
              <a:gd name="T66" fmla="*/ 50 w 101"/>
              <a:gd name="T67" fmla="*/ 110 h 110"/>
              <a:gd name="T68" fmla="*/ 41 w 101"/>
              <a:gd name="T69" fmla="*/ 85 h 110"/>
              <a:gd name="T70" fmla="*/ 39 w 101"/>
              <a:gd name="T71" fmla="*/ 70 h 110"/>
              <a:gd name="T72" fmla="*/ 34 w 101"/>
              <a:gd name="T73" fmla="*/ 35 h 110"/>
              <a:gd name="T74" fmla="*/ 50 w 101"/>
              <a:gd name="T75" fmla="*/ 23 h 110"/>
              <a:gd name="T76" fmla="*/ 50 w 101"/>
              <a:gd name="T77" fmla="*/ 18 h 110"/>
              <a:gd name="T78" fmla="*/ 48 w 101"/>
              <a:gd name="T79" fmla="*/ 3 h 110"/>
              <a:gd name="T80" fmla="*/ 25 w 101"/>
              <a:gd name="T81" fmla="*/ 80 h 110"/>
              <a:gd name="T82" fmla="*/ 27 w 101"/>
              <a:gd name="T83" fmla="*/ 74 h 110"/>
              <a:gd name="T84" fmla="*/ 25 w 101"/>
              <a:gd name="T85" fmla="*/ 80 h 110"/>
              <a:gd name="T86" fmla="*/ 25 w 101"/>
              <a:gd name="T87" fmla="*/ 22 h 110"/>
              <a:gd name="T88" fmla="*/ 27 w 101"/>
              <a:gd name="T89" fmla="*/ 28 h 110"/>
              <a:gd name="T90" fmla="*/ 25 w 101"/>
              <a:gd name="T91" fmla="*/ 39 h 110"/>
              <a:gd name="T92" fmla="*/ 25 w 101"/>
              <a:gd name="T93" fmla="*/ 63 h 110"/>
              <a:gd name="T94" fmla="*/ 25 w 101"/>
              <a:gd name="T95" fmla="*/ 22 h 110"/>
              <a:gd name="T96" fmla="*/ 23 w 101"/>
              <a:gd name="T97" fmla="*/ 28 h 110"/>
              <a:gd name="T98" fmla="*/ 15 w 101"/>
              <a:gd name="T99" fmla="*/ 19 h 110"/>
              <a:gd name="T100" fmla="*/ 18 w 101"/>
              <a:gd name="T101" fmla="*/ 15 h 110"/>
              <a:gd name="T102" fmla="*/ 25 w 101"/>
              <a:gd name="T103" fmla="*/ 73 h 110"/>
              <a:gd name="T104" fmla="*/ 18 w 101"/>
              <a:gd name="T105" fmla="*/ 86 h 110"/>
              <a:gd name="T106" fmla="*/ 15 w 101"/>
              <a:gd name="T107" fmla="*/ 83 h 110"/>
              <a:gd name="T108" fmla="*/ 23 w 101"/>
              <a:gd name="T109" fmla="*/ 74 h 110"/>
              <a:gd name="T110" fmla="*/ 18 w 101"/>
              <a:gd name="T111" fmla="*/ 51 h 110"/>
              <a:gd name="T112" fmla="*/ 15 w 101"/>
              <a:gd name="T113" fmla="*/ 48 h 110"/>
              <a:gd name="T114" fmla="*/ 0 w 101"/>
              <a:gd name="T115" fmla="*/ 51 h 110"/>
              <a:gd name="T116" fmla="*/ 15 w 101"/>
              <a:gd name="T117" fmla="*/ 53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1" h="110">
                <a:moveTo>
                  <a:pt x="75" y="63"/>
                </a:moveTo>
                <a:cubicBezTo>
                  <a:pt x="77" y="59"/>
                  <a:pt x="78" y="55"/>
                  <a:pt x="78" y="51"/>
                </a:cubicBezTo>
                <a:cubicBezTo>
                  <a:pt x="78" y="47"/>
                  <a:pt x="77" y="43"/>
                  <a:pt x="75" y="39"/>
                </a:cubicBezTo>
                <a:cubicBezTo>
                  <a:pt x="75" y="63"/>
                  <a:pt x="75" y="63"/>
                  <a:pt x="75" y="63"/>
                </a:cubicBezTo>
                <a:close/>
                <a:moveTo>
                  <a:pt x="75" y="80"/>
                </a:moveTo>
                <a:cubicBezTo>
                  <a:pt x="75" y="73"/>
                  <a:pt x="75" y="73"/>
                  <a:pt x="75" y="73"/>
                </a:cubicBezTo>
                <a:cubicBezTo>
                  <a:pt x="76" y="73"/>
                  <a:pt x="77" y="73"/>
                  <a:pt x="77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86" y="83"/>
                  <a:pt x="86" y="83"/>
                  <a:pt x="86" y="83"/>
                </a:cubicBezTo>
                <a:cubicBezTo>
                  <a:pt x="87" y="84"/>
                  <a:pt x="87" y="85"/>
                  <a:pt x="86" y="86"/>
                </a:cubicBezTo>
                <a:cubicBezTo>
                  <a:pt x="85" y="87"/>
                  <a:pt x="83" y="87"/>
                  <a:pt x="82" y="86"/>
                </a:cubicBezTo>
                <a:cubicBezTo>
                  <a:pt x="75" y="80"/>
                  <a:pt x="75" y="80"/>
                  <a:pt x="75" y="80"/>
                </a:cubicBezTo>
                <a:close/>
                <a:moveTo>
                  <a:pt x="75" y="28"/>
                </a:moveTo>
                <a:cubicBezTo>
                  <a:pt x="75" y="22"/>
                  <a:pt x="75" y="22"/>
                  <a:pt x="75" y="22"/>
                </a:cubicBezTo>
                <a:cubicBezTo>
                  <a:pt x="82" y="15"/>
                  <a:pt x="82" y="15"/>
                  <a:pt x="82" y="15"/>
                </a:cubicBezTo>
                <a:cubicBezTo>
                  <a:pt x="83" y="14"/>
                  <a:pt x="85" y="14"/>
                  <a:pt x="86" y="15"/>
                </a:cubicBezTo>
                <a:cubicBezTo>
                  <a:pt x="87" y="16"/>
                  <a:pt x="87" y="18"/>
                  <a:pt x="86" y="19"/>
                </a:cubicBezTo>
                <a:cubicBezTo>
                  <a:pt x="77" y="28"/>
                  <a:pt x="77" y="28"/>
                  <a:pt x="77" y="28"/>
                </a:cubicBezTo>
                <a:cubicBezTo>
                  <a:pt x="77" y="28"/>
                  <a:pt x="77" y="28"/>
                  <a:pt x="77" y="28"/>
                </a:cubicBezTo>
                <a:cubicBezTo>
                  <a:pt x="77" y="28"/>
                  <a:pt x="76" y="28"/>
                  <a:pt x="75" y="28"/>
                </a:cubicBezTo>
                <a:close/>
                <a:moveTo>
                  <a:pt x="98" y="48"/>
                </a:moveTo>
                <a:cubicBezTo>
                  <a:pt x="98" y="48"/>
                  <a:pt x="98" y="48"/>
                  <a:pt x="9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4" y="48"/>
                  <a:pt x="83" y="49"/>
                  <a:pt x="83" y="51"/>
                </a:cubicBezTo>
                <a:cubicBezTo>
                  <a:pt x="83" y="52"/>
                  <a:pt x="84" y="53"/>
                  <a:pt x="86" y="53"/>
                </a:cubicBezTo>
                <a:cubicBezTo>
                  <a:pt x="98" y="53"/>
                  <a:pt x="98" y="53"/>
                  <a:pt x="98" y="53"/>
                </a:cubicBezTo>
                <a:cubicBezTo>
                  <a:pt x="100" y="53"/>
                  <a:pt x="101" y="52"/>
                  <a:pt x="101" y="51"/>
                </a:cubicBezTo>
                <a:cubicBezTo>
                  <a:pt x="101" y="49"/>
                  <a:pt x="100" y="48"/>
                  <a:pt x="98" y="48"/>
                </a:cubicBezTo>
                <a:close/>
                <a:moveTo>
                  <a:pt x="50" y="110"/>
                </a:moveTo>
                <a:cubicBezTo>
                  <a:pt x="52" y="110"/>
                  <a:pt x="52" y="110"/>
                  <a:pt x="52" y="110"/>
                </a:cubicBezTo>
                <a:cubicBezTo>
                  <a:pt x="60" y="110"/>
                  <a:pt x="66" y="104"/>
                  <a:pt x="66" y="96"/>
                </a:cubicBezTo>
                <a:cubicBezTo>
                  <a:pt x="66" y="74"/>
                  <a:pt x="66" y="74"/>
                  <a:pt x="66" y="74"/>
                </a:cubicBezTo>
                <a:cubicBezTo>
                  <a:pt x="70" y="71"/>
                  <a:pt x="73" y="67"/>
                  <a:pt x="75" y="63"/>
                </a:cubicBezTo>
                <a:cubicBezTo>
                  <a:pt x="75" y="39"/>
                  <a:pt x="75" y="39"/>
                  <a:pt x="75" y="39"/>
                </a:cubicBezTo>
                <a:cubicBezTo>
                  <a:pt x="71" y="29"/>
                  <a:pt x="61" y="23"/>
                  <a:pt x="50" y="23"/>
                </a:cubicBezTo>
                <a:cubicBezTo>
                  <a:pt x="50" y="29"/>
                  <a:pt x="50" y="29"/>
                  <a:pt x="50" y="29"/>
                </a:cubicBezTo>
                <a:cubicBezTo>
                  <a:pt x="56" y="29"/>
                  <a:pt x="62" y="31"/>
                  <a:pt x="66" y="35"/>
                </a:cubicBezTo>
                <a:cubicBezTo>
                  <a:pt x="70" y="39"/>
                  <a:pt x="72" y="45"/>
                  <a:pt x="72" y="51"/>
                </a:cubicBezTo>
                <a:cubicBezTo>
                  <a:pt x="72" y="59"/>
                  <a:pt x="68" y="66"/>
                  <a:pt x="62" y="70"/>
                </a:cubicBezTo>
                <a:cubicBezTo>
                  <a:pt x="62" y="70"/>
                  <a:pt x="62" y="70"/>
                  <a:pt x="62" y="70"/>
                </a:cubicBezTo>
                <a:cubicBezTo>
                  <a:pt x="61" y="70"/>
                  <a:pt x="60" y="71"/>
                  <a:pt x="60" y="72"/>
                </a:cubicBezTo>
                <a:cubicBezTo>
                  <a:pt x="60" y="85"/>
                  <a:pt x="60" y="85"/>
                  <a:pt x="60" y="85"/>
                </a:cubicBezTo>
                <a:cubicBezTo>
                  <a:pt x="50" y="85"/>
                  <a:pt x="50" y="85"/>
                  <a:pt x="50" y="85"/>
                </a:cubicBezTo>
                <a:cubicBezTo>
                  <a:pt x="50" y="110"/>
                  <a:pt x="50" y="110"/>
                  <a:pt x="50" y="110"/>
                </a:cubicBezTo>
                <a:close/>
                <a:moveTo>
                  <a:pt x="75" y="22"/>
                </a:moveTo>
                <a:cubicBezTo>
                  <a:pt x="75" y="28"/>
                  <a:pt x="75" y="28"/>
                  <a:pt x="75" y="28"/>
                </a:cubicBezTo>
                <a:cubicBezTo>
                  <a:pt x="75" y="28"/>
                  <a:pt x="74" y="28"/>
                  <a:pt x="74" y="28"/>
                </a:cubicBezTo>
                <a:cubicBezTo>
                  <a:pt x="72" y="27"/>
                  <a:pt x="72" y="25"/>
                  <a:pt x="74" y="24"/>
                </a:cubicBezTo>
                <a:cubicBezTo>
                  <a:pt x="75" y="22"/>
                  <a:pt x="75" y="22"/>
                  <a:pt x="75" y="22"/>
                </a:cubicBezTo>
                <a:close/>
                <a:moveTo>
                  <a:pt x="75" y="73"/>
                </a:moveTo>
                <a:cubicBezTo>
                  <a:pt x="75" y="80"/>
                  <a:pt x="75" y="80"/>
                  <a:pt x="75" y="80"/>
                </a:cubicBezTo>
                <a:cubicBezTo>
                  <a:pt x="74" y="78"/>
                  <a:pt x="74" y="78"/>
                  <a:pt x="74" y="78"/>
                </a:cubicBezTo>
                <a:cubicBezTo>
                  <a:pt x="72" y="77"/>
                  <a:pt x="72" y="75"/>
                  <a:pt x="74" y="74"/>
                </a:cubicBezTo>
                <a:cubicBezTo>
                  <a:pt x="74" y="73"/>
                  <a:pt x="75" y="73"/>
                  <a:pt x="75" y="73"/>
                </a:cubicBezTo>
                <a:close/>
                <a:moveTo>
                  <a:pt x="50" y="18"/>
                </a:moveTo>
                <a:cubicBezTo>
                  <a:pt x="50" y="0"/>
                  <a:pt x="50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2" y="0"/>
                  <a:pt x="53" y="2"/>
                  <a:pt x="53" y="3"/>
                </a:cubicBezTo>
                <a:cubicBezTo>
                  <a:pt x="53" y="15"/>
                  <a:pt x="53" y="15"/>
                  <a:pt x="53" y="15"/>
                </a:cubicBezTo>
                <a:cubicBezTo>
                  <a:pt x="53" y="17"/>
                  <a:pt x="52" y="18"/>
                  <a:pt x="50" y="18"/>
                </a:cubicBezTo>
                <a:cubicBezTo>
                  <a:pt x="50" y="18"/>
                  <a:pt x="50" y="18"/>
                  <a:pt x="50" y="18"/>
                </a:cubicBezTo>
                <a:close/>
                <a:moveTo>
                  <a:pt x="50" y="23"/>
                </a:moveTo>
                <a:cubicBezTo>
                  <a:pt x="39" y="23"/>
                  <a:pt x="30" y="29"/>
                  <a:pt x="25" y="39"/>
                </a:cubicBezTo>
                <a:cubicBezTo>
                  <a:pt x="25" y="63"/>
                  <a:pt x="25" y="63"/>
                  <a:pt x="25" y="63"/>
                </a:cubicBezTo>
                <a:cubicBezTo>
                  <a:pt x="27" y="68"/>
                  <a:pt x="31" y="71"/>
                  <a:pt x="35" y="74"/>
                </a:cubicBezTo>
                <a:cubicBezTo>
                  <a:pt x="35" y="96"/>
                  <a:pt x="35" y="96"/>
                  <a:pt x="35" y="96"/>
                </a:cubicBezTo>
                <a:cubicBezTo>
                  <a:pt x="35" y="104"/>
                  <a:pt x="41" y="110"/>
                  <a:pt x="49" y="110"/>
                </a:cubicBezTo>
                <a:cubicBezTo>
                  <a:pt x="50" y="110"/>
                  <a:pt x="50" y="110"/>
                  <a:pt x="50" y="110"/>
                </a:cubicBezTo>
                <a:cubicBezTo>
                  <a:pt x="50" y="85"/>
                  <a:pt x="50" y="85"/>
                  <a:pt x="50" y="85"/>
                </a:cubicBezTo>
                <a:cubicBezTo>
                  <a:pt x="41" y="85"/>
                  <a:pt x="41" y="85"/>
                  <a:pt x="41" y="85"/>
                </a:cubicBezTo>
                <a:cubicBezTo>
                  <a:pt x="41" y="72"/>
                  <a:pt x="41" y="72"/>
                  <a:pt x="41" y="72"/>
                </a:cubicBezTo>
                <a:cubicBezTo>
                  <a:pt x="41" y="71"/>
                  <a:pt x="40" y="71"/>
                  <a:pt x="39" y="70"/>
                </a:cubicBezTo>
                <a:cubicBezTo>
                  <a:pt x="33" y="66"/>
                  <a:pt x="28" y="59"/>
                  <a:pt x="28" y="51"/>
                </a:cubicBezTo>
                <a:cubicBezTo>
                  <a:pt x="28" y="45"/>
                  <a:pt x="30" y="39"/>
                  <a:pt x="34" y="35"/>
                </a:cubicBezTo>
                <a:cubicBezTo>
                  <a:pt x="39" y="31"/>
                  <a:pt x="44" y="29"/>
                  <a:pt x="50" y="29"/>
                </a:cubicBezTo>
                <a:cubicBezTo>
                  <a:pt x="50" y="23"/>
                  <a:pt x="50" y="23"/>
                  <a:pt x="50" y="23"/>
                </a:cubicBezTo>
                <a:close/>
                <a:moveTo>
                  <a:pt x="50" y="0"/>
                </a:moveTo>
                <a:cubicBezTo>
                  <a:pt x="50" y="18"/>
                  <a:pt x="50" y="18"/>
                  <a:pt x="50" y="18"/>
                </a:cubicBezTo>
                <a:cubicBezTo>
                  <a:pt x="49" y="18"/>
                  <a:pt x="48" y="17"/>
                  <a:pt x="48" y="15"/>
                </a:cubicBezTo>
                <a:cubicBezTo>
                  <a:pt x="48" y="3"/>
                  <a:pt x="48" y="3"/>
                  <a:pt x="48" y="3"/>
                </a:cubicBezTo>
                <a:cubicBezTo>
                  <a:pt x="48" y="2"/>
                  <a:pt x="49" y="1"/>
                  <a:pt x="50" y="0"/>
                </a:cubicBezTo>
                <a:close/>
                <a:moveTo>
                  <a:pt x="25" y="80"/>
                </a:moveTo>
                <a:cubicBezTo>
                  <a:pt x="25" y="73"/>
                  <a:pt x="25" y="73"/>
                  <a:pt x="25" y="73"/>
                </a:cubicBezTo>
                <a:cubicBezTo>
                  <a:pt x="26" y="73"/>
                  <a:pt x="27" y="73"/>
                  <a:pt x="27" y="74"/>
                </a:cubicBezTo>
                <a:cubicBezTo>
                  <a:pt x="28" y="75"/>
                  <a:pt x="28" y="77"/>
                  <a:pt x="27" y="78"/>
                </a:cubicBezTo>
                <a:cubicBezTo>
                  <a:pt x="25" y="80"/>
                  <a:pt x="25" y="80"/>
                  <a:pt x="25" y="80"/>
                </a:cubicBezTo>
                <a:close/>
                <a:moveTo>
                  <a:pt x="25" y="28"/>
                </a:moveTo>
                <a:cubicBezTo>
                  <a:pt x="25" y="22"/>
                  <a:pt x="25" y="22"/>
                  <a:pt x="25" y="22"/>
                </a:cubicBezTo>
                <a:cubicBezTo>
                  <a:pt x="27" y="24"/>
                  <a:pt x="27" y="24"/>
                  <a:pt x="27" y="24"/>
                </a:cubicBezTo>
                <a:cubicBezTo>
                  <a:pt x="28" y="25"/>
                  <a:pt x="28" y="27"/>
                  <a:pt x="27" y="28"/>
                </a:cubicBezTo>
                <a:cubicBezTo>
                  <a:pt x="27" y="28"/>
                  <a:pt x="26" y="28"/>
                  <a:pt x="25" y="28"/>
                </a:cubicBezTo>
                <a:close/>
                <a:moveTo>
                  <a:pt x="25" y="39"/>
                </a:moveTo>
                <a:cubicBezTo>
                  <a:pt x="23" y="42"/>
                  <a:pt x="22" y="46"/>
                  <a:pt x="22" y="51"/>
                </a:cubicBezTo>
                <a:cubicBezTo>
                  <a:pt x="22" y="55"/>
                  <a:pt x="23" y="59"/>
                  <a:pt x="25" y="63"/>
                </a:cubicBezTo>
                <a:cubicBezTo>
                  <a:pt x="25" y="39"/>
                  <a:pt x="25" y="39"/>
                  <a:pt x="25" y="39"/>
                </a:cubicBezTo>
                <a:close/>
                <a:moveTo>
                  <a:pt x="25" y="22"/>
                </a:moveTo>
                <a:cubicBezTo>
                  <a:pt x="25" y="28"/>
                  <a:pt x="25" y="28"/>
                  <a:pt x="25" y="28"/>
                </a:cubicBezTo>
                <a:cubicBezTo>
                  <a:pt x="25" y="28"/>
                  <a:pt x="24" y="28"/>
                  <a:pt x="23" y="28"/>
                </a:cubicBezTo>
                <a:cubicBezTo>
                  <a:pt x="23" y="28"/>
                  <a:pt x="23" y="28"/>
                  <a:pt x="23" y="28"/>
                </a:cubicBezTo>
                <a:cubicBezTo>
                  <a:pt x="15" y="19"/>
                  <a:pt x="15" y="19"/>
                  <a:pt x="15" y="19"/>
                </a:cubicBezTo>
                <a:cubicBezTo>
                  <a:pt x="14" y="18"/>
                  <a:pt x="14" y="16"/>
                  <a:pt x="15" y="15"/>
                </a:cubicBezTo>
                <a:cubicBezTo>
                  <a:pt x="16" y="14"/>
                  <a:pt x="17" y="14"/>
                  <a:pt x="18" y="15"/>
                </a:cubicBezTo>
                <a:cubicBezTo>
                  <a:pt x="25" y="22"/>
                  <a:pt x="25" y="22"/>
                  <a:pt x="25" y="22"/>
                </a:cubicBezTo>
                <a:close/>
                <a:moveTo>
                  <a:pt x="25" y="73"/>
                </a:moveTo>
                <a:cubicBezTo>
                  <a:pt x="25" y="80"/>
                  <a:pt x="25" y="80"/>
                  <a:pt x="25" y="80"/>
                </a:cubicBezTo>
                <a:cubicBezTo>
                  <a:pt x="18" y="86"/>
                  <a:pt x="18" y="86"/>
                  <a:pt x="18" y="86"/>
                </a:cubicBezTo>
                <a:cubicBezTo>
                  <a:pt x="17" y="87"/>
                  <a:pt x="16" y="87"/>
                  <a:pt x="15" y="86"/>
                </a:cubicBezTo>
                <a:cubicBezTo>
                  <a:pt x="14" y="85"/>
                  <a:pt x="14" y="84"/>
                  <a:pt x="15" y="83"/>
                </a:cubicBezTo>
                <a:cubicBezTo>
                  <a:pt x="23" y="74"/>
                  <a:pt x="23" y="74"/>
                  <a:pt x="23" y="74"/>
                </a:cubicBezTo>
                <a:cubicBezTo>
                  <a:pt x="23" y="74"/>
                  <a:pt x="23" y="74"/>
                  <a:pt x="23" y="74"/>
                </a:cubicBezTo>
                <a:cubicBezTo>
                  <a:pt x="24" y="74"/>
                  <a:pt x="25" y="73"/>
                  <a:pt x="25" y="73"/>
                </a:cubicBezTo>
                <a:close/>
                <a:moveTo>
                  <a:pt x="18" y="51"/>
                </a:moveTo>
                <a:cubicBezTo>
                  <a:pt x="18" y="51"/>
                  <a:pt x="18" y="51"/>
                  <a:pt x="18" y="51"/>
                </a:cubicBezTo>
                <a:cubicBezTo>
                  <a:pt x="18" y="49"/>
                  <a:pt x="16" y="48"/>
                  <a:pt x="15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1" y="48"/>
                  <a:pt x="0" y="49"/>
                  <a:pt x="0" y="51"/>
                </a:cubicBezTo>
                <a:cubicBezTo>
                  <a:pt x="0" y="52"/>
                  <a:pt x="1" y="53"/>
                  <a:pt x="3" y="53"/>
                </a:cubicBezTo>
                <a:cubicBezTo>
                  <a:pt x="15" y="53"/>
                  <a:pt x="15" y="53"/>
                  <a:pt x="15" y="53"/>
                </a:cubicBezTo>
                <a:cubicBezTo>
                  <a:pt x="16" y="53"/>
                  <a:pt x="18" y="52"/>
                  <a:pt x="18" y="51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1" name="Freeform 94"/>
          <p:cNvSpPr/>
          <p:nvPr/>
        </p:nvSpPr>
        <p:spPr bwMode="auto">
          <a:xfrm>
            <a:off x="8637909" y="3095015"/>
            <a:ext cx="63500" cy="60325"/>
          </a:xfrm>
          <a:custGeom>
            <a:avLst/>
            <a:gdLst>
              <a:gd name="T0" fmla="*/ 28 w 29"/>
              <a:gd name="T1" fmla="*/ 16 h 28"/>
              <a:gd name="T2" fmla="*/ 12 w 29"/>
              <a:gd name="T3" fmla="*/ 27 h 28"/>
              <a:gd name="T4" fmla="*/ 1 w 29"/>
              <a:gd name="T5" fmla="*/ 12 h 28"/>
              <a:gd name="T6" fmla="*/ 17 w 29"/>
              <a:gd name="T7" fmla="*/ 1 h 28"/>
              <a:gd name="T8" fmla="*/ 28 w 29"/>
              <a:gd name="T9" fmla="*/ 1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8">
                <a:moveTo>
                  <a:pt x="28" y="16"/>
                </a:moveTo>
                <a:cubicBezTo>
                  <a:pt x="26" y="23"/>
                  <a:pt x="19" y="28"/>
                  <a:pt x="12" y="27"/>
                </a:cubicBezTo>
                <a:cubicBezTo>
                  <a:pt x="5" y="26"/>
                  <a:pt x="0" y="19"/>
                  <a:pt x="1" y="12"/>
                </a:cubicBezTo>
                <a:cubicBezTo>
                  <a:pt x="3" y="4"/>
                  <a:pt x="10" y="0"/>
                  <a:pt x="17" y="1"/>
                </a:cubicBezTo>
                <a:cubicBezTo>
                  <a:pt x="24" y="2"/>
                  <a:pt x="29" y="9"/>
                  <a:pt x="28" y="16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2" name="Freeform 95"/>
          <p:cNvSpPr/>
          <p:nvPr/>
        </p:nvSpPr>
        <p:spPr bwMode="auto">
          <a:xfrm>
            <a:off x="8623621" y="2912453"/>
            <a:ext cx="58738" cy="196850"/>
          </a:xfrm>
          <a:custGeom>
            <a:avLst/>
            <a:gdLst>
              <a:gd name="T0" fmla="*/ 27 w 27"/>
              <a:gd name="T1" fmla="*/ 90 h 91"/>
              <a:gd name="T2" fmla="*/ 12 w 27"/>
              <a:gd name="T3" fmla="*/ 14 h 91"/>
              <a:gd name="T4" fmla="*/ 1 w 27"/>
              <a:gd name="T5" fmla="*/ 0 h 91"/>
              <a:gd name="T6" fmla="*/ 17 w 27"/>
              <a:gd name="T7" fmla="*/ 91 h 91"/>
              <a:gd name="T8" fmla="*/ 27 w 27"/>
              <a:gd name="T9" fmla="*/ 9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91">
                <a:moveTo>
                  <a:pt x="27" y="90"/>
                </a:moveTo>
                <a:cubicBezTo>
                  <a:pt x="27" y="90"/>
                  <a:pt x="12" y="14"/>
                  <a:pt x="12" y="14"/>
                </a:cubicBezTo>
                <a:cubicBezTo>
                  <a:pt x="12" y="14"/>
                  <a:pt x="3" y="0"/>
                  <a:pt x="1" y="0"/>
                </a:cubicBezTo>
                <a:cubicBezTo>
                  <a:pt x="0" y="0"/>
                  <a:pt x="17" y="91"/>
                  <a:pt x="17" y="91"/>
                </a:cubicBezTo>
                <a:lnTo>
                  <a:pt x="27" y="90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3" name="Freeform 96"/>
          <p:cNvSpPr/>
          <p:nvPr/>
        </p:nvSpPr>
        <p:spPr bwMode="auto">
          <a:xfrm>
            <a:off x="8664896" y="2944203"/>
            <a:ext cx="127000" cy="169863"/>
          </a:xfrm>
          <a:custGeom>
            <a:avLst/>
            <a:gdLst>
              <a:gd name="T0" fmla="*/ 1 w 80"/>
              <a:gd name="T1" fmla="*/ 99 h 107"/>
              <a:gd name="T2" fmla="*/ 60 w 80"/>
              <a:gd name="T3" fmla="*/ 13 h 107"/>
              <a:gd name="T4" fmla="*/ 80 w 80"/>
              <a:gd name="T5" fmla="*/ 0 h 107"/>
              <a:gd name="T6" fmla="*/ 71 w 80"/>
              <a:gd name="T7" fmla="*/ 21 h 107"/>
              <a:gd name="T8" fmla="*/ 12 w 80"/>
              <a:gd name="T9" fmla="*/ 107 h 107"/>
              <a:gd name="T10" fmla="*/ 0 w 80"/>
              <a:gd name="T11" fmla="*/ 100 h 107"/>
              <a:gd name="T12" fmla="*/ 1 w 80"/>
              <a:gd name="T13" fmla="*/ 99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0" h="107">
                <a:moveTo>
                  <a:pt x="1" y="99"/>
                </a:moveTo>
                <a:lnTo>
                  <a:pt x="60" y="13"/>
                </a:lnTo>
                <a:lnTo>
                  <a:pt x="80" y="0"/>
                </a:lnTo>
                <a:lnTo>
                  <a:pt x="71" y="21"/>
                </a:lnTo>
                <a:lnTo>
                  <a:pt x="12" y="107"/>
                </a:lnTo>
                <a:lnTo>
                  <a:pt x="0" y="100"/>
                </a:lnTo>
                <a:lnTo>
                  <a:pt x="1" y="99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4" name="Freeform 97"/>
          <p:cNvSpPr/>
          <p:nvPr/>
        </p:nvSpPr>
        <p:spPr bwMode="auto">
          <a:xfrm>
            <a:off x="8653784" y="3141053"/>
            <a:ext cx="15875" cy="31750"/>
          </a:xfrm>
          <a:custGeom>
            <a:avLst/>
            <a:gdLst>
              <a:gd name="T0" fmla="*/ 2 w 7"/>
              <a:gd name="T1" fmla="*/ 3 h 15"/>
              <a:gd name="T2" fmla="*/ 5 w 7"/>
              <a:gd name="T3" fmla="*/ 1 h 15"/>
              <a:gd name="T4" fmla="*/ 7 w 7"/>
              <a:gd name="T5" fmla="*/ 3 h 15"/>
              <a:gd name="T6" fmla="*/ 5 w 7"/>
              <a:gd name="T7" fmla="*/ 13 h 15"/>
              <a:gd name="T8" fmla="*/ 3 w 7"/>
              <a:gd name="T9" fmla="*/ 15 h 15"/>
              <a:gd name="T10" fmla="*/ 1 w 7"/>
              <a:gd name="T11" fmla="*/ 12 h 15"/>
              <a:gd name="T12" fmla="*/ 2 w 7"/>
              <a:gd name="T13" fmla="*/ 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15">
                <a:moveTo>
                  <a:pt x="2" y="3"/>
                </a:moveTo>
                <a:cubicBezTo>
                  <a:pt x="3" y="1"/>
                  <a:pt x="4" y="0"/>
                  <a:pt x="5" y="1"/>
                </a:cubicBezTo>
                <a:cubicBezTo>
                  <a:pt x="6" y="1"/>
                  <a:pt x="7" y="2"/>
                  <a:pt x="7" y="3"/>
                </a:cubicBezTo>
                <a:cubicBezTo>
                  <a:pt x="5" y="13"/>
                  <a:pt x="5" y="13"/>
                  <a:pt x="5" y="13"/>
                </a:cubicBezTo>
                <a:cubicBezTo>
                  <a:pt x="5" y="14"/>
                  <a:pt x="4" y="15"/>
                  <a:pt x="3" y="15"/>
                </a:cubicBezTo>
                <a:cubicBezTo>
                  <a:pt x="1" y="15"/>
                  <a:pt x="0" y="13"/>
                  <a:pt x="1" y="12"/>
                </a:cubicBezTo>
                <a:lnTo>
                  <a:pt x="2" y="3"/>
                </a:ln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5" name="Freeform 98"/>
          <p:cNvSpPr>
            <a:spLocks noEditPoints="1"/>
          </p:cNvSpPr>
          <p:nvPr/>
        </p:nvSpPr>
        <p:spPr bwMode="auto">
          <a:xfrm>
            <a:off x="8602984" y="1532915"/>
            <a:ext cx="220663" cy="236538"/>
          </a:xfrm>
          <a:custGeom>
            <a:avLst/>
            <a:gdLst>
              <a:gd name="T0" fmla="*/ 78 w 101"/>
              <a:gd name="T1" fmla="*/ 50 h 109"/>
              <a:gd name="T2" fmla="*/ 76 w 101"/>
              <a:gd name="T3" fmla="*/ 62 h 109"/>
              <a:gd name="T4" fmla="*/ 76 w 101"/>
              <a:gd name="T5" fmla="*/ 73 h 109"/>
              <a:gd name="T6" fmla="*/ 78 w 101"/>
              <a:gd name="T7" fmla="*/ 73 h 109"/>
              <a:gd name="T8" fmla="*/ 86 w 101"/>
              <a:gd name="T9" fmla="*/ 86 h 109"/>
              <a:gd name="T10" fmla="*/ 76 w 101"/>
              <a:gd name="T11" fmla="*/ 79 h 109"/>
              <a:gd name="T12" fmla="*/ 76 w 101"/>
              <a:gd name="T13" fmla="*/ 22 h 109"/>
              <a:gd name="T14" fmla="*/ 86 w 101"/>
              <a:gd name="T15" fmla="*/ 15 h 109"/>
              <a:gd name="T16" fmla="*/ 78 w 101"/>
              <a:gd name="T17" fmla="*/ 27 h 109"/>
              <a:gd name="T18" fmla="*/ 76 w 101"/>
              <a:gd name="T19" fmla="*/ 28 h 109"/>
              <a:gd name="T20" fmla="*/ 99 w 101"/>
              <a:gd name="T21" fmla="*/ 48 h 109"/>
              <a:gd name="T22" fmla="*/ 84 w 101"/>
              <a:gd name="T23" fmla="*/ 50 h 109"/>
              <a:gd name="T24" fmla="*/ 99 w 101"/>
              <a:gd name="T25" fmla="*/ 53 h 109"/>
              <a:gd name="T26" fmla="*/ 99 w 101"/>
              <a:gd name="T27" fmla="*/ 48 h 109"/>
              <a:gd name="T28" fmla="*/ 53 w 101"/>
              <a:gd name="T29" fmla="*/ 109 h 109"/>
              <a:gd name="T30" fmla="*/ 66 w 101"/>
              <a:gd name="T31" fmla="*/ 73 h 109"/>
              <a:gd name="T32" fmla="*/ 76 w 101"/>
              <a:gd name="T33" fmla="*/ 38 h 109"/>
              <a:gd name="T34" fmla="*/ 51 w 101"/>
              <a:gd name="T35" fmla="*/ 28 h 109"/>
              <a:gd name="T36" fmla="*/ 73 w 101"/>
              <a:gd name="T37" fmla="*/ 50 h 109"/>
              <a:gd name="T38" fmla="*/ 62 w 101"/>
              <a:gd name="T39" fmla="*/ 69 h 109"/>
              <a:gd name="T40" fmla="*/ 61 w 101"/>
              <a:gd name="T41" fmla="*/ 84 h 109"/>
              <a:gd name="T42" fmla="*/ 51 w 101"/>
              <a:gd name="T43" fmla="*/ 109 h 109"/>
              <a:gd name="T44" fmla="*/ 76 w 101"/>
              <a:gd name="T45" fmla="*/ 28 h 109"/>
              <a:gd name="T46" fmla="*/ 74 w 101"/>
              <a:gd name="T47" fmla="*/ 23 h 109"/>
              <a:gd name="T48" fmla="*/ 76 w 101"/>
              <a:gd name="T49" fmla="*/ 73 h 109"/>
              <a:gd name="T50" fmla="*/ 74 w 101"/>
              <a:gd name="T51" fmla="*/ 77 h 109"/>
              <a:gd name="T52" fmla="*/ 76 w 101"/>
              <a:gd name="T53" fmla="*/ 73 h 109"/>
              <a:gd name="T54" fmla="*/ 51 w 101"/>
              <a:gd name="T55" fmla="*/ 0 h 109"/>
              <a:gd name="T56" fmla="*/ 53 w 101"/>
              <a:gd name="T57" fmla="*/ 2 h 109"/>
              <a:gd name="T58" fmla="*/ 51 w 101"/>
              <a:gd name="T59" fmla="*/ 17 h 109"/>
              <a:gd name="T60" fmla="*/ 51 w 101"/>
              <a:gd name="T61" fmla="*/ 22 h 109"/>
              <a:gd name="T62" fmla="*/ 26 w 101"/>
              <a:gd name="T63" fmla="*/ 62 h 109"/>
              <a:gd name="T64" fmla="*/ 35 w 101"/>
              <a:gd name="T65" fmla="*/ 95 h 109"/>
              <a:gd name="T66" fmla="*/ 51 w 101"/>
              <a:gd name="T67" fmla="*/ 109 h 109"/>
              <a:gd name="T68" fmla="*/ 41 w 101"/>
              <a:gd name="T69" fmla="*/ 84 h 109"/>
              <a:gd name="T70" fmla="*/ 40 w 101"/>
              <a:gd name="T71" fmla="*/ 69 h 109"/>
              <a:gd name="T72" fmla="*/ 35 w 101"/>
              <a:gd name="T73" fmla="*/ 35 h 109"/>
              <a:gd name="T74" fmla="*/ 51 w 101"/>
              <a:gd name="T75" fmla="*/ 22 h 109"/>
              <a:gd name="T76" fmla="*/ 51 w 101"/>
              <a:gd name="T77" fmla="*/ 17 h 109"/>
              <a:gd name="T78" fmla="*/ 48 w 101"/>
              <a:gd name="T79" fmla="*/ 2 h 109"/>
              <a:gd name="T80" fmla="*/ 26 w 101"/>
              <a:gd name="T81" fmla="*/ 79 h 109"/>
              <a:gd name="T82" fmla="*/ 28 w 101"/>
              <a:gd name="T83" fmla="*/ 73 h 109"/>
              <a:gd name="T84" fmla="*/ 26 w 101"/>
              <a:gd name="T85" fmla="*/ 79 h 109"/>
              <a:gd name="T86" fmla="*/ 26 w 101"/>
              <a:gd name="T87" fmla="*/ 21 h 109"/>
              <a:gd name="T88" fmla="*/ 28 w 101"/>
              <a:gd name="T89" fmla="*/ 27 h 109"/>
              <a:gd name="T90" fmla="*/ 26 w 101"/>
              <a:gd name="T91" fmla="*/ 38 h 109"/>
              <a:gd name="T92" fmla="*/ 26 w 101"/>
              <a:gd name="T93" fmla="*/ 62 h 109"/>
              <a:gd name="T94" fmla="*/ 26 w 101"/>
              <a:gd name="T95" fmla="*/ 21 h 109"/>
              <a:gd name="T96" fmla="*/ 24 w 101"/>
              <a:gd name="T97" fmla="*/ 27 h 109"/>
              <a:gd name="T98" fmla="*/ 15 w 101"/>
              <a:gd name="T99" fmla="*/ 18 h 109"/>
              <a:gd name="T100" fmla="*/ 19 w 101"/>
              <a:gd name="T101" fmla="*/ 15 h 109"/>
              <a:gd name="T102" fmla="*/ 26 w 101"/>
              <a:gd name="T103" fmla="*/ 73 h 109"/>
              <a:gd name="T104" fmla="*/ 19 w 101"/>
              <a:gd name="T105" fmla="*/ 86 h 109"/>
              <a:gd name="T106" fmla="*/ 15 w 101"/>
              <a:gd name="T107" fmla="*/ 82 h 109"/>
              <a:gd name="T108" fmla="*/ 24 w 101"/>
              <a:gd name="T109" fmla="*/ 73 h 109"/>
              <a:gd name="T110" fmla="*/ 18 w 101"/>
              <a:gd name="T111" fmla="*/ 50 h 109"/>
              <a:gd name="T112" fmla="*/ 15 w 101"/>
              <a:gd name="T113" fmla="*/ 48 h 109"/>
              <a:gd name="T114" fmla="*/ 0 w 101"/>
              <a:gd name="T115" fmla="*/ 50 h 109"/>
              <a:gd name="T116" fmla="*/ 15 w 101"/>
              <a:gd name="T117" fmla="*/ 53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1" h="109">
                <a:moveTo>
                  <a:pt x="76" y="62"/>
                </a:moveTo>
                <a:cubicBezTo>
                  <a:pt x="78" y="58"/>
                  <a:pt x="78" y="54"/>
                  <a:pt x="78" y="50"/>
                </a:cubicBezTo>
                <a:cubicBezTo>
                  <a:pt x="78" y="46"/>
                  <a:pt x="78" y="42"/>
                  <a:pt x="76" y="38"/>
                </a:cubicBezTo>
                <a:cubicBezTo>
                  <a:pt x="76" y="62"/>
                  <a:pt x="76" y="62"/>
                  <a:pt x="76" y="62"/>
                </a:cubicBezTo>
                <a:close/>
                <a:moveTo>
                  <a:pt x="76" y="79"/>
                </a:moveTo>
                <a:cubicBezTo>
                  <a:pt x="76" y="73"/>
                  <a:pt x="76" y="73"/>
                  <a:pt x="76" y="73"/>
                </a:cubicBezTo>
                <a:cubicBezTo>
                  <a:pt x="77" y="73"/>
                  <a:pt x="77" y="73"/>
                  <a:pt x="78" y="73"/>
                </a:cubicBezTo>
                <a:cubicBezTo>
                  <a:pt x="78" y="73"/>
                  <a:pt x="78" y="73"/>
                  <a:pt x="78" y="73"/>
                </a:cubicBezTo>
                <a:cubicBezTo>
                  <a:pt x="86" y="82"/>
                  <a:pt x="86" y="82"/>
                  <a:pt x="86" y="82"/>
                </a:cubicBezTo>
                <a:cubicBezTo>
                  <a:pt x="87" y="83"/>
                  <a:pt x="87" y="85"/>
                  <a:pt x="86" y="86"/>
                </a:cubicBezTo>
                <a:cubicBezTo>
                  <a:pt x="85" y="87"/>
                  <a:pt x="84" y="87"/>
                  <a:pt x="83" y="86"/>
                </a:cubicBezTo>
                <a:cubicBezTo>
                  <a:pt x="76" y="79"/>
                  <a:pt x="76" y="79"/>
                  <a:pt x="76" y="79"/>
                </a:cubicBezTo>
                <a:close/>
                <a:moveTo>
                  <a:pt x="76" y="28"/>
                </a:moveTo>
                <a:cubicBezTo>
                  <a:pt x="76" y="22"/>
                  <a:pt x="76" y="22"/>
                  <a:pt x="76" y="22"/>
                </a:cubicBezTo>
                <a:cubicBezTo>
                  <a:pt x="83" y="15"/>
                  <a:pt x="83" y="15"/>
                  <a:pt x="83" y="15"/>
                </a:cubicBezTo>
                <a:cubicBezTo>
                  <a:pt x="84" y="14"/>
                  <a:pt x="85" y="14"/>
                  <a:pt x="86" y="15"/>
                </a:cubicBezTo>
                <a:cubicBezTo>
                  <a:pt x="87" y="16"/>
                  <a:pt x="87" y="17"/>
                  <a:pt x="86" y="18"/>
                </a:cubicBezTo>
                <a:cubicBezTo>
                  <a:pt x="78" y="27"/>
                  <a:pt x="78" y="27"/>
                  <a:pt x="78" y="27"/>
                </a:cubicBezTo>
                <a:cubicBezTo>
                  <a:pt x="78" y="27"/>
                  <a:pt x="78" y="27"/>
                  <a:pt x="78" y="27"/>
                </a:cubicBezTo>
                <a:cubicBezTo>
                  <a:pt x="77" y="28"/>
                  <a:pt x="77" y="28"/>
                  <a:pt x="76" y="28"/>
                </a:cubicBezTo>
                <a:close/>
                <a:moveTo>
                  <a:pt x="99" y="48"/>
                </a:moveTo>
                <a:cubicBezTo>
                  <a:pt x="99" y="48"/>
                  <a:pt x="99" y="48"/>
                  <a:pt x="99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5" y="48"/>
                  <a:pt x="84" y="49"/>
                  <a:pt x="84" y="50"/>
                </a:cubicBezTo>
                <a:cubicBezTo>
                  <a:pt x="84" y="52"/>
                  <a:pt x="85" y="53"/>
                  <a:pt x="86" y="53"/>
                </a:cubicBezTo>
                <a:cubicBezTo>
                  <a:pt x="99" y="53"/>
                  <a:pt x="99" y="53"/>
                  <a:pt x="99" y="53"/>
                </a:cubicBezTo>
                <a:cubicBezTo>
                  <a:pt x="100" y="53"/>
                  <a:pt x="101" y="52"/>
                  <a:pt x="101" y="50"/>
                </a:cubicBezTo>
                <a:cubicBezTo>
                  <a:pt x="101" y="49"/>
                  <a:pt x="100" y="48"/>
                  <a:pt x="99" y="48"/>
                </a:cubicBezTo>
                <a:close/>
                <a:moveTo>
                  <a:pt x="51" y="109"/>
                </a:moveTo>
                <a:cubicBezTo>
                  <a:pt x="53" y="109"/>
                  <a:pt x="53" y="109"/>
                  <a:pt x="53" y="109"/>
                </a:cubicBezTo>
                <a:cubicBezTo>
                  <a:pt x="60" y="109"/>
                  <a:pt x="66" y="103"/>
                  <a:pt x="66" y="95"/>
                </a:cubicBezTo>
                <a:cubicBezTo>
                  <a:pt x="66" y="73"/>
                  <a:pt x="66" y="73"/>
                  <a:pt x="66" y="73"/>
                </a:cubicBezTo>
                <a:cubicBezTo>
                  <a:pt x="70" y="70"/>
                  <a:pt x="74" y="67"/>
                  <a:pt x="76" y="62"/>
                </a:cubicBezTo>
                <a:cubicBezTo>
                  <a:pt x="76" y="38"/>
                  <a:pt x="76" y="38"/>
                  <a:pt x="76" y="38"/>
                </a:cubicBezTo>
                <a:cubicBezTo>
                  <a:pt x="71" y="29"/>
                  <a:pt x="62" y="22"/>
                  <a:pt x="51" y="22"/>
                </a:cubicBezTo>
                <a:cubicBezTo>
                  <a:pt x="51" y="28"/>
                  <a:pt x="51" y="28"/>
                  <a:pt x="51" y="28"/>
                </a:cubicBezTo>
                <a:cubicBezTo>
                  <a:pt x="57" y="28"/>
                  <a:pt x="62" y="31"/>
                  <a:pt x="66" y="35"/>
                </a:cubicBezTo>
                <a:cubicBezTo>
                  <a:pt x="70" y="39"/>
                  <a:pt x="73" y="44"/>
                  <a:pt x="73" y="50"/>
                </a:cubicBezTo>
                <a:cubicBezTo>
                  <a:pt x="73" y="58"/>
                  <a:pt x="68" y="65"/>
                  <a:pt x="62" y="69"/>
                </a:cubicBezTo>
                <a:cubicBezTo>
                  <a:pt x="62" y="69"/>
                  <a:pt x="62" y="69"/>
                  <a:pt x="62" y="69"/>
                </a:cubicBezTo>
                <a:cubicBezTo>
                  <a:pt x="61" y="70"/>
                  <a:pt x="61" y="71"/>
                  <a:pt x="61" y="72"/>
                </a:cubicBezTo>
                <a:cubicBezTo>
                  <a:pt x="61" y="84"/>
                  <a:pt x="61" y="84"/>
                  <a:pt x="61" y="84"/>
                </a:cubicBezTo>
                <a:cubicBezTo>
                  <a:pt x="51" y="84"/>
                  <a:pt x="51" y="84"/>
                  <a:pt x="51" y="84"/>
                </a:cubicBezTo>
                <a:cubicBezTo>
                  <a:pt x="51" y="109"/>
                  <a:pt x="51" y="109"/>
                  <a:pt x="51" y="109"/>
                </a:cubicBezTo>
                <a:close/>
                <a:moveTo>
                  <a:pt x="76" y="22"/>
                </a:moveTo>
                <a:cubicBezTo>
                  <a:pt x="76" y="28"/>
                  <a:pt x="76" y="28"/>
                  <a:pt x="76" y="28"/>
                </a:cubicBezTo>
                <a:cubicBezTo>
                  <a:pt x="75" y="28"/>
                  <a:pt x="75" y="28"/>
                  <a:pt x="74" y="27"/>
                </a:cubicBezTo>
                <a:cubicBezTo>
                  <a:pt x="73" y="26"/>
                  <a:pt x="73" y="24"/>
                  <a:pt x="74" y="23"/>
                </a:cubicBezTo>
                <a:cubicBezTo>
                  <a:pt x="76" y="22"/>
                  <a:pt x="76" y="22"/>
                  <a:pt x="76" y="22"/>
                </a:cubicBezTo>
                <a:close/>
                <a:moveTo>
                  <a:pt x="76" y="73"/>
                </a:moveTo>
                <a:cubicBezTo>
                  <a:pt x="76" y="79"/>
                  <a:pt x="76" y="79"/>
                  <a:pt x="76" y="79"/>
                </a:cubicBezTo>
                <a:cubicBezTo>
                  <a:pt x="74" y="77"/>
                  <a:pt x="74" y="77"/>
                  <a:pt x="74" y="77"/>
                </a:cubicBezTo>
                <a:cubicBezTo>
                  <a:pt x="73" y="76"/>
                  <a:pt x="73" y="74"/>
                  <a:pt x="74" y="73"/>
                </a:cubicBezTo>
                <a:cubicBezTo>
                  <a:pt x="75" y="73"/>
                  <a:pt x="75" y="73"/>
                  <a:pt x="76" y="73"/>
                </a:cubicBezTo>
                <a:close/>
                <a:moveTo>
                  <a:pt x="51" y="17"/>
                </a:moveTo>
                <a:cubicBezTo>
                  <a:pt x="51" y="0"/>
                  <a:pt x="51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2" y="0"/>
                  <a:pt x="53" y="1"/>
                  <a:pt x="53" y="2"/>
                </a:cubicBezTo>
                <a:cubicBezTo>
                  <a:pt x="53" y="15"/>
                  <a:pt x="53" y="15"/>
                  <a:pt x="53" y="15"/>
                </a:cubicBezTo>
                <a:cubicBezTo>
                  <a:pt x="53" y="16"/>
                  <a:pt x="52" y="17"/>
                  <a:pt x="51" y="17"/>
                </a:cubicBezTo>
                <a:cubicBezTo>
                  <a:pt x="51" y="17"/>
                  <a:pt x="51" y="17"/>
                  <a:pt x="51" y="17"/>
                </a:cubicBezTo>
                <a:close/>
                <a:moveTo>
                  <a:pt x="51" y="22"/>
                </a:moveTo>
                <a:cubicBezTo>
                  <a:pt x="40" y="22"/>
                  <a:pt x="30" y="29"/>
                  <a:pt x="26" y="38"/>
                </a:cubicBezTo>
                <a:cubicBezTo>
                  <a:pt x="26" y="62"/>
                  <a:pt x="26" y="62"/>
                  <a:pt x="26" y="62"/>
                </a:cubicBezTo>
                <a:cubicBezTo>
                  <a:pt x="28" y="67"/>
                  <a:pt x="31" y="71"/>
                  <a:pt x="35" y="74"/>
                </a:cubicBezTo>
                <a:cubicBezTo>
                  <a:pt x="35" y="95"/>
                  <a:pt x="35" y="95"/>
                  <a:pt x="35" y="95"/>
                </a:cubicBezTo>
                <a:cubicBezTo>
                  <a:pt x="35" y="103"/>
                  <a:pt x="42" y="109"/>
                  <a:pt x="49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84"/>
                  <a:pt x="51" y="84"/>
                  <a:pt x="51" y="84"/>
                </a:cubicBezTo>
                <a:cubicBezTo>
                  <a:pt x="41" y="84"/>
                  <a:pt x="41" y="84"/>
                  <a:pt x="41" y="84"/>
                </a:cubicBezTo>
                <a:cubicBezTo>
                  <a:pt x="41" y="72"/>
                  <a:pt x="41" y="72"/>
                  <a:pt x="41" y="72"/>
                </a:cubicBezTo>
                <a:cubicBezTo>
                  <a:pt x="41" y="71"/>
                  <a:pt x="41" y="70"/>
                  <a:pt x="40" y="69"/>
                </a:cubicBezTo>
                <a:cubicBezTo>
                  <a:pt x="33" y="66"/>
                  <a:pt x="28" y="58"/>
                  <a:pt x="28" y="50"/>
                </a:cubicBezTo>
                <a:cubicBezTo>
                  <a:pt x="28" y="44"/>
                  <a:pt x="31" y="39"/>
                  <a:pt x="35" y="35"/>
                </a:cubicBezTo>
                <a:cubicBezTo>
                  <a:pt x="39" y="31"/>
                  <a:pt x="44" y="28"/>
                  <a:pt x="51" y="28"/>
                </a:cubicBezTo>
                <a:cubicBezTo>
                  <a:pt x="51" y="22"/>
                  <a:pt x="51" y="22"/>
                  <a:pt x="51" y="22"/>
                </a:cubicBezTo>
                <a:close/>
                <a:moveTo>
                  <a:pt x="51" y="0"/>
                </a:moveTo>
                <a:cubicBezTo>
                  <a:pt x="51" y="17"/>
                  <a:pt x="51" y="17"/>
                  <a:pt x="51" y="17"/>
                </a:cubicBezTo>
                <a:cubicBezTo>
                  <a:pt x="49" y="17"/>
                  <a:pt x="48" y="16"/>
                  <a:pt x="48" y="15"/>
                </a:cubicBezTo>
                <a:cubicBezTo>
                  <a:pt x="48" y="2"/>
                  <a:pt x="48" y="2"/>
                  <a:pt x="48" y="2"/>
                </a:cubicBezTo>
                <a:cubicBezTo>
                  <a:pt x="48" y="1"/>
                  <a:pt x="49" y="0"/>
                  <a:pt x="51" y="0"/>
                </a:cubicBezTo>
                <a:close/>
                <a:moveTo>
                  <a:pt x="26" y="79"/>
                </a:move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7" y="73"/>
                  <a:pt x="28" y="73"/>
                </a:cubicBezTo>
                <a:cubicBezTo>
                  <a:pt x="29" y="74"/>
                  <a:pt x="29" y="76"/>
                  <a:pt x="28" y="77"/>
                </a:cubicBezTo>
                <a:cubicBezTo>
                  <a:pt x="26" y="79"/>
                  <a:pt x="26" y="79"/>
                  <a:pt x="26" y="79"/>
                </a:cubicBezTo>
                <a:close/>
                <a:moveTo>
                  <a:pt x="26" y="28"/>
                </a:moveTo>
                <a:cubicBezTo>
                  <a:pt x="26" y="21"/>
                  <a:pt x="26" y="21"/>
                  <a:pt x="26" y="21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4"/>
                  <a:pt x="29" y="26"/>
                  <a:pt x="28" y="27"/>
                </a:cubicBezTo>
                <a:cubicBezTo>
                  <a:pt x="27" y="28"/>
                  <a:pt x="26" y="28"/>
                  <a:pt x="26" y="28"/>
                </a:cubicBezTo>
                <a:close/>
                <a:moveTo>
                  <a:pt x="26" y="38"/>
                </a:moveTo>
                <a:cubicBezTo>
                  <a:pt x="24" y="42"/>
                  <a:pt x="23" y="46"/>
                  <a:pt x="23" y="50"/>
                </a:cubicBezTo>
                <a:cubicBezTo>
                  <a:pt x="23" y="55"/>
                  <a:pt x="24" y="59"/>
                  <a:pt x="26" y="62"/>
                </a:cubicBezTo>
                <a:cubicBezTo>
                  <a:pt x="26" y="38"/>
                  <a:pt x="26" y="38"/>
                  <a:pt x="26" y="38"/>
                </a:cubicBezTo>
                <a:close/>
                <a:moveTo>
                  <a:pt x="26" y="21"/>
                </a:moveTo>
                <a:cubicBezTo>
                  <a:pt x="26" y="28"/>
                  <a:pt x="26" y="28"/>
                  <a:pt x="26" y="28"/>
                </a:cubicBezTo>
                <a:cubicBezTo>
                  <a:pt x="25" y="28"/>
                  <a:pt x="24" y="27"/>
                  <a:pt x="24" y="27"/>
                </a:cubicBezTo>
                <a:cubicBezTo>
                  <a:pt x="24" y="27"/>
                  <a:pt x="24" y="27"/>
                  <a:pt x="24" y="27"/>
                </a:cubicBezTo>
                <a:cubicBezTo>
                  <a:pt x="15" y="18"/>
                  <a:pt x="15" y="18"/>
                  <a:pt x="15" y="18"/>
                </a:cubicBezTo>
                <a:cubicBezTo>
                  <a:pt x="14" y="17"/>
                  <a:pt x="14" y="16"/>
                  <a:pt x="15" y="15"/>
                </a:cubicBezTo>
                <a:cubicBezTo>
                  <a:pt x="16" y="14"/>
                  <a:pt x="18" y="14"/>
                  <a:pt x="19" y="15"/>
                </a:cubicBezTo>
                <a:cubicBezTo>
                  <a:pt x="26" y="21"/>
                  <a:pt x="26" y="21"/>
                  <a:pt x="26" y="21"/>
                </a:cubicBezTo>
                <a:close/>
                <a:moveTo>
                  <a:pt x="26" y="73"/>
                </a:moveTo>
                <a:cubicBezTo>
                  <a:pt x="26" y="79"/>
                  <a:pt x="26" y="79"/>
                  <a:pt x="26" y="79"/>
                </a:cubicBezTo>
                <a:cubicBezTo>
                  <a:pt x="19" y="86"/>
                  <a:pt x="19" y="86"/>
                  <a:pt x="19" y="86"/>
                </a:cubicBezTo>
                <a:cubicBezTo>
                  <a:pt x="18" y="87"/>
                  <a:pt x="16" y="87"/>
                  <a:pt x="15" y="86"/>
                </a:cubicBezTo>
                <a:cubicBezTo>
                  <a:pt x="14" y="85"/>
                  <a:pt x="14" y="83"/>
                  <a:pt x="15" y="82"/>
                </a:cubicBezTo>
                <a:cubicBezTo>
                  <a:pt x="24" y="73"/>
                  <a:pt x="24" y="73"/>
                  <a:pt x="24" y="73"/>
                </a:cubicBezTo>
                <a:cubicBezTo>
                  <a:pt x="24" y="73"/>
                  <a:pt x="24" y="73"/>
                  <a:pt x="24" y="73"/>
                </a:cubicBezTo>
                <a:cubicBezTo>
                  <a:pt x="24" y="73"/>
                  <a:pt x="25" y="73"/>
                  <a:pt x="26" y="73"/>
                </a:cubicBezTo>
                <a:close/>
                <a:moveTo>
                  <a:pt x="18" y="50"/>
                </a:moveTo>
                <a:cubicBezTo>
                  <a:pt x="18" y="50"/>
                  <a:pt x="18" y="50"/>
                  <a:pt x="18" y="50"/>
                </a:cubicBezTo>
                <a:cubicBezTo>
                  <a:pt x="18" y="49"/>
                  <a:pt x="17" y="48"/>
                  <a:pt x="15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2" y="48"/>
                  <a:pt x="0" y="49"/>
                  <a:pt x="0" y="50"/>
                </a:cubicBezTo>
                <a:cubicBezTo>
                  <a:pt x="0" y="52"/>
                  <a:pt x="2" y="53"/>
                  <a:pt x="3" y="53"/>
                </a:cubicBezTo>
                <a:cubicBezTo>
                  <a:pt x="15" y="53"/>
                  <a:pt x="15" y="53"/>
                  <a:pt x="15" y="53"/>
                </a:cubicBezTo>
                <a:cubicBezTo>
                  <a:pt x="17" y="53"/>
                  <a:pt x="18" y="52"/>
                  <a:pt x="18" y="50"/>
                </a:cubicBezTo>
                <a:close/>
              </a:path>
            </a:pathLst>
          </a:custGeom>
          <a:solidFill>
            <a:srgbClr val="C5C5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170" name="矩形 5"/>
          <p:cNvSpPr>
            <a:spLocks noGrp="1"/>
          </p:cNvSpPr>
          <p:nvPr/>
        </p:nvSpPr>
        <p:spPr>
          <a:xfrm>
            <a:off x="913130" y="1884045"/>
            <a:ext cx="5492750" cy="273113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t"/>
          <a:lstStyle>
            <a:lvl1pPr lvl="0">
              <a:defRPr sz="2800" kern="1200"/>
            </a:lvl1pPr>
            <a:lvl2pPr lvl="1">
              <a:defRPr sz="2400" kern="1200"/>
            </a:lvl2pPr>
            <a:lvl3pPr lvl="2">
              <a:defRPr sz="2000" kern="1200"/>
            </a:lvl3pPr>
            <a:lvl4pPr lvl="3">
              <a:defRPr sz="1800" kern="1200"/>
            </a:lvl4pPr>
            <a:lvl5pPr lvl="4">
              <a:defRPr sz="1800" kern="1200"/>
            </a:lvl5pPr>
          </a:lstStyle>
          <a:p>
            <a:pPr marL="0" lvl="0" indent="0" algn="just">
              <a:lnSpc>
                <a:spcPct val="100000"/>
              </a:lnSpc>
              <a:buNone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区的产业定位以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轻工、家具、建材、五金、木材加工、医疗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行业为龙头，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原材料加工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主体，工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、营销和贸易并进发展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" name="直接连接符 17"/>
          <p:cNvCxnSpPr/>
          <p:nvPr/>
        </p:nvCxnSpPr>
        <p:spPr>
          <a:xfrm flipH="1">
            <a:off x="6800215" y="2056130"/>
            <a:ext cx="635" cy="1930400"/>
          </a:xfrm>
          <a:prstGeom prst="line">
            <a:avLst/>
          </a:prstGeom>
          <a:ln w="12700" cmpd="sng">
            <a:solidFill>
              <a:schemeClr val="tx1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6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9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0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3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4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5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7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8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1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2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3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5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6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0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4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7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8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1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2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5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6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9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0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3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4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7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8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1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2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5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6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9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0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3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4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7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8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5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0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3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4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7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1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2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9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0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1" fill="hold">
                            <p:stCondLst>
                              <p:cond delay="500"/>
                            </p:stCondLst>
                            <p:childTnLst>
                              <p:par>
                                <p:cTn id="3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5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47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ldLvl="0" animBg="1"/>
      <p:bldP spid="31" grpId="0" bldLvl="0" animBg="1"/>
      <p:bldP spid="32" grpId="0" bldLvl="0" animBg="1"/>
      <p:bldP spid="33" grpId="0" bldLvl="0" animBg="1"/>
      <p:bldP spid="34" grpId="0" bldLvl="0" animBg="1"/>
      <p:bldP spid="35" grpId="0" bldLvl="0" animBg="1"/>
      <p:bldP spid="36" grpId="0" bldLvl="0" animBg="1"/>
      <p:bldP spid="37" grpId="0" bldLvl="0" animBg="1"/>
      <p:bldP spid="5" grpId="0" bldLvl="0" animBg="1"/>
      <p:bldP spid="7" grpId="0" bldLvl="0" animBg="1"/>
      <p:bldP spid="40" grpId="0" bldLvl="0" animBg="1"/>
      <p:bldP spid="41" grpId="0" bldLvl="0" animBg="1"/>
      <p:bldP spid="51" grpId="0" bldLvl="0" animBg="1"/>
      <p:bldP spid="52" grpId="0" bldLvl="0" animBg="1"/>
      <p:bldP spid="53" grpId="0" bldLvl="0" animBg="1"/>
      <p:bldP spid="54" grpId="0" bldLvl="0" animBg="1"/>
      <p:bldP spid="55" grpId="0" bldLvl="0" animBg="1"/>
      <p:bldP spid="8" grpId="0" bldLvl="0" animBg="1"/>
      <p:bldP spid="9" grpId="0" bldLvl="0" animBg="1"/>
      <p:bldP spid="10" grpId="0" bldLvl="0" animBg="1"/>
      <p:bldP spid="12" grpId="0" bldLvl="0" animBg="1"/>
      <p:bldP spid="13" grpId="0" bldLvl="0" animBg="1"/>
      <p:bldP spid="14" grpId="0" bldLvl="0" animBg="1"/>
      <p:bldP spid="62" grpId="0" bldLvl="0" animBg="1"/>
      <p:bldP spid="63" grpId="0" bldLvl="0" animBg="1"/>
      <p:bldP spid="73" grpId="0" bldLvl="0" animBg="1"/>
      <p:bldP spid="74" grpId="0" bldLvl="0" animBg="1"/>
      <p:bldP spid="75" grpId="0" bldLvl="0" animBg="1"/>
      <p:bldP spid="76" grpId="0" bldLvl="0" animBg="1"/>
      <p:bldP spid="77" grpId="0" bldLvl="0" animBg="1"/>
      <p:bldP spid="78" grpId="0" bldLvl="0" animBg="1"/>
      <p:bldP spid="79" grpId="0" bldLvl="0" animBg="1"/>
      <p:bldP spid="84" grpId="0" bldLvl="0" animBg="1"/>
      <p:bldP spid="85" grpId="0" bldLvl="0" animBg="1"/>
      <p:bldP spid="89" grpId="0" bldLvl="0" animBg="1"/>
      <p:bldP spid="90" grpId="0" bldLvl="0" animBg="1"/>
      <p:bldP spid="91" grpId="0" bldLvl="0" animBg="1"/>
      <p:bldP spid="92" grpId="0" bldLvl="0" animBg="1"/>
      <p:bldP spid="93" grpId="0" bldLvl="0" animBg="1"/>
      <p:bldP spid="94" grpId="0" bldLvl="0" animBg="1"/>
      <p:bldP spid="95" grpId="0" bldLvl="0" animBg="1"/>
      <p:bldP spid="96" grpId="0" bldLvl="0" animBg="1"/>
      <p:bldP spid="97" grpId="0" bldLvl="0" animBg="1"/>
      <p:bldP spid="98" grpId="0" bldLvl="0" animBg="1"/>
      <p:bldP spid="99" grpId="0" bldLvl="0" animBg="1"/>
      <p:bldP spid="100" grpId="0" bldLvl="0" animBg="1"/>
      <p:bldP spid="101" grpId="0" bldLvl="0" animBg="1"/>
      <p:bldP spid="102" grpId="0" bldLvl="0" animBg="1"/>
      <p:bldP spid="103" grpId="0" bldLvl="0" animBg="1"/>
      <p:bldP spid="104" grpId="0" bldLvl="0" animBg="1"/>
      <p:bldP spid="105" grpId="0" bldLvl="0" animBg="1"/>
      <p:bldP spid="106" grpId="0" bldLvl="0" animBg="1"/>
      <p:bldP spid="107" grpId="0" bldLvl="0" animBg="1"/>
      <p:bldP spid="108" grpId="0" bldLvl="0" animBg="1"/>
      <p:bldP spid="109" grpId="0" bldLvl="0" animBg="1"/>
      <p:bldP spid="110" grpId="0" bldLvl="0" animBg="1"/>
      <p:bldP spid="111" grpId="0" bldLvl="0" animBg="1"/>
      <p:bldP spid="112" grpId="0" bldLvl="0" animBg="1"/>
      <p:bldP spid="113" grpId="0" bldLvl="0" animBg="1"/>
      <p:bldP spid="114" grpId="0" bldLvl="0" animBg="1"/>
      <p:bldP spid="115" grpId="0" bldLvl="0" animBg="1"/>
      <p:bldP spid="116" grpId="0" bldLvl="0" animBg="1"/>
      <p:bldP spid="117" grpId="0" bldLvl="0" animBg="1"/>
      <p:bldP spid="118" grpId="0" bldLvl="0" animBg="1"/>
      <p:bldP spid="119" grpId="0" bldLvl="0" animBg="1"/>
      <p:bldP spid="120" grpId="0" bldLvl="0" animBg="1"/>
      <p:bldP spid="121" grpId="0" bldLvl="0" animBg="1"/>
      <p:bldP spid="122" grpId="0" bldLvl="0" animBg="1"/>
      <p:bldP spid="123" grpId="0" bldLvl="0" animBg="1"/>
      <p:bldP spid="124" grpId="0" bldLvl="0" animBg="1"/>
      <p:bldP spid="125" grpId="0" bldLvl="0" animBg="1"/>
      <p:bldP spid="126" grpId="0" bldLvl="0" animBg="1"/>
      <p:bldP spid="127" grpId="0" bldLvl="0" animBg="1"/>
      <p:bldP spid="128" grpId="0" bldLvl="0" animBg="1"/>
      <p:bldP spid="129" grpId="0" bldLvl="0" animBg="1"/>
      <p:bldP spid="130" grpId="0" bldLvl="0" animBg="1"/>
      <p:bldP spid="131" grpId="0" bldLvl="0" animBg="1"/>
      <p:bldP spid="132" grpId="0" bldLvl="0" animBg="1"/>
      <p:bldP spid="133" grpId="0" bldLvl="0" animBg="1"/>
      <p:bldP spid="134" grpId="0" bldLvl="0" animBg="1"/>
      <p:bldP spid="135" grpId="0" bldLvl="0" animBg="1"/>
      <p:bldP spid="717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096000" y="1254760"/>
            <a:ext cx="5160010" cy="2724150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INFRASTRUCTURE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组合 29"/>
          <p:cNvGrpSpPr/>
          <p:nvPr/>
        </p:nvGrpSpPr>
        <p:grpSpPr>
          <a:xfrm>
            <a:off x="984885" y="1254125"/>
            <a:ext cx="5080000" cy="4919345"/>
            <a:chOff x="664369" y="1081088"/>
            <a:chExt cx="3651250" cy="4919029"/>
          </a:xfrm>
        </p:grpSpPr>
        <p:sp>
          <p:nvSpPr>
            <p:cNvPr id="34" name="矩形 33"/>
            <p:cNvSpPr/>
            <p:nvPr>
              <p:custDataLst>
                <p:tags r:id="rId2"/>
              </p:custDataLst>
            </p:nvPr>
          </p:nvSpPr>
          <p:spPr>
            <a:xfrm>
              <a:off x="664369" y="3929318"/>
              <a:ext cx="3651250" cy="207079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pic>
          <p:nvPicPr>
            <p:cNvPr id="35" name="图片 1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73895" y="1081088"/>
              <a:ext cx="3632198" cy="272414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36" name="文本框 35"/>
            <p:cNvSpPr txBox="1"/>
            <p:nvPr>
              <p:custDataLst>
                <p:tags r:id="rId5"/>
              </p:custDataLst>
            </p:nvPr>
          </p:nvSpPr>
          <p:spPr>
            <a:xfrm>
              <a:off x="772994" y="4367002"/>
              <a:ext cx="3371929" cy="1014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50000"/>
                </a:lnSpc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合作区外</a:t>
              </a:r>
              <a:r>
                <a:rPr lang="en-US" altLang="zh-CN" sz="20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10.25KM</a:t>
              </a: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高速公路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sz="2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双向4车道的混凝土高速公路已建成通车</a:t>
              </a:r>
              <a:endPara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108701" y="4104005"/>
            <a:ext cx="5145404" cy="2070735"/>
            <a:chOff x="6529764" y="3931556"/>
            <a:chExt cx="3663003" cy="2070702"/>
          </a:xfrm>
        </p:grpSpPr>
        <p:sp>
          <p:nvSpPr>
            <p:cNvPr id="11" name="矩形 10"/>
            <p:cNvSpPr/>
            <p:nvPr>
              <p:custDataLst>
                <p:tags r:id="rId6"/>
              </p:custDataLst>
            </p:nvPr>
          </p:nvSpPr>
          <p:spPr>
            <a:xfrm>
              <a:off x="6529764" y="3931556"/>
              <a:ext cx="3663003" cy="2070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sp>
          <p:nvSpPr>
            <p:cNvPr id="13" name="文本框 12"/>
            <p:cNvSpPr txBox="1"/>
            <p:nvPr>
              <p:custDataLst>
                <p:tags r:id="rId7"/>
              </p:custDataLst>
            </p:nvPr>
          </p:nvSpPr>
          <p:spPr>
            <a:xfrm>
              <a:off x="6800997" y="4554481"/>
              <a:ext cx="3056798" cy="553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50000"/>
                </a:lnSpc>
              </a:pPr>
              <a:r>
                <a:rPr 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合作</a:t>
              </a: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区内主干道已全面贯通产业片区</a:t>
              </a:r>
              <a:endParaRPr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</p:spTree>
  </p:cSld>
  <p:clrMapOvr>
    <a:masterClrMapping/>
  </p:clrMapOvr>
  <p:transition spd="slow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104255" y="1301115"/>
            <a:ext cx="5134610" cy="272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图片 1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84885" y="1300480"/>
            <a:ext cx="5061585" cy="2724785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INFRASTRUCTURE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组合 29"/>
          <p:cNvGrpSpPr/>
          <p:nvPr/>
        </p:nvGrpSpPr>
        <p:grpSpPr>
          <a:xfrm>
            <a:off x="984885" y="4148893"/>
            <a:ext cx="5080000" cy="2070932"/>
            <a:chOff x="664369" y="3929318"/>
            <a:chExt cx="3651250" cy="2070799"/>
          </a:xfrm>
        </p:grpSpPr>
        <p:sp>
          <p:nvSpPr>
            <p:cNvPr id="34" name="矩形 33"/>
            <p:cNvSpPr/>
            <p:nvPr>
              <p:custDataLst>
                <p:tags r:id="rId5"/>
              </p:custDataLst>
            </p:nvPr>
          </p:nvSpPr>
          <p:spPr>
            <a:xfrm>
              <a:off x="664369" y="3929318"/>
              <a:ext cx="3651250" cy="207079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sp>
          <p:nvSpPr>
            <p:cNvPr id="36" name="文本框 35"/>
            <p:cNvSpPr txBox="1"/>
            <p:nvPr>
              <p:custDataLst>
                <p:tags r:id="rId6"/>
              </p:custDataLst>
            </p:nvPr>
          </p:nvSpPr>
          <p:spPr>
            <a:xfrm>
              <a:off x="987961" y="4153656"/>
              <a:ext cx="3073440" cy="1476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50000"/>
                </a:lnSpc>
              </a:pP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壳牌公司供气管道已铺设园区</a:t>
              </a:r>
              <a:endParaRPr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园区内配备液化气储气站、压缩天然气，</a:t>
              </a:r>
              <a:r>
                <a:rPr sz="20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确保全天候向企业供气</a:t>
              </a:r>
              <a:endParaRPr sz="20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108701" y="4150360"/>
            <a:ext cx="5145404" cy="2070735"/>
            <a:chOff x="6529764" y="3931556"/>
            <a:chExt cx="3663003" cy="2070702"/>
          </a:xfrm>
        </p:grpSpPr>
        <p:sp>
          <p:nvSpPr>
            <p:cNvPr id="11" name="矩形 10"/>
            <p:cNvSpPr/>
            <p:nvPr>
              <p:custDataLst>
                <p:tags r:id="rId7"/>
              </p:custDataLst>
            </p:nvPr>
          </p:nvSpPr>
          <p:spPr>
            <a:xfrm>
              <a:off x="6529764" y="3931556"/>
              <a:ext cx="3663003" cy="2070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sp>
          <p:nvSpPr>
            <p:cNvPr id="13" name="文本框 12"/>
            <p:cNvSpPr txBox="1"/>
            <p:nvPr>
              <p:custDataLst>
                <p:tags r:id="rId8"/>
              </p:custDataLst>
            </p:nvPr>
          </p:nvSpPr>
          <p:spPr>
            <a:xfrm>
              <a:off x="6579038" y="3978545"/>
              <a:ext cx="3527839" cy="1937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50000"/>
                </a:lnSpc>
              </a:pP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园区规划总装机容量为</a:t>
              </a:r>
              <a:r>
                <a:rPr sz="20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200兆瓦</a:t>
              </a:r>
              <a:endParaRPr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目前已建成</a:t>
              </a:r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80</a:t>
              </a: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兆瓦，且园区内已铺设好输变电管线网络，并提供供电设施维护服务</a:t>
              </a:r>
              <a:r>
                <a:rPr sz="20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，负责保障企业全天24小时不间断供电</a:t>
              </a:r>
              <a:endParaRPr sz="20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</p:spTree>
  </p:cSld>
  <p:clrMapOvr>
    <a:masterClrMapping/>
  </p:clrMapOvr>
  <p:transition spd="slow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4" r="6108"/>
          <a:stretch>
            <a:fillRect/>
          </a:stretch>
        </p:blipFill>
        <p:spPr>
          <a:xfrm>
            <a:off x="6095365" y="1254760"/>
            <a:ext cx="5137150" cy="272542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4250" y="1254760"/>
            <a:ext cx="5062220" cy="2720975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INFRASTRUCTURE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组合 29"/>
          <p:cNvGrpSpPr/>
          <p:nvPr/>
        </p:nvGrpSpPr>
        <p:grpSpPr>
          <a:xfrm>
            <a:off x="984885" y="4103808"/>
            <a:ext cx="5080000" cy="2070932"/>
            <a:chOff x="664369" y="3929318"/>
            <a:chExt cx="3651250" cy="2070799"/>
          </a:xfrm>
        </p:grpSpPr>
        <p:sp>
          <p:nvSpPr>
            <p:cNvPr id="34" name="矩形 33"/>
            <p:cNvSpPr/>
            <p:nvPr>
              <p:custDataLst>
                <p:tags r:id="rId5"/>
              </p:custDataLst>
            </p:nvPr>
          </p:nvSpPr>
          <p:spPr>
            <a:xfrm>
              <a:off x="664369" y="3929318"/>
              <a:ext cx="3651250" cy="207079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sp>
          <p:nvSpPr>
            <p:cNvPr id="36" name="文本框 35"/>
            <p:cNvSpPr txBox="1"/>
            <p:nvPr>
              <p:custDataLst>
                <p:tags r:id="rId6"/>
              </p:custDataLst>
            </p:nvPr>
          </p:nvSpPr>
          <p:spPr>
            <a:xfrm>
              <a:off x="987961" y="4297156"/>
              <a:ext cx="3073440" cy="1014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50000"/>
                </a:lnSpc>
              </a:pPr>
              <a:r>
                <a:rPr 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合作</a:t>
              </a: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区保障供水</a:t>
              </a:r>
              <a:endParaRPr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满足企业工业及生活用水需求</a:t>
              </a:r>
              <a:endParaRPr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108701" y="4105275"/>
            <a:ext cx="5145404" cy="2070735"/>
            <a:chOff x="6529764" y="3931556"/>
            <a:chExt cx="3663003" cy="2070702"/>
          </a:xfrm>
        </p:grpSpPr>
        <p:sp>
          <p:nvSpPr>
            <p:cNvPr id="11" name="矩形 10"/>
            <p:cNvSpPr/>
            <p:nvPr>
              <p:custDataLst>
                <p:tags r:id="rId7"/>
              </p:custDataLst>
            </p:nvPr>
          </p:nvSpPr>
          <p:spPr>
            <a:xfrm>
              <a:off x="6529764" y="3931556"/>
              <a:ext cx="3663003" cy="2070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zh-CN" altLang="en-US" strike="noStrike" noProof="1"/>
            </a:p>
          </p:txBody>
        </p:sp>
        <p:sp>
          <p:nvSpPr>
            <p:cNvPr id="13" name="文本框 12"/>
            <p:cNvSpPr txBox="1"/>
            <p:nvPr>
              <p:custDataLst>
                <p:tags r:id="rId8"/>
              </p:custDataLst>
            </p:nvPr>
          </p:nvSpPr>
          <p:spPr>
            <a:xfrm>
              <a:off x="6778394" y="4335409"/>
              <a:ext cx="3223154" cy="10147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just">
                <a:lnSpc>
                  <a:spcPct val="150000"/>
                </a:lnSpc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中国电信已经入园，</a:t>
              </a:r>
              <a:r>
                <a:rPr 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合作</a:t>
              </a:r>
              <a:r>
                <a:rPr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 Light" panose="020B0502040204020203" charset="-122"/>
                </a:rPr>
                <a:t>区内已覆盖3G、4G网络信号</a:t>
              </a:r>
              <a:endParaRPr 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 Light" panose="020B0502040204020203" charset="-122"/>
              </a:endParaRPr>
            </a:p>
          </p:txBody>
        </p:sp>
      </p:grpSp>
    </p:spTree>
  </p:cSld>
  <p:clrMapOvr>
    <a:masterClrMapping/>
  </p:clrMapOvr>
  <p:transition spd="slow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配套设施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INFRASTRUCTURE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文本框 8"/>
          <p:cNvSpPr txBox="1"/>
          <p:nvPr>
            <p:custDataLst>
              <p:tags r:id="rId1"/>
            </p:custDataLst>
          </p:nvPr>
        </p:nvSpPr>
        <p:spPr>
          <a:xfrm>
            <a:off x="3166226" y="3051809"/>
            <a:ext cx="1769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中国饭店</a:t>
            </a:r>
            <a:endParaRPr lang="zh-CN" altLang="en-US" sz="2400" dirty="0"/>
          </a:p>
        </p:txBody>
      </p:sp>
      <p:sp>
        <p:nvSpPr>
          <p:cNvPr id="10" name="文本框 9"/>
          <p:cNvSpPr txBox="1"/>
          <p:nvPr>
            <p:custDataLst>
              <p:tags r:id="rId2"/>
            </p:custDataLst>
          </p:nvPr>
        </p:nvSpPr>
        <p:spPr>
          <a:xfrm>
            <a:off x="3166226" y="5646887"/>
            <a:ext cx="1769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中国超市</a:t>
            </a:r>
            <a:endParaRPr lang="zh-CN" altLang="en-US" sz="2400" dirty="0"/>
          </a:p>
        </p:txBody>
      </p:sp>
      <p:pic>
        <p:nvPicPr>
          <p:cNvPr id="2" name="图片 1" descr="冰箱里有许多饮料&#10;&#10;中度可信度描述已自动生成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13"/>
          <a:stretch>
            <a:fillRect/>
          </a:stretch>
        </p:blipFill>
        <p:spPr>
          <a:xfrm>
            <a:off x="2381719" y="3738853"/>
            <a:ext cx="3338963" cy="1908034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719" y="1143775"/>
            <a:ext cx="3338961" cy="1908034"/>
          </a:xfrm>
          <a:prstGeom prst="rect">
            <a:avLst/>
          </a:prstGeom>
          <a:noFill/>
        </p:spPr>
      </p:pic>
      <p:pic>
        <p:nvPicPr>
          <p:cNvPr id="8" name="图片 7" descr="草地上有围栏&#10;&#10;描述已自动生成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572" b="15572"/>
          <a:stretch>
            <a:fillRect/>
          </a:stretch>
        </p:blipFill>
        <p:spPr>
          <a:xfrm>
            <a:off x="6496973" y="3429000"/>
            <a:ext cx="3338961" cy="2221558"/>
          </a:xfrm>
          <a:prstGeom prst="rect">
            <a:avLst/>
          </a:prstGeom>
        </p:spPr>
      </p:pic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6342135" y="5634676"/>
            <a:ext cx="3648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各类球场以及健身房设施</a:t>
            </a:r>
            <a:endParaRPr lang="zh-CN" altLang="en-US" sz="2400" dirty="0"/>
          </a:p>
        </p:txBody>
      </p:sp>
      <p:pic>
        <p:nvPicPr>
          <p:cNvPr id="14" name="图片 13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" t="14686" r="99"/>
          <a:stretch>
            <a:fillRect/>
          </a:stretch>
        </p:blipFill>
        <p:spPr>
          <a:xfrm>
            <a:off x="6496973" y="1152739"/>
            <a:ext cx="3338961" cy="1899070"/>
          </a:xfrm>
          <a:prstGeom prst="rect">
            <a:avLst/>
          </a:prstGeom>
        </p:spPr>
      </p:pic>
      <p:sp>
        <p:nvSpPr>
          <p:cNvPr id="15" name="文本框 14"/>
          <p:cNvSpPr txBox="1"/>
          <p:nvPr>
            <p:custDataLst>
              <p:tags r:id="rId12"/>
            </p:custDataLst>
          </p:nvPr>
        </p:nvSpPr>
        <p:spPr>
          <a:xfrm>
            <a:off x="6442075" y="3121025"/>
            <a:ext cx="35483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酒店为短期考察提供住宿</a:t>
            </a:r>
            <a:endParaRPr lang="zh-CN" altLang="en-US" sz="2400" dirty="0"/>
          </a:p>
        </p:txBody>
      </p:sp>
    </p:spTree>
  </p:cSld>
  <p:clrMapOvr>
    <a:masterClrMapping/>
  </p:clrMapOvr>
  <p:transition spd="slow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配套设施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INFRASTRUCTURE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文本框 8"/>
          <p:cNvSpPr txBox="1"/>
          <p:nvPr/>
        </p:nvSpPr>
        <p:spPr>
          <a:xfrm>
            <a:off x="1242207" y="3139063"/>
            <a:ext cx="1769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汽修中心</a:t>
            </a:r>
            <a:endParaRPr lang="zh-CN" altLang="en-US" sz="2400" dirty="0"/>
          </a:p>
        </p:txBody>
      </p:sp>
      <p:sp>
        <p:nvSpPr>
          <p:cNvPr id="10" name="文本框 9"/>
          <p:cNvSpPr txBox="1"/>
          <p:nvPr/>
        </p:nvSpPr>
        <p:spPr>
          <a:xfrm>
            <a:off x="8632292" y="3144372"/>
            <a:ext cx="3034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/>
              <a:t>Zenith</a:t>
            </a:r>
            <a:r>
              <a:rPr lang="zh-CN" altLang="en-US" sz="2400" dirty="0"/>
              <a:t>、</a:t>
            </a:r>
            <a:r>
              <a:rPr lang="en-US" altLang="zh-CN" sz="2400" dirty="0"/>
              <a:t>Wema</a:t>
            </a:r>
            <a:r>
              <a:rPr lang="zh-CN" altLang="en-US" sz="2400" dirty="0"/>
              <a:t>银行</a:t>
            </a:r>
            <a:endParaRPr lang="zh-CN" altLang="en-US" sz="2400" dirty="0"/>
          </a:p>
        </p:txBody>
      </p:sp>
      <p:pic>
        <p:nvPicPr>
          <p:cNvPr id="7" name="图片 6" descr="沙滩上有房子&#10;&#10;描述已自动生成"/>
          <p:cNvPicPr>
            <a:picLocks noChangeAspect="1"/>
          </p:cNvPicPr>
          <p:nvPr/>
        </p:nvPicPr>
        <p:blipFill rotWithShape="1">
          <a:blip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7000" contrast="15000"/>
                    </a14:imgEffect>
                    <a14:imgEffect>
                      <a14:colorTemperature colorTemp="7026"/>
                    </a14:imgEffect>
                    <a14:imgEffect>
                      <a14:saturation sat="1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466" b="14341"/>
          <a:stretch>
            <a:fillRect/>
          </a:stretch>
        </p:blipFill>
        <p:spPr>
          <a:xfrm>
            <a:off x="525544" y="3600728"/>
            <a:ext cx="3338962" cy="190803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242207" y="5581279"/>
            <a:ext cx="1769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加油站</a:t>
            </a:r>
            <a:endParaRPr lang="en-US" altLang="zh-CN" sz="24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39" b="7039"/>
          <a:stretch>
            <a:fillRect/>
          </a:stretch>
        </p:blipFill>
        <p:spPr>
          <a:xfrm>
            <a:off x="4426518" y="1168673"/>
            <a:ext cx="3338963" cy="1908034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545" y="1168673"/>
            <a:ext cx="3338961" cy="1877724"/>
          </a:xfrm>
          <a:prstGeom prst="rect">
            <a:avLst/>
          </a:prstGeom>
          <a:noFill/>
        </p:spPr>
      </p:pic>
      <p:pic>
        <p:nvPicPr>
          <p:cNvPr id="6" name="图片 5" descr="房子前&#10;&#10;AI 生成的内容可能不正确。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57"/>
          <a:stretch>
            <a:fillRect/>
          </a:stretch>
        </p:blipFill>
        <p:spPr>
          <a:xfrm>
            <a:off x="4426518" y="3600727"/>
            <a:ext cx="3340131" cy="190803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5010573" y="5581279"/>
            <a:ext cx="2170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当地工人诊所</a:t>
            </a:r>
            <a:endParaRPr lang="zh-CN" altLang="en-US" sz="2400" dirty="0"/>
          </a:p>
        </p:txBody>
      </p:sp>
      <p:pic>
        <p:nvPicPr>
          <p:cNvPr id="24" name="图片 23" descr="建筑的摆设布局&#10;&#10;AI 生成的内容可能不正确。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48" b="9082"/>
          <a:stretch>
            <a:fillRect/>
          </a:stretch>
        </p:blipFill>
        <p:spPr>
          <a:xfrm>
            <a:off x="8467939" y="1168673"/>
            <a:ext cx="3338961" cy="1908034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5211025" y="3107884"/>
            <a:ext cx="1769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中国诊所</a:t>
            </a:r>
            <a:endParaRPr lang="zh-CN" altLang="en-US" sz="2400" dirty="0"/>
          </a:p>
        </p:txBody>
      </p:sp>
      <p:pic>
        <p:nvPicPr>
          <p:cNvPr id="26" name="图片 25" descr="建筑的摆设布局&#10;&#10;AI 生成的内容可能不正确。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3" b="14668"/>
          <a:stretch>
            <a:fillRect/>
          </a:stretch>
        </p:blipFill>
        <p:spPr>
          <a:xfrm>
            <a:off x="8467939" y="3600727"/>
            <a:ext cx="3336904" cy="1908034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9063948" y="5523311"/>
            <a:ext cx="2170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当地旅馆</a:t>
            </a:r>
            <a:endParaRPr lang="zh-CN" altLang="en-US" sz="2400" dirty="0"/>
          </a:p>
        </p:txBody>
      </p:sp>
    </p:spTree>
  </p:cSld>
  <p:clrMapOvr>
    <a:masterClrMapping/>
  </p:clrMapOvr>
  <p:transition spd="slow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椭圆 31"/>
          <p:cNvSpPr/>
          <p:nvPr/>
        </p:nvSpPr>
        <p:spPr>
          <a:xfrm>
            <a:off x="4892558" y="972607"/>
            <a:ext cx="2448272" cy="244827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标题 4"/>
          <p:cNvSpPr txBox="1"/>
          <p:nvPr/>
        </p:nvSpPr>
        <p:spPr>
          <a:xfrm>
            <a:off x="4945459" y="3819612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入驻企业情况</a:t>
            </a:r>
            <a:endParaRPr lang="zh-CN" altLang="en-US" sz="24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椭圆 55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56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椭圆 58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椭圆 59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椭圆 62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椭圆 64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标题 4"/>
          <p:cNvSpPr txBox="1"/>
          <p:nvPr/>
        </p:nvSpPr>
        <p:spPr>
          <a:xfrm>
            <a:off x="4945459" y="2780928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章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椭圆 66"/>
          <p:cNvSpPr/>
          <p:nvPr/>
        </p:nvSpPr>
        <p:spPr>
          <a:xfrm>
            <a:off x="4996314" y="1076363"/>
            <a:ext cx="2240761" cy="2240761"/>
          </a:xfrm>
          <a:prstGeom prst="ellipse">
            <a:avLst/>
          </a:prstGeom>
          <a:noFill/>
          <a:ln w="31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8" name="直接连接符 67"/>
          <p:cNvCxnSpPr/>
          <p:nvPr/>
        </p:nvCxnSpPr>
        <p:spPr>
          <a:xfrm>
            <a:off x="4808413" y="4293096"/>
            <a:ext cx="2477306" cy="0"/>
          </a:xfrm>
          <a:prstGeom prst="line">
            <a:avLst/>
          </a:prstGeom>
          <a:ln>
            <a:solidFill>
              <a:srgbClr val="2C363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KSO_Shape"/>
          <p:cNvSpPr/>
          <p:nvPr/>
        </p:nvSpPr>
        <p:spPr bwMode="auto">
          <a:xfrm>
            <a:off x="5356820" y="1519958"/>
            <a:ext cx="1481536" cy="1261770"/>
          </a:xfrm>
          <a:custGeom>
            <a:avLst/>
            <a:gdLst>
              <a:gd name="T0" fmla="*/ 432030 w 2125663"/>
              <a:gd name="T1" fmla="*/ 1344893 h 1811338"/>
              <a:gd name="T2" fmla="*/ 462740 w 2125663"/>
              <a:gd name="T3" fmla="*/ 1477960 h 1811338"/>
              <a:gd name="T4" fmla="*/ 513638 w 2125663"/>
              <a:gd name="T5" fmla="*/ 1557743 h 1811338"/>
              <a:gd name="T6" fmla="*/ 516481 w 2125663"/>
              <a:gd name="T7" fmla="*/ 1336346 h 1811338"/>
              <a:gd name="T8" fmla="*/ 503401 w 2125663"/>
              <a:gd name="T9" fmla="*/ 1310416 h 1811338"/>
              <a:gd name="T10" fmla="*/ 515913 w 2125663"/>
              <a:gd name="T11" fmla="*/ 1250009 h 1811338"/>
              <a:gd name="T12" fmla="*/ 618846 w 2125663"/>
              <a:gd name="T13" fmla="*/ 1242885 h 1811338"/>
              <a:gd name="T14" fmla="*/ 643583 w 2125663"/>
              <a:gd name="T15" fmla="*/ 1263116 h 1811338"/>
              <a:gd name="T16" fmla="*/ 642446 w 2125663"/>
              <a:gd name="T17" fmla="*/ 1324948 h 1811338"/>
              <a:gd name="T18" fmla="*/ 619414 w 2125663"/>
              <a:gd name="T19" fmla="*/ 1342899 h 1811338"/>
              <a:gd name="T20" fmla="*/ 664057 w 2125663"/>
              <a:gd name="T21" fmla="*/ 1524691 h 1811338"/>
              <a:gd name="T22" fmla="*/ 704434 w 2125663"/>
              <a:gd name="T23" fmla="*/ 1417553 h 1811338"/>
              <a:gd name="T24" fmla="*/ 725191 w 2125663"/>
              <a:gd name="T25" fmla="*/ 1259697 h 1811338"/>
              <a:gd name="T26" fmla="*/ 857412 w 2125663"/>
              <a:gd name="T27" fmla="*/ 1192451 h 1811338"/>
              <a:gd name="T28" fmla="*/ 923096 w 2125663"/>
              <a:gd name="T29" fmla="*/ 1212682 h 1811338"/>
              <a:gd name="T30" fmla="*/ 970013 w 2125663"/>
              <a:gd name="T31" fmla="*/ 1259697 h 1811338"/>
              <a:gd name="T32" fmla="*/ 990201 w 2125663"/>
              <a:gd name="T33" fmla="*/ 1325233 h 1811338"/>
              <a:gd name="T34" fmla="*/ 980818 w 2125663"/>
              <a:gd name="T35" fmla="*/ 1537228 h 1811338"/>
              <a:gd name="T36" fmla="*/ 935891 w 2125663"/>
              <a:gd name="T37" fmla="*/ 1570566 h 1811338"/>
              <a:gd name="T38" fmla="*/ 798837 w 2125663"/>
              <a:gd name="T39" fmla="*/ 1607608 h 1811338"/>
              <a:gd name="T40" fmla="*/ 617424 w 2125663"/>
              <a:gd name="T41" fmla="*/ 1622140 h 1811338"/>
              <a:gd name="T42" fmla="*/ 428049 w 2125663"/>
              <a:gd name="T43" fmla="*/ 1615872 h 1811338"/>
              <a:gd name="T44" fmla="*/ 264551 w 2125663"/>
              <a:gd name="T45" fmla="*/ 1588232 h 1811338"/>
              <a:gd name="T46" fmla="*/ 180669 w 2125663"/>
              <a:gd name="T47" fmla="*/ 1549481 h 1811338"/>
              <a:gd name="T48" fmla="*/ 159912 w 2125663"/>
              <a:gd name="T49" fmla="*/ 1517283 h 1811338"/>
              <a:gd name="T50" fmla="*/ 167873 w 2125663"/>
              <a:gd name="T51" fmla="*/ 1284201 h 1811338"/>
              <a:gd name="T52" fmla="*/ 205123 w 2125663"/>
              <a:gd name="T53" fmla="*/ 1228638 h 1811338"/>
              <a:gd name="T54" fmla="*/ 264266 w 2125663"/>
              <a:gd name="T55" fmla="*/ 1196440 h 1811338"/>
              <a:gd name="T56" fmla="*/ 421225 w 2125663"/>
              <a:gd name="T57" fmla="*/ 1183048 h 1811338"/>
              <a:gd name="T58" fmla="*/ 433514 w 2125663"/>
              <a:gd name="T59" fmla="*/ 761303 h 1811338"/>
              <a:gd name="T60" fmla="*/ 391450 w 2125663"/>
              <a:gd name="T61" fmla="*/ 813630 h 1811338"/>
              <a:gd name="T62" fmla="*/ 379229 w 2125663"/>
              <a:gd name="T63" fmla="*/ 902075 h 1811338"/>
              <a:gd name="T64" fmla="*/ 414756 w 2125663"/>
              <a:gd name="T65" fmla="*/ 1016114 h 1811338"/>
              <a:gd name="T66" fmla="*/ 487516 w 2125663"/>
              <a:gd name="T67" fmla="*/ 1099439 h 1811338"/>
              <a:gd name="T68" fmla="*/ 567666 w 2125663"/>
              <a:gd name="T69" fmla="*/ 1135272 h 1811338"/>
              <a:gd name="T70" fmla="*/ 645542 w 2125663"/>
              <a:gd name="T71" fmla="*/ 1111099 h 1811338"/>
              <a:gd name="T72" fmla="*/ 722282 w 2125663"/>
              <a:gd name="T73" fmla="*/ 1035452 h 1811338"/>
              <a:gd name="T74" fmla="*/ 767757 w 2125663"/>
              <a:gd name="T75" fmla="*/ 926248 h 1811338"/>
              <a:gd name="T76" fmla="*/ 666290 w 2125663"/>
              <a:gd name="T77" fmla="*/ 863967 h 1811338"/>
              <a:gd name="T78" fmla="*/ 546918 w 2125663"/>
              <a:gd name="T79" fmla="*/ 832116 h 1811338"/>
              <a:gd name="T80" fmla="*/ 484389 w 2125663"/>
              <a:gd name="T81" fmla="*/ 790595 h 1811338"/>
              <a:gd name="T82" fmla="*/ 452273 w 2125663"/>
              <a:gd name="T83" fmla="*/ 760734 h 1811338"/>
              <a:gd name="T84" fmla="*/ 568234 w 2125663"/>
              <a:gd name="T85" fmla="*/ 587258 h 1811338"/>
              <a:gd name="T86" fmla="*/ 631616 w 2125663"/>
              <a:gd name="T87" fmla="*/ 594937 h 1811338"/>
              <a:gd name="T88" fmla="*/ 705513 w 2125663"/>
              <a:gd name="T89" fmla="*/ 631054 h 1811338"/>
              <a:gd name="T90" fmla="*/ 790210 w 2125663"/>
              <a:gd name="T91" fmla="*/ 732864 h 1811338"/>
              <a:gd name="T92" fmla="*/ 826306 w 2125663"/>
              <a:gd name="T93" fmla="*/ 873920 h 1811338"/>
              <a:gd name="T94" fmla="*/ 818064 w 2125663"/>
              <a:gd name="T95" fmla="*/ 959237 h 1811338"/>
              <a:gd name="T96" fmla="*/ 780831 w 2125663"/>
              <a:gd name="T97" fmla="*/ 1048534 h 1811338"/>
              <a:gd name="T98" fmla="*/ 687607 w 2125663"/>
              <a:gd name="T99" fmla="*/ 1148922 h 1811338"/>
              <a:gd name="T100" fmla="*/ 588983 w 2125663"/>
              <a:gd name="T101" fmla="*/ 1190727 h 1811338"/>
              <a:gd name="T102" fmla="*/ 525033 w 2125663"/>
              <a:gd name="T103" fmla="*/ 1182480 h 1811338"/>
              <a:gd name="T104" fmla="*/ 421293 w 2125663"/>
              <a:gd name="T105" fmla="*/ 1115081 h 1811338"/>
              <a:gd name="T106" fmla="*/ 345406 w 2125663"/>
              <a:gd name="T107" fmla="*/ 1002463 h 1811338"/>
              <a:gd name="T108" fmla="*/ 325511 w 2125663"/>
              <a:gd name="T109" fmla="*/ 929092 h 1811338"/>
              <a:gd name="T110" fmla="*/ 330627 w 2125663"/>
              <a:gd name="T111" fmla="*/ 813915 h 1811338"/>
              <a:gd name="T112" fmla="*/ 388324 w 2125663"/>
              <a:gd name="T113" fmla="*/ 686510 h 1811338"/>
              <a:gd name="T114" fmla="*/ 482400 w 2125663"/>
              <a:gd name="T115" fmla="*/ 608303 h 1811338"/>
              <a:gd name="T116" fmla="*/ 542939 w 2125663"/>
              <a:gd name="T117" fmla="*/ 589534 h 1811338"/>
              <a:gd name="T118" fmla="*/ 0 w 2125663"/>
              <a:gd name="T119" fmla="*/ 0 h 1811338"/>
              <a:gd name="T120" fmla="*/ 174993 w 2125663"/>
              <a:gd name="T121" fmla="*/ 1118883 h 18113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125663" h="1811338">
                <a:moveTo>
                  <a:pt x="470017" y="1320800"/>
                </a:moveTo>
                <a:lnTo>
                  <a:pt x="470335" y="1343069"/>
                </a:lnTo>
                <a:lnTo>
                  <a:pt x="471286" y="1364382"/>
                </a:lnTo>
                <a:lnTo>
                  <a:pt x="472238" y="1385696"/>
                </a:lnTo>
                <a:lnTo>
                  <a:pt x="473190" y="1406374"/>
                </a:lnTo>
                <a:lnTo>
                  <a:pt x="474459" y="1426415"/>
                </a:lnTo>
                <a:lnTo>
                  <a:pt x="476363" y="1446139"/>
                </a:lnTo>
                <a:lnTo>
                  <a:pt x="478267" y="1464908"/>
                </a:lnTo>
                <a:lnTo>
                  <a:pt x="480170" y="1483677"/>
                </a:lnTo>
                <a:lnTo>
                  <a:pt x="482074" y="1501491"/>
                </a:lnTo>
                <a:lnTo>
                  <a:pt x="484612" y="1518988"/>
                </a:lnTo>
                <a:lnTo>
                  <a:pt x="487468" y="1535530"/>
                </a:lnTo>
                <a:lnTo>
                  <a:pt x="490323" y="1552072"/>
                </a:lnTo>
                <a:lnTo>
                  <a:pt x="493179" y="1567660"/>
                </a:lnTo>
                <a:lnTo>
                  <a:pt x="496352" y="1582611"/>
                </a:lnTo>
                <a:lnTo>
                  <a:pt x="500159" y="1597563"/>
                </a:lnTo>
                <a:lnTo>
                  <a:pt x="503649" y="1611560"/>
                </a:lnTo>
                <a:lnTo>
                  <a:pt x="507774" y="1624921"/>
                </a:lnTo>
                <a:lnTo>
                  <a:pt x="511899" y="1637646"/>
                </a:lnTo>
                <a:lnTo>
                  <a:pt x="516341" y="1650052"/>
                </a:lnTo>
                <a:lnTo>
                  <a:pt x="520783" y="1661505"/>
                </a:lnTo>
                <a:lnTo>
                  <a:pt x="525859" y="1672639"/>
                </a:lnTo>
                <a:lnTo>
                  <a:pt x="530936" y="1683137"/>
                </a:lnTo>
                <a:lnTo>
                  <a:pt x="536329" y="1692998"/>
                </a:lnTo>
                <a:lnTo>
                  <a:pt x="541723" y="1702224"/>
                </a:lnTo>
                <a:lnTo>
                  <a:pt x="547752" y="1710813"/>
                </a:lnTo>
                <a:lnTo>
                  <a:pt x="553463" y="1718766"/>
                </a:lnTo>
                <a:lnTo>
                  <a:pt x="559808" y="1726083"/>
                </a:lnTo>
                <a:lnTo>
                  <a:pt x="566154" y="1732763"/>
                </a:lnTo>
                <a:lnTo>
                  <a:pt x="573134" y="1739125"/>
                </a:lnTo>
                <a:lnTo>
                  <a:pt x="580114" y="1744215"/>
                </a:lnTo>
                <a:lnTo>
                  <a:pt x="587412" y="1749305"/>
                </a:lnTo>
                <a:lnTo>
                  <a:pt x="594709" y="1753123"/>
                </a:lnTo>
                <a:lnTo>
                  <a:pt x="594709" y="1499901"/>
                </a:lnTo>
                <a:lnTo>
                  <a:pt x="591537" y="1499264"/>
                </a:lnTo>
                <a:lnTo>
                  <a:pt x="588047" y="1498310"/>
                </a:lnTo>
                <a:lnTo>
                  <a:pt x="584874" y="1497038"/>
                </a:lnTo>
                <a:lnTo>
                  <a:pt x="582018" y="1495765"/>
                </a:lnTo>
                <a:lnTo>
                  <a:pt x="579163" y="1494175"/>
                </a:lnTo>
                <a:lnTo>
                  <a:pt x="576307" y="1491948"/>
                </a:lnTo>
                <a:lnTo>
                  <a:pt x="573769" y="1489721"/>
                </a:lnTo>
                <a:lnTo>
                  <a:pt x="571548" y="1487494"/>
                </a:lnTo>
                <a:lnTo>
                  <a:pt x="569327" y="1484949"/>
                </a:lnTo>
                <a:lnTo>
                  <a:pt x="567106" y="1482404"/>
                </a:lnTo>
                <a:lnTo>
                  <a:pt x="565519" y="1479223"/>
                </a:lnTo>
                <a:lnTo>
                  <a:pt x="564250" y="1476360"/>
                </a:lnTo>
                <a:lnTo>
                  <a:pt x="563298" y="1473179"/>
                </a:lnTo>
                <a:lnTo>
                  <a:pt x="562347" y="1469998"/>
                </a:lnTo>
                <a:lnTo>
                  <a:pt x="562029" y="1466180"/>
                </a:lnTo>
                <a:lnTo>
                  <a:pt x="561712" y="1462999"/>
                </a:lnTo>
                <a:lnTo>
                  <a:pt x="561712" y="1425143"/>
                </a:lnTo>
                <a:lnTo>
                  <a:pt x="562029" y="1421007"/>
                </a:lnTo>
                <a:lnTo>
                  <a:pt x="562664" y="1417508"/>
                </a:lnTo>
                <a:lnTo>
                  <a:pt x="563616" y="1414009"/>
                </a:lnTo>
                <a:lnTo>
                  <a:pt x="564885" y="1410191"/>
                </a:lnTo>
                <a:lnTo>
                  <a:pt x="566154" y="1407010"/>
                </a:lnTo>
                <a:lnTo>
                  <a:pt x="568375" y="1403829"/>
                </a:lnTo>
                <a:lnTo>
                  <a:pt x="570596" y="1400966"/>
                </a:lnTo>
                <a:lnTo>
                  <a:pt x="572817" y="1398103"/>
                </a:lnTo>
                <a:lnTo>
                  <a:pt x="575673" y="1395558"/>
                </a:lnTo>
                <a:lnTo>
                  <a:pt x="578528" y="1393649"/>
                </a:lnTo>
                <a:lnTo>
                  <a:pt x="581701" y="1391741"/>
                </a:lnTo>
                <a:lnTo>
                  <a:pt x="584874" y="1390150"/>
                </a:lnTo>
                <a:lnTo>
                  <a:pt x="588364" y="1388878"/>
                </a:lnTo>
                <a:lnTo>
                  <a:pt x="592171" y="1387605"/>
                </a:lnTo>
                <a:lnTo>
                  <a:pt x="595979" y="1386969"/>
                </a:lnTo>
                <a:lnTo>
                  <a:pt x="599786" y="1386969"/>
                </a:lnTo>
                <a:lnTo>
                  <a:pt x="682597" y="1386969"/>
                </a:lnTo>
                <a:lnTo>
                  <a:pt x="686721" y="1386969"/>
                </a:lnTo>
                <a:lnTo>
                  <a:pt x="690529" y="1387605"/>
                </a:lnTo>
                <a:lnTo>
                  <a:pt x="694019" y="1388878"/>
                </a:lnTo>
                <a:lnTo>
                  <a:pt x="697826" y="1390150"/>
                </a:lnTo>
                <a:lnTo>
                  <a:pt x="700999" y="1391741"/>
                </a:lnTo>
                <a:lnTo>
                  <a:pt x="704172" y="1393649"/>
                </a:lnTo>
                <a:lnTo>
                  <a:pt x="707345" y="1395558"/>
                </a:lnTo>
                <a:lnTo>
                  <a:pt x="709883" y="1398103"/>
                </a:lnTo>
                <a:lnTo>
                  <a:pt x="712104" y="1400966"/>
                </a:lnTo>
                <a:lnTo>
                  <a:pt x="714325" y="1403829"/>
                </a:lnTo>
                <a:lnTo>
                  <a:pt x="716229" y="1407010"/>
                </a:lnTo>
                <a:lnTo>
                  <a:pt x="718132" y="1410191"/>
                </a:lnTo>
                <a:lnTo>
                  <a:pt x="719402" y="1414009"/>
                </a:lnTo>
                <a:lnTo>
                  <a:pt x="720353" y="1417508"/>
                </a:lnTo>
                <a:lnTo>
                  <a:pt x="720671" y="1421007"/>
                </a:lnTo>
                <a:lnTo>
                  <a:pt x="720988" y="1425143"/>
                </a:lnTo>
                <a:lnTo>
                  <a:pt x="720988" y="1462999"/>
                </a:lnTo>
                <a:lnTo>
                  <a:pt x="720988" y="1466180"/>
                </a:lnTo>
                <a:lnTo>
                  <a:pt x="720353" y="1469998"/>
                </a:lnTo>
                <a:lnTo>
                  <a:pt x="719719" y="1473179"/>
                </a:lnTo>
                <a:lnTo>
                  <a:pt x="718450" y="1476360"/>
                </a:lnTo>
                <a:lnTo>
                  <a:pt x="716863" y="1479223"/>
                </a:lnTo>
                <a:lnTo>
                  <a:pt x="715277" y="1482404"/>
                </a:lnTo>
                <a:lnTo>
                  <a:pt x="713373" y="1484949"/>
                </a:lnTo>
                <a:lnTo>
                  <a:pt x="711469" y="1487494"/>
                </a:lnTo>
                <a:lnTo>
                  <a:pt x="708931" y="1489721"/>
                </a:lnTo>
                <a:lnTo>
                  <a:pt x="706710" y="1491948"/>
                </a:lnTo>
                <a:lnTo>
                  <a:pt x="703537" y="1494175"/>
                </a:lnTo>
                <a:lnTo>
                  <a:pt x="700682" y="1495765"/>
                </a:lnTo>
                <a:lnTo>
                  <a:pt x="697826" y="1497038"/>
                </a:lnTo>
                <a:lnTo>
                  <a:pt x="694653" y="1498310"/>
                </a:lnTo>
                <a:lnTo>
                  <a:pt x="691163" y="1499264"/>
                </a:lnTo>
                <a:lnTo>
                  <a:pt x="687991" y="1499901"/>
                </a:lnTo>
                <a:lnTo>
                  <a:pt x="687991" y="1753123"/>
                </a:lnTo>
                <a:lnTo>
                  <a:pt x="695605" y="1749305"/>
                </a:lnTo>
                <a:lnTo>
                  <a:pt x="702586" y="1744215"/>
                </a:lnTo>
                <a:lnTo>
                  <a:pt x="709566" y="1739125"/>
                </a:lnTo>
                <a:lnTo>
                  <a:pt x="716229" y="1732763"/>
                </a:lnTo>
                <a:lnTo>
                  <a:pt x="722892" y="1726083"/>
                </a:lnTo>
                <a:lnTo>
                  <a:pt x="729237" y="1718766"/>
                </a:lnTo>
                <a:lnTo>
                  <a:pt x="734948" y="1710813"/>
                </a:lnTo>
                <a:lnTo>
                  <a:pt x="740977" y="1702224"/>
                </a:lnTo>
                <a:lnTo>
                  <a:pt x="746371" y="1692998"/>
                </a:lnTo>
                <a:lnTo>
                  <a:pt x="751447" y="1683137"/>
                </a:lnTo>
                <a:lnTo>
                  <a:pt x="756841" y="1672639"/>
                </a:lnTo>
                <a:lnTo>
                  <a:pt x="761600" y="1661505"/>
                </a:lnTo>
                <a:lnTo>
                  <a:pt x="766359" y="1650052"/>
                </a:lnTo>
                <a:lnTo>
                  <a:pt x="770801" y="1637646"/>
                </a:lnTo>
                <a:lnTo>
                  <a:pt x="774926" y="1624921"/>
                </a:lnTo>
                <a:lnTo>
                  <a:pt x="779051" y="1611560"/>
                </a:lnTo>
                <a:lnTo>
                  <a:pt x="782541" y="1597563"/>
                </a:lnTo>
                <a:lnTo>
                  <a:pt x="786031" y="1582611"/>
                </a:lnTo>
                <a:lnTo>
                  <a:pt x="789521" y="1567660"/>
                </a:lnTo>
                <a:lnTo>
                  <a:pt x="792377" y="1552072"/>
                </a:lnTo>
                <a:lnTo>
                  <a:pt x="795232" y="1535530"/>
                </a:lnTo>
                <a:lnTo>
                  <a:pt x="797770" y="1518988"/>
                </a:lnTo>
                <a:lnTo>
                  <a:pt x="800626" y="1501491"/>
                </a:lnTo>
                <a:lnTo>
                  <a:pt x="802530" y="1483677"/>
                </a:lnTo>
                <a:lnTo>
                  <a:pt x="804751" y="1464908"/>
                </a:lnTo>
                <a:lnTo>
                  <a:pt x="806337" y="1446139"/>
                </a:lnTo>
                <a:lnTo>
                  <a:pt x="807923" y="1426415"/>
                </a:lnTo>
                <a:lnTo>
                  <a:pt x="809193" y="1406374"/>
                </a:lnTo>
                <a:lnTo>
                  <a:pt x="810779" y="1385696"/>
                </a:lnTo>
                <a:lnTo>
                  <a:pt x="811731" y="1364382"/>
                </a:lnTo>
                <a:lnTo>
                  <a:pt x="812365" y="1343069"/>
                </a:lnTo>
                <a:lnTo>
                  <a:pt x="813000" y="1320800"/>
                </a:lnTo>
                <a:lnTo>
                  <a:pt x="840921" y="1322709"/>
                </a:lnTo>
                <a:lnTo>
                  <a:pt x="866621" y="1324300"/>
                </a:lnTo>
                <a:lnTo>
                  <a:pt x="909771" y="1327481"/>
                </a:lnTo>
                <a:lnTo>
                  <a:pt x="938644" y="1330026"/>
                </a:lnTo>
                <a:lnTo>
                  <a:pt x="948797" y="1330980"/>
                </a:lnTo>
                <a:lnTo>
                  <a:pt x="956729" y="1331298"/>
                </a:lnTo>
                <a:lnTo>
                  <a:pt x="964661" y="1331934"/>
                </a:lnTo>
                <a:lnTo>
                  <a:pt x="972593" y="1332889"/>
                </a:lnTo>
                <a:lnTo>
                  <a:pt x="980208" y="1334161"/>
                </a:lnTo>
                <a:lnTo>
                  <a:pt x="987823" y="1335752"/>
                </a:lnTo>
                <a:lnTo>
                  <a:pt x="995437" y="1337979"/>
                </a:lnTo>
                <a:lnTo>
                  <a:pt x="1002418" y="1340205"/>
                </a:lnTo>
                <a:lnTo>
                  <a:pt x="1009715" y="1343387"/>
                </a:lnTo>
                <a:lnTo>
                  <a:pt x="1016378" y="1346250"/>
                </a:lnTo>
                <a:lnTo>
                  <a:pt x="1023358" y="1349749"/>
                </a:lnTo>
                <a:lnTo>
                  <a:pt x="1030021" y="1353885"/>
                </a:lnTo>
                <a:lnTo>
                  <a:pt x="1036050" y="1357702"/>
                </a:lnTo>
                <a:lnTo>
                  <a:pt x="1042395" y="1361837"/>
                </a:lnTo>
                <a:lnTo>
                  <a:pt x="1048106" y="1366927"/>
                </a:lnTo>
                <a:lnTo>
                  <a:pt x="1053817" y="1371699"/>
                </a:lnTo>
                <a:lnTo>
                  <a:pt x="1059211" y="1377107"/>
                </a:lnTo>
                <a:lnTo>
                  <a:pt x="1064605" y="1382197"/>
                </a:lnTo>
                <a:lnTo>
                  <a:pt x="1069364" y="1388241"/>
                </a:lnTo>
                <a:lnTo>
                  <a:pt x="1073806" y="1393967"/>
                </a:lnTo>
                <a:lnTo>
                  <a:pt x="1078248" y="1400012"/>
                </a:lnTo>
                <a:lnTo>
                  <a:pt x="1082373" y="1406374"/>
                </a:lnTo>
                <a:lnTo>
                  <a:pt x="1085863" y="1413054"/>
                </a:lnTo>
                <a:lnTo>
                  <a:pt x="1089670" y="1419735"/>
                </a:lnTo>
                <a:lnTo>
                  <a:pt x="1092843" y="1426734"/>
                </a:lnTo>
                <a:lnTo>
                  <a:pt x="1095381" y="1433732"/>
                </a:lnTo>
                <a:lnTo>
                  <a:pt x="1097920" y="1441049"/>
                </a:lnTo>
                <a:lnTo>
                  <a:pt x="1100141" y="1448684"/>
                </a:lnTo>
                <a:lnTo>
                  <a:pt x="1101727" y="1456000"/>
                </a:lnTo>
                <a:lnTo>
                  <a:pt x="1103314" y="1463635"/>
                </a:lnTo>
                <a:lnTo>
                  <a:pt x="1104265" y="1471588"/>
                </a:lnTo>
                <a:lnTo>
                  <a:pt x="1104900" y="1479541"/>
                </a:lnTo>
                <a:lnTo>
                  <a:pt x="1104900" y="1487494"/>
                </a:lnTo>
                <a:lnTo>
                  <a:pt x="1104900" y="1686000"/>
                </a:lnTo>
                <a:lnTo>
                  <a:pt x="1104900" y="1690135"/>
                </a:lnTo>
                <a:lnTo>
                  <a:pt x="1104265" y="1693953"/>
                </a:lnTo>
                <a:lnTo>
                  <a:pt x="1103631" y="1697770"/>
                </a:lnTo>
                <a:lnTo>
                  <a:pt x="1102362" y="1701906"/>
                </a:lnTo>
                <a:lnTo>
                  <a:pt x="1101093" y="1705405"/>
                </a:lnTo>
                <a:lnTo>
                  <a:pt x="1099189" y="1709222"/>
                </a:lnTo>
                <a:lnTo>
                  <a:pt x="1096968" y="1713040"/>
                </a:lnTo>
                <a:lnTo>
                  <a:pt x="1094430" y="1716221"/>
                </a:lnTo>
                <a:lnTo>
                  <a:pt x="1091891" y="1719720"/>
                </a:lnTo>
                <a:lnTo>
                  <a:pt x="1089036" y="1722901"/>
                </a:lnTo>
                <a:lnTo>
                  <a:pt x="1085546" y="1726719"/>
                </a:lnTo>
                <a:lnTo>
                  <a:pt x="1082056" y="1729900"/>
                </a:lnTo>
                <a:lnTo>
                  <a:pt x="1078248" y="1732763"/>
                </a:lnTo>
                <a:lnTo>
                  <a:pt x="1074124" y="1736262"/>
                </a:lnTo>
                <a:lnTo>
                  <a:pt x="1069682" y="1739125"/>
                </a:lnTo>
                <a:lnTo>
                  <a:pt x="1065240" y="1741989"/>
                </a:lnTo>
                <a:lnTo>
                  <a:pt x="1055404" y="1748033"/>
                </a:lnTo>
                <a:lnTo>
                  <a:pt x="1044299" y="1753441"/>
                </a:lnTo>
                <a:lnTo>
                  <a:pt x="1032560" y="1758531"/>
                </a:lnTo>
                <a:lnTo>
                  <a:pt x="1019868" y="1763939"/>
                </a:lnTo>
                <a:lnTo>
                  <a:pt x="1005908" y="1768392"/>
                </a:lnTo>
                <a:lnTo>
                  <a:pt x="991630" y="1773164"/>
                </a:lnTo>
                <a:lnTo>
                  <a:pt x="976718" y="1777300"/>
                </a:lnTo>
                <a:lnTo>
                  <a:pt x="960854" y="1781117"/>
                </a:lnTo>
                <a:lnTo>
                  <a:pt x="944038" y="1784934"/>
                </a:lnTo>
                <a:lnTo>
                  <a:pt x="927222" y="1788434"/>
                </a:lnTo>
                <a:lnTo>
                  <a:pt x="909454" y="1791615"/>
                </a:lnTo>
                <a:lnTo>
                  <a:pt x="891369" y="1794796"/>
                </a:lnTo>
                <a:lnTo>
                  <a:pt x="872332" y="1797341"/>
                </a:lnTo>
                <a:lnTo>
                  <a:pt x="853295" y="1799886"/>
                </a:lnTo>
                <a:lnTo>
                  <a:pt x="833941" y="1801795"/>
                </a:lnTo>
                <a:lnTo>
                  <a:pt x="813952" y="1804022"/>
                </a:lnTo>
                <a:lnTo>
                  <a:pt x="793328" y="1805930"/>
                </a:lnTo>
                <a:lnTo>
                  <a:pt x="773022" y="1807203"/>
                </a:lnTo>
                <a:lnTo>
                  <a:pt x="752399" y="1808475"/>
                </a:lnTo>
                <a:lnTo>
                  <a:pt x="731458" y="1809748"/>
                </a:lnTo>
                <a:lnTo>
                  <a:pt x="710200" y="1810384"/>
                </a:lnTo>
                <a:lnTo>
                  <a:pt x="688942" y="1811020"/>
                </a:lnTo>
                <a:lnTo>
                  <a:pt x="667684" y="1811338"/>
                </a:lnTo>
                <a:lnTo>
                  <a:pt x="646427" y="1811338"/>
                </a:lnTo>
                <a:lnTo>
                  <a:pt x="625486" y="1811338"/>
                </a:lnTo>
                <a:lnTo>
                  <a:pt x="603911" y="1811020"/>
                </a:lnTo>
                <a:lnTo>
                  <a:pt x="582653" y="1810384"/>
                </a:lnTo>
                <a:lnTo>
                  <a:pt x="561395" y="1809748"/>
                </a:lnTo>
                <a:lnTo>
                  <a:pt x="540137" y="1808475"/>
                </a:lnTo>
                <a:lnTo>
                  <a:pt x="518879" y="1807203"/>
                </a:lnTo>
                <a:lnTo>
                  <a:pt x="498573" y="1805930"/>
                </a:lnTo>
                <a:lnTo>
                  <a:pt x="477632" y="1804022"/>
                </a:lnTo>
                <a:lnTo>
                  <a:pt x="457326" y="1801795"/>
                </a:lnTo>
                <a:lnTo>
                  <a:pt x="437337" y="1799886"/>
                </a:lnTo>
                <a:lnTo>
                  <a:pt x="417983" y="1797341"/>
                </a:lnTo>
                <a:lnTo>
                  <a:pt x="398629" y="1794796"/>
                </a:lnTo>
                <a:lnTo>
                  <a:pt x="379909" y="1791615"/>
                </a:lnTo>
                <a:lnTo>
                  <a:pt x="361824" y="1788434"/>
                </a:lnTo>
                <a:lnTo>
                  <a:pt x="344056" y="1784934"/>
                </a:lnTo>
                <a:lnTo>
                  <a:pt x="327240" y="1781117"/>
                </a:lnTo>
                <a:lnTo>
                  <a:pt x="310741" y="1777300"/>
                </a:lnTo>
                <a:lnTo>
                  <a:pt x="295195" y="1773164"/>
                </a:lnTo>
                <a:lnTo>
                  <a:pt x="280600" y="1768392"/>
                </a:lnTo>
                <a:lnTo>
                  <a:pt x="266322" y="1763939"/>
                </a:lnTo>
                <a:lnTo>
                  <a:pt x="252996" y="1758531"/>
                </a:lnTo>
                <a:lnTo>
                  <a:pt x="240622" y="1753441"/>
                </a:lnTo>
                <a:lnTo>
                  <a:pt x="229517" y="1748033"/>
                </a:lnTo>
                <a:lnTo>
                  <a:pt x="219047" y="1741989"/>
                </a:lnTo>
                <a:lnTo>
                  <a:pt x="214288" y="1739125"/>
                </a:lnTo>
                <a:lnTo>
                  <a:pt x="209846" y="1736262"/>
                </a:lnTo>
                <a:lnTo>
                  <a:pt x="205404" y="1732763"/>
                </a:lnTo>
                <a:lnTo>
                  <a:pt x="201596" y="1729900"/>
                </a:lnTo>
                <a:lnTo>
                  <a:pt x="198106" y="1726719"/>
                </a:lnTo>
                <a:lnTo>
                  <a:pt x="194299" y="1722901"/>
                </a:lnTo>
                <a:lnTo>
                  <a:pt x="191443" y="1719720"/>
                </a:lnTo>
                <a:lnTo>
                  <a:pt x="188588" y="1716221"/>
                </a:lnTo>
                <a:lnTo>
                  <a:pt x="186367" y="1713040"/>
                </a:lnTo>
                <a:lnTo>
                  <a:pt x="183828" y="1709222"/>
                </a:lnTo>
                <a:lnTo>
                  <a:pt x="181925" y="1705405"/>
                </a:lnTo>
                <a:lnTo>
                  <a:pt x="180338" y="1701906"/>
                </a:lnTo>
                <a:lnTo>
                  <a:pt x="179386" y="1697770"/>
                </a:lnTo>
                <a:lnTo>
                  <a:pt x="178435" y="1693953"/>
                </a:lnTo>
                <a:lnTo>
                  <a:pt x="177800" y="1690135"/>
                </a:lnTo>
                <a:lnTo>
                  <a:pt x="177800" y="1686000"/>
                </a:lnTo>
                <a:lnTo>
                  <a:pt x="177800" y="1487494"/>
                </a:lnTo>
                <a:lnTo>
                  <a:pt x="178117" y="1479541"/>
                </a:lnTo>
                <a:lnTo>
                  <a:pt x="178435" y="1471588"/>
                </a:lnTo>
                <a:lnTo>
                  <a:pt x="179386" y="1463635"/>
                </a:lnTo>
                <a:lnTo>
                  <a:pt x="180973" y="1456000"/>
                </a:lnTo>
                <a:lnTo>
                  <a:pt x="182559" y="1448684"/>
                </a:lnTo>
                <a:lnTo>
                  <a:pt x="184463" y="1441049"/>
                </a:lnTo>
                <a:lnTo>
                  <a:pt x="187318" y="1433732"/>
                </a:lnTo>
                <a:lnTo>
                  <a:pt x="190174" y="1426734"/>
                </a:lnTo>
                <a:lnTo>
                  <a:pt x="193030" y="1419735"/>
                </a:lnTo>
                <a:lnTo>
                  <a:pt x="196520" y="1413054"/>
                </a:lnTo>
                <a:lnTo>
                  <a:pt x="200327" y="1406374"/>
                </a:lnTo>
                <a:lnTo>
                  <a:pt x="204452" y="1400012"/>
                </a:lnTo>
                <a:lnTo>
                  <a:pt x="208576" y="1393967"/>
                </a:lnTo>
                <a:lnTo>
                  <a:pt x="213336" y="1388241"/>
                </a:lnTo>
                <a:lnTo>
                  <a:pt x="218095" y="1382197"/>
                </a:lnTo>
                <a:lnTo>
                  <a:pt x="223489" y="1377107"/>
                </a:lnTo>
                <a:lnTo>
                  <a:pt x="228883" y="1371699"/>
                </a:lnTo>
                <a:lnTo>
                  <a:pt x="234594" y="1366927"/>
                </a:lnTo>
                <a:lnTo>
                  <a:pt x="240305" y="1361837"/>
                </a:lnTo>
                <a:lnTo>
                  <a:pt x="246650" y="1357702"/>
                </a:lnTo>
                <a:lnTo>
                  <a:pt x="252679" y="1353885"/>
                </a:lnTo>
                <a:lnTo>
                  <a:pt x="259659" y="1349749"/>
                </a:lnTo>
                <a:lnTo>
                  <a:pt x="266005" y="1346250"/>
                </a:lnTo>
                <a:lnTo>
                  <a:pt x="272985" y="1343387"/>
                </a:lnTo>
                <a:lnTo>
                  <a:pt x="280282" y="1340205"/>
                </a:lnTo>
                <a:lnTo>
                  <a:pt x="287263" y="1337979"/>
                </a:lnTo>
                <a:lnTo>
                  <a:pt x="294877" y="1335752"/>
                </a:lnTo>
                <a:lnTo>
                  <a:pt x="302492" y="1334161"/>
                </a:lnTo>
                <a:lnTo>
                  <a:pt x="310107" y="1332889"/>
                </a:lnTo>
                <a:lnTo>
                  <a:pt x="318039" y="1331934"/>
                </a:lnTo>
                <a:lnTo>
                  <a:pt x="325971" y="1331298"/>
                </a:lnTo>
                <a:lnTo>
                  <a:pt x="333903" y="1330980"/>
                </a:lnTo>
                <a:lnTo>
                  <a:pt x="344056" y="1330026"/>
                </a:lnTo>
                <a:lnTo>
                  <a:pt x="372929" y="1327481"/>
                </a:lnTo>
                <a:lnTo>
                  <a:pt x="415762" y="1324300"/>
                </a:lnTo>
                <a:lnTo>
                  <a:pt x="441779" y="1322709"/>
                </a:lnTo>
                <a:lnTo>
                  <a:pt x="470017" y="1320800"/>
                </a:lnTo>
                <a:close/>
                <a:moveTo>
                  <a:pt x="1004887" y="995363"/>
                </a:moveTo>
                <a:lnTo>
                  <a:pt x="1176337" y="995363"/>
                </a:lnTo>
                <a:lnTo>
                  <a:pt x="1176337" y="1265238"/>
                </a:lnTo>
                <a:lnTo>
                  <a:pt x="1004887" y="1265238"/>
                </a:lnTo>
                <a:lnTo>
                  <a:pt x="1004887" y="995363"/>
                </a:lnTo>
                <a:close/>
                <a:moveTo>
                  <a:pt x="493561" y="847408"/>
                </a:moveTo>
                <a:lnTo>
                  <a:pt x="491024" y="847726"/>
                </a:lnTo>
                <a:lnTo>
                  <a:pt x="488804" y="848043"/>
                </a:lnTo>
                <a:lnTo>
                  <a:pt x="485950" y="848996"/>
                </a:lnTo>
                <a:lnTo>
                  <a:pt x="483730" y="849948"/>
                </a:lnTo>
                <a:lnTo>
                  <a:pt x="481510" y="851218"/>
                </a:lnTo>
                <a:lnTo>
                  <a:pt x="479290" y="852806"/>
                </a:lnTo>
                <a:lnTo>
                  <a:pt x="475167" y="856933"/>
                </a:lnTo>
                <a:lnTo>
                  <a:pt x="470727" y="861061"/>
                </a:lnTo>
                <a:lnTo>
                  <a:pt x="466604" y="865823"/>
                </a:lnTo>
                <a:lnTo>
                  <a:pt x="462482" y="871221"/>
                </a:lnTo>
                <a:lnTo>
                  <a:pt x="454553" y="882651"/>
                </a:lnTo>
                <a:lnTo>
                  <a:pt x="448527" y="890906"/>
                </a:lnTo>
                <a:lnTo>
                  <a:pt x="442819" y="899478"/>
                </a:lnTo>
                <a:lnTo>
                  <a:pt x="436793" y="908368"/>
                </a:lnTo>
                <a:lnTo>
                  <a:pt x="431402" y="917893"/>
                </a:lnTo>
                <a:lnTo>
                  <a:pt x="429499" y="926783"/>
                </a:lnTo>
                <a:lnTo>
                  <a:pt x="427596" y="935673"/>
                </a:lnTo>
                <a:lnTo>
                  <a:pt x="426010" y="945198"/>
                </a:lnTo>
                <a:lnTo>
                  <a:pt x="424742" y="954406"/>
                </a:lnTo>
                <a:lnTo>
                  <a:pt x="423790" y="963931"/>
                </a:lnTo>
                <a:lnTo>
                  <a:pt x="423156" y="973773"/>
                </a:lnTo>
                <a:lnTo>
                  <a:pt x="422839" y="982981"/>
                </a:lnTo>
                <a:lnTo>
                  <a:pt x="422839" y="992823"/>
                </a:lnTo>
                <a:lnTo>
                  <a:pt x="423156" y="1007111"/>
                </a:lnTo>
                <a:lnTo>
                  <a:pt x="424107" y="1020764"/>
                </a:lnTo>
                <a:lnTo>
                  <a:pt x="426010" y="1034099"/>
                </a:lnTo>
                <a:lnTo>
                  <a:pt x="428547" y="1047434"/>
                </a:lnTo>
                <a:lnTo>
                  <a:pt x="432036" y="1060769"/>
                </a:lnTo>
                <a:lnTo>
                  <a:pt x="435525" y="1073469"/>
                </a:lnTo>
                <a:lnTo>
                  <a:pt x="439965" y="1086169"/>
                </a:lnTo>
                <a:lnTo>
                  <a:pt x="445039" y="1098551"/>
                </a:lnTo>
                <a:lnTo>
                  <a:pt x="450430" y="1110934"/>
                </a:lnTo>
                <a:lnTo>
                  <a:pt x="456456" y="1122999"/>
                </a:lnTo>
                <a:lnTo>
                  <a:pt x="462799" y="1134429"/>
                </a:lnTo>
                <a:lnTo>
                  <a:pt x="469459" y="1145541"/>
                </a:lnTo>
                <a:lnTo>
                  <a:pt x="477070" y="1156019"/>
                </a:lnTo>
                <a:lnTo>
                  <a:pt x="484364" y="1166496"/>
                </a:lnTo>
                <a:lnTo>
                  <a:pt x="492293" y="1176656"/>
                </a:lnTo>
                <a:lnTo>
                  <a:pt x="500539" y="1186181"/>
                </a:lnTo>
                <a:lnTo>
                  <a:pt x="508784" y="1195389"/>
                </a:lnTo>
                <a:lnTo>
                  <a:pt x="517347" y="1204279"/>
                </a:lnTo>
                <a:lnTo>
                  <a:pt x="526227" y="1212216"/>
                </a:lnTo>
                <a:lnTo>
                  <a:pt x="535107" y="1220154"/>
                </a:lnTo>
                <a:lnTo>
                  <a:pt x="543987" y="1227456"/>
                </a:lnTo>
                <a:lnTo>
                  <a:pt x="553184" y="1234124"/>
                </a:lnTo>
                <a:lnTo>
                  <a:pt x="562381" y="1240474"/>
                </a:lnTo>
                <a:lnTo>
                  <a:pt x="571578" y="1245871"/>
                </a:lnTo>
                <a:lnTo>
                  <a:pt x="580775" y="1250951"/>
                </a:lnTo>
                <a:lnTo>
                  <a:pt x="589655" y="1255079"/>
                </a:lnTo>
                <a:lnTo>
                  <a:pt x="598853" y="1258889"/>
                </a:lnTo>
                <a:lnTo>
                  <a:pt x="607732" y="1262381"/>
                </a:lnTo>
                <a:lnTo>
                  <a:pt x="616612" y="1264604"/>
                </a:lnTo>
                <a:lnTo>
                  <a:pt x="624858" y="1266509"/>
                </a:lnTo>
                <a:lnTo>
                  <a:pt x="633421" y="1267461"/>
                </a:lnTo>
                <a:lnTo>
                  <a:pt x="641349" y="1267779"/>
                </a:lnTo>
                <a:lnTo>
                  <a:pt x="649595" y="1267461"/>
                </a:lnTo>
                <a:lnTo>
                  <a:pt x="657524" y="1266509"/>
                </a:lnTo>
                <a:lnTo>
                  <a:pt x="666404" y="1264604"/>
                </a:lnTo>
                <a:lnTo>
                  <a:pt x="674967" y="1262381"/>
                </a:lnTo>
                <a:lnTo>
                  <a:pt x="684164" y="1258889"/>
                </a:lnTo>
                <a:lnTo>
                  <a:pt x="692726" y="1255079"/>
                </a:lnTo>
                <a:lnTo>
                  <a:pt x="701924" y="1250951"/>
                </a:lnTo>
                <a:lnTo>
                  <a:pt x="711121" y="1245871"/>
                </a:lnTo>
                <a:lnTo>
                  <a:pt x="720318" y="1240474"/>
                </a:lnTo>
                <a:lnTo>
                  <a:pt x="729515" y="1234124"/>
                </a:lnTo>
                <a:lnTo>
                  <a:pt x="738395" y="1227456"/>
                </a:lnTo>
                <a:lnTo>
                  <a:pt x="747592" y="1220154"/>
                </a:lnTo>
                <a:lnTo>
                  <a:pt x="756472" y="1212216"/>
                </a:lnTo>
                <a:lnTo>
                  <a:pt x="765352" y="1204279"/>
                </a:lnTo>
                <a:lnTo>
                  <a:pt x="773915" y="1195389"/>
                </a:lnTo>
                <a:lnTo>
                  <a:pt x="782160" y="1186181"/>
                </a:lnTo>
                <a:lnTo>
                  <a:pt x="790406" y="1176656"/>
                </a:lnTo>
                <a:lnTo>
                  <a:pt x="798652" y="1166496"/>
                </a:lnTo>
                <a:lnTo>
                  <a:pt x="805946" y="1156019"/>
                </a:lnTo>
                <a:lnTo>
                  <a:pt x="813240" y="1145541"/>
                </a:lnTo>
                <a:lnTo>
                  <a:pt x="819900" y="1134429"/>
                </a:lnTo>
                <a:lnTo>
                  <a:pt x="826243" y="1122999"/>
                </a:lnTo>
                <a:lnTo>
                  <a:pt x="831952" y="1110934"/>
                </a:lnTo>
                <a:lnTo>
                  <a:pt x="837660" y="1098551"/>
                </a:lnTo>
                <a:lnTo>
                  <a:pt x="842417" y="1086169"/>
                </a:lnTo>
                <a:lnTo>
                  <a:pt x="847174" y="1073469"/>
                </a:lnTo>
                <a:lnTo>
                  <a:pt x="850980" y="1060769"/>
                </a:lnTo>
                <a:lnTo>
                  <a:pt x="853834" y="1047434"/>
                </a:lnTo>
                <a:lnTo>
                  <a:pt x="856689" y="1034099"/>
                </a:lnTo>
                <a:lnTo>
                  <a:pt x="858592" y="1020764"/>
                </a:lnTo>
                <a:lnTo>
                  <a:pt x="859543" y="1007111"/>
                </a:lnTo>
                <a:lnTo>
                  <a:pt x="860177" y="992823"/>
                </a:lnTo>
                <a:lnTo>
                  <a:pt x="859860" y="984886"/>
                </a:lnTo>
                <a:lnTo>
                  <a:pt x="859543" y="976313"/>
                </a:lnTo>
                <a:lnTo>
                  <a:pt x="837343" y="975361"/>
                </a:lnTo>
                <a:lnTo>
                  <a:pt x="814509" y="973773"/>
                </a:lnTo>
                <a:lnTo>
                  <a:pt x="791040" y="970916"/>
                </a:lnTo>
                <a:lnTo>
                  <a:pt x="767255" y="968058"/>
                </a:lnTo>
                <a:lnTo>
                  <a:pt x="743469" y="964566"/>
                </a:lnTo>
                <a:lnTo>
                  <a:pt x="719366" y="960438"/>
                </a:lnTo>
                <a:lnTo>
                  <a:pt x="695898" y="955041"/>
                </a:lnTo>
                <a:lnTo>
                  <a:pt x="684481" y="952501"/>
                </a:lnTo>
                <a:lnTo>
                  <a:pt x="673064" y="949643"/>
                </a:lnTo>
                <a:lnTo>
                  <a:pt x="661964" y="946468"/>
                </a:lnTo>
                <a:lnTo>
                  <a:pt x="651181" y="943293"/>
                </a:lnTo>
                <a:lnTo>
                  <a:pt x="640398" y="940118"/>
                </a:lnTo>
                <a:lnTo>
                  <a:pt x="629932" y="936308"/>
                </a:lnTo>
                <a:lnTo>
                  <a:pt x="620101" y="932816"/>
                </a:lnTo>
                <a:lnTo>
                  <a:pt x="610270" y="929006"/>
                </a:lnTo>
                <a:lnTo>
                  <a:pt x="601073" y="924878"/>
                </a:lnTo>
                <a:lnTo>
                  <a:pt x="592510" y="921068"/>
                </a:lnTo>
                <a:lnTo>
                  <a:pt x="583947" y="916941"/>
                </a:lnTo>
                <a:lnTo>
                  <a:pt x="576018" y="912178"/>
                </a:lnTo>
                <a:lnTo>
                  <a:pt x="568724" y="907733"/>
                </a:lnTo>
                <a:lnTo>
                  <a:pt x="561747" y="903288"/>
                </a:lnTo>
                <a:lnTo>
                  <a:pt x="555404" y="898208"/>
                </a:lnTo>
                <a:lnTo>
                  <a:pt x="550013" y="893128"/>
                </a:lnTo>
                <a:lnTo>
                  <a:pt x="544938" y="887731"/>
                </a:lnTo>
                <a:lnTo>
                  <a:pt x="540498" y="882651"/>
                </a:lnTo>
                <a:lnTo>
                  <a:pt x="536376" y="876936"/>
                </a:lnTo>
                <a:lnTo>
                  <a:pt x="532253" y="872173"/>
                </a:lnTo>
                <a:lnTo>
                  <a:pt x="528447" y="867728"/>
                </a:lnTo>
                <a:lnTo>
                  <a:pt x="524641" y="863601"/>
                </a:lnTo>
                <a:lnTo>
                  <a:pt x="520836" y="860426"/>
                </a:lnTo>
                <a:lnTo>
                  <a:pt x="517347" y="857251"/>
                </a:lnTo>
                <a:lnTo>
                  <a:pt x="514176" y="854393"/>
                </a:lnTo>
                <a:lnTo>
                  <a:pt x="511004" y="852488"/>
                </a:lnTo>
                <a:lnTo>
                  <a:pt x="507833" y="850583"/>
                </a:lnTo>
                <a:lnTo>
                  <a:pt x="504661" y="849313"/>
                </a:lnTo>
                <a:lnTo>
                  <a:pt x="501807" y="848361"/>
                </a:lnTo>
                <a:lnTo>
                  <a:pt x="499270" y="847726"/>
                </a:lnTo>
                <a:lnTo>
                  <a:pt x="496099" y="847408"/>
                </a:lnTo>
                <a:lnTo>
                  <a:pt x="493561" y="847408"/>
                </a:lnTo>
                <a:close/>
                <a:moveTo>
                  <a:pt x="1304925" y="828675"/>
                </a:moveTo>
                <a:lnTo>
                  <a:pt x="1476375" y="828675"/>
                </a:lnTo>
                <a:lnTo>
                  <a:pt x="1476375" y="1252538"/>
                </a:lnTo>
                <a:lnTo>
                  <a:pt x="1304925" y="1252538"/>
                </a:lnTo>
                <a:lnTo>
                  <a:pt x="1304925" y="828675"/>
                </a:lnTo>
                <a:close/>
                <a:moveTo>
                  <a:pt x="634055" y="655638"/>
                </a:moveTo>
                <a:lnTo>
                  <a:pt x="641349" y="655638"/>
                </a:lnTo>
                <a:lnTo>
                  <a:pt x="648644" y="655638"/>
                </a:lnTo>
                <a:lnTo>
                  <a:pt x="655938" y="655956"/>
                </a:lnTo>
                <a:lnTo>
                  <a:pt x="662915" y="656591"/>
                </a:lnTo>
                <a:lnTo>
                  <a:pt x="669892" y="657226"/>
                </a:lnTo>
                <a:lnTo>
                  <a:pt x="677187" y="658178"/>
                </a:lnTo>
                <a:lnTo>
                  <a:pt x="684164" y="659766"/>
                </a:lnTo>
                <a:lnTo>
                  <a:pt x="691141" y="661036"/>
                </a:lnTo>
                <a:lnTo>
                  <a:pt x="698118" y="662623"/>
                </a:lnTo>
                <a:lnTo>
                  <a:pt x="704778" y="664211"/>
                </a:lnTo>
                <a:lnTo>
                  <a:pt x="711438" y="666433"/>
                </a:lnTo>
                <a:lnTo>
                  <a:pt x="718415" y="668338"/>
                </a:lnTo>
                <a:lnTo>
                  <a:pt x="724758" y="670878"/>
                </a:lnTo>
                <a:lnTo>
                  <a:pt x="731418" y="673418"/>
                </a:lnTo>
                <a:lnTo>
                  <a:pt x="737761" y="676276"/>
                </a:lnTo>
                <a:lnTo>
                  <a:pt x="744421" y="679133"/>
                </a:lnTo>
                <a:lnTo>
                  <a:pt x="750446" y="682308"/>
                </a:lnTo>
                <a:lnTo>
                  <a:pt x="763132" y="688976"/>
                </a:lnTo>
                <a:lnTo>
                  <a:pt x="775500" y="696596"/>
                </a:lnTo>
                <a:lnTo>
                  <a:pt x="787235" y="704533"/>
                </a:lnTo>
                <a:lnTo>
                  <a:pt x="798652" y="713423"/>
                </a:lnTo>
                <a:lnTo>
                  <a:pt x="809435" y="722631"/>
                </a:lnTo>
                <a:lnTo>
                  <a:pt x="819900" y="732791"/>
                </a:lnTo>
                <a:lnTo>
                  <a:pt x="830049" y="743586"/>
                </a:lnTo>
                <a:lnTo>
                  <a:pt x="839880" y="754698"/>
                </a:lnTo>
                <a:lnTo>
                  <a:pt x="849394" y="766446"/>
                </a:lnTo>
                <a:lnTo>
                  <a:pt x="858274" y="778511"/>
                </a:lnTo>
                <a:lnTo>
                  <a:pt x="866520" y="791211"/>
                </a:lnTo>
                <a:lnTo>
                  <a:pt x="874449" y="804546"/>
                </a:lnTo>
                <a:lnTo>
                  <a:pt x="881743" y="818198"/>
                </a:lnTo>
                <a:lnTo>
                  <a:pt x="888403" y="832168"/>
                </a:lnTo>
                <a:lnTo>
                  <a:pt x="894746" y="847091"/>
                </a:lnTo>
                <a:lnTo>
                  <a:pt x="900137" y="861696"/>
                </a:lnTo>
                <a:lnTo>
                  <a:pt x="905529" y="876936"/>
                </a:lnTo>
                <a:lnTo>
                  <a:pt x="909651" y="892811"/>
                </a:lnTo>
                <a:lnTo>
                  <a:pt x="913457" y="908686"/>
                </a:lnTo>
                <a:lnTo>
                  <a:pt x="916946" y="924878"/>
                </a:lnTo>
                <a:lnTo>
                  <a:pt x="919166" y="941706"/>
                </a:lnTo>
                <a:lnTo>
                  <a:pt x="921068" y="958533"/>
                </a:lnTo>
                <a:lnTo>
                  <a:pt x="922020" y="975678"/>
                </a:lnTo>
                <a:lnTo>
                  <a:pt x="922337" y="992823"/>
                </a:lnTo>
                <a:lnTo>
                  <a:pt x="922337" y="1002031"/>
                </a:lnTo>
                <a:lnTo>
                  <a:pt x="922020" y="1010921"/>
                </a:lnTo>
                <a:lnTo>
                  <a:pt x="921386" y="1019811"/>
                </a:lnTo>
                <a:lnTo>
                  <a:pt x="920434" y="1028384"/>
                </a:lnTo>
                <a:lnTo>
                  <a:pt x="919483" y="1037274"/>
                </a:lnTo>
                <a:lnTo>
                  <a:pt x="918214" y="1045846"/>
                </a:lnTo>
                <a:lnTo>
                  <a:pt x="916628" y="1054419"/>
                </a:lnTo>
                <a:lnTo>
                  <a:pt x="915043" y="1062674"/>
                </a:lnTo>
                <a:lnTo>
                  <a:pt x="912823" y="1070929"/>
                </a:lnTo>
                <a:lnTo>
                  <a:pt x="910603" y="1079501"/>
                </a:lnTo>
                <a:lnTo>
                  <a:pt x="908383" y="1087756"/>
                </a:lnTo>
                <a:lnTo>
                  <a:pt x="906163" y="1095694"/>
                </a:lnTo>
                <a:lnTo>
                  <a:pt x="903309" y="1103631"/>
                </a:lnTo>
                <a:lnTo>
                  <a:pt x="900137" y="1111569"/>
                </a:lnTo>
                <a:lnTo>
                  <a:pt x="897283" y="1119189"/>
                </a:lnTo>
                <a:lnTo>
                  <a:pt x="894111" y="1126809"/>
                </a:lnTo>
                <a:lnTo>
                  <a:pt x="887134" y="1141731"/>
                </a:lnTo>
                <a:lnTo>
                  <a:pt x="879523" y="1156336"/>
                </a:lnTo>
                <a:lnTo>
                  <a:pt x="871277" y="1170624"/>
                </a:lnTo>
                <a:lnTo>
                  <a:pt x="862714" y="1184276"/>
                </a:lnTo>
                <a:lnTo>
                  <a:pt x="853517" y="1197611"/>
                </a:lnTo>
                <a:lnTo>
                  <a:pt x="843686" y="1209994"/>
                </a:lnTo>
                <a:lnTo>
                  <a:pt x="833854" y="1222376"/>
                </a:lnTo>
                <a:lnTo>
                  <a:pt x="823389" y="1233806"/>
                </a:lnTo>
                <a:lnTo>
                  <a:pt x="812606" y="1244919"/>
                </a:lnTo>
                <a:lnTo>
                  <a:pt x="801823" y="1255396"/>
                </a:lnTo>
                <a:lnTo>
                  <a:pt x="790406" y="1265239"/>
                </a:lnTo>
                <a:lnTo>
                  <a:pt x="778989" y="1274446"/>
                </a:lnTo>
                <a:lnTo>
                  <a:pt x="767255" y="1282701"/>
                </a:lnTo>
                <a:lnTo>
                  <a:pt x="755521" y="1290956"/>
                </a:lnTo>
                <a:lnTo>
                  <a:pt x="743786" y="1298259"/>
                </a:lnTo>
                <a:lnTo>
                  <a:pt x="732052" y="1304609"/>
                </a:lnTo>
                <a:lnTo>
                  <a:pt x="720318" y="1310641"/>
                </a:lnTo>
                <a:lnTo>
                  <a:pt x="708584" y="1315721"/>
                </a:lnTo>
                <a:lnTo>
                  <a:pt x="696849" y="1320166"/>
                </a:lnTo>
                <a:lnTo>
                  <a:pt x="685432" y="1323659"/>
                </a:lnTo>
                <a:lnTo>
                  <a:pt x="674015" y="1326516"/>
                </a:lnTo>
                <a:lnTo>
                  <a:pt x="662915" y="1328421"/>
                </a:lnTo>
                <a:lnTo>
                  <a:pt x="657207" y="1329374"/>
                </a:lnTo>
                <a:lnTo>
                  <a:pt x="652132" y="1329691"/>
                </a:lnTo>
                <a:lnTo>
                  <a:pt x="646424" y="1330009"/>
                </a:lnTo>
                <a:lnTo>
                  <a:pt x="641349" y="1330326"/>
                </a:lnTo>
                <a:lnTo>
                  <a:pt x="635958" y="1330009"/>
                </a:lnTo>
                <a:lnTo>
                  <a:pt x="630884" y="1329691"/>
                </a:lnTo>
                <a:lnTo>
                  <a:pt x="625492" y="1329374"/>
                </a:lnTo>
                <a:lnTo>
                  <a:pt x="620101" y="1328421"/>
                </a:lnTo>
                <a:lnTo>
                  <a:pt x="609001" y="1326516"/>
                </a:lnTo>
                <a:lnTo>
                  <a:pt x="597584" y="1323659"/>
                </a:lnTo>
                <a:lnTo>
                  <a:pt x="585850" y="1320166"/>
                </a:lnTo>
                <a:lnTo>
                  <a:pt x="574433" y="1315721"/>
                </a:lnTo>
                <a:lnTo>
                  <a:pt x="562698" y="1310641"/>
                </a:lnTo>
                <a:lnTo>
                  <a:pt x="550647" y="1304609"/>
                </a:lnTo>
                <a:lnTo>
                  <a:pt x="538913" y="1298259"/>
                </a:lnTo>
                <a:lnTo>
                  <a:pt x="527179" y="1290956"/>
                </a:lnTo>
                <a:lnTo>
                  <a:pt x="515444" y="1282701"/>
                </a:lnTo>
                <a:lnTo>
                  <a:pt x="503710" y="1274446"/>
                </a:lnTo>
                <a:lnTo>
                  <a:pt x="492293" y="1265239"/>
                </a:lnTo>
                <a:lnTo>
                  <a:pt x="481193" y="1255396"/>
                </a:lnTo>
                <a:lnTo>
                  <a:pt x="470093" y="1244919"/>
                </a:lnTo>
                <a:lnTo>
                  <a:pt x="459310" y="1233806"/>
                </a:lnTo>
                <a:lnTo>
                  <a:pt x="448845" y="1222376"/>
                </a:lnTo>
                <a:lnTo>
                  <a:pt x="438696" y="1209994"/>
                </a:lnTo>
                <a:lnTo>
                  <a:pt x="429499" y="1197611"/>
                </a:lnTo>
                <a:lnTo>
                  <a:pt x="419985" y="1184276"/>
                </a:lnTo>
                <a:lnTo>
                  <a:pt x="411422" y="1170624"/>
                </a:lnTo>
                <a:lnTo>
                  <a:pt x="403176" y="1156336"/>
                </a:lnTo>
                <a:lnTo>
                  <a:pt x="395565" y="1141731"/>
                </a:lnTo>
                <a:lnTo>
                  <a:pt x="388588" y="1126809"/>
                </a:lnTo>
                <a:lnTo>
                  <a:pt x="385416" y="1119189"/>
                </a:lnTo>
                <a:lnTo>
                  <a:pt x="382245" y="1111569"/>
                </a:lnTo>
                <a:lnTo>
                  <a:pt x="379390" y="1103631"/>
                </a:lnTo>
                <a:lnTo>
                  <a:pt x="376853" y="1095694"/>
                </a:lnTo>
                <a:lnTo>
                  <a:pt x="374316" y="1087756"/>
                </a:lnTo>
                <a:lnTo>
                  <a:pt x="372096" y="1079501"/>
                </a:lnTo>
                <a:lnTo>
                  <a:pt x="369559" y="1070929"/>
                </a:lnTo>
                <a:lnTo>
                  <a:pt x="367656" y="1062674"/>
                </a:lnTo>
                <a:lnTo>
                  <a:pt x="366071" y="1054419"/>
                </a:lnTo>
                <a:lnTo>
                  <a:pt x="364485" y="1045846"/>
                </a:lnTo>
                <a:lnTo>
                  <a:pt x="363216" y="1037274"/>
                </a:lnTo>
                <a:lnTo>
                  <a:pt x="362265" y="1028384"/>
                </a:lnTo>
                <a:lnTo>
                  <a:pt x="361313" y="1019811"/>
                </a:lnTo>
                <a:lnTo>
                  <a:pt x="360996" y="1010921"/>
                </a:lnTo>
                <a:lnTo>
                  <a:pt x="360362" y="1002031"/>
                </a:lnTo>
                <a:lnTo>
                  <a:pt x="360362" y="992823"/>
                </a:lnTo>
                <a:lnTo>
                  <a:pt x="360679" y="975678"/>
                </a:lnTo>
                <a:lnTo>
                  <a:pt x="361948" y="958533"/>
                </a:lnTo>
                <a:lnTo>
                  <a:pt x="363533" y="941706"/>
                </a:lnTo>
                <a:lnTo>
                  <a:pt x="366071" y="924878"/>
                </a:lnTo>
                <a:lnTo>
                  <a:pt x="368925" y="908686"/>
                </a:lnTo>
                <a:lnTo>
                  <a:pt x="373048" y="892811"/>
                </a:lnTo>
                <a:lnTo>
                  <a:pt x="377171" y="876936"/>
                </a:lnTo>
                <a:lnTo>
                  <a:pt x="382245" y="861696"/>
                </a:lnTo>
                <a:lnTo>
                  <a:pt x="387953" y="847091"/>
                </a:lnTo>
                <a:lnTo>
                  <a:pt x="393979" y="832168"/>
                </a:lnTo>
                <a:lnTo>
                  <a:pt x="400956" y="818198"/>
                </a:lnTo>
                <a:lnTo>
                  <a:pt x="408568" y="804546"/>
                </a:lnTo>
                <a:lnTo>
                  <a:pt x="416179" y="791211"/>
                </a:lnTo>
                <a:lnTo>
                  <a:pt x="424425" y="778511"/>
                </a:lnTo>
                <a:lnTo>
                  <a:pt x="433305" y="766446"/>
                </a:lnTo>
                <a:lnTo>
                  <a:pt x="442819" y="754698"/>
                </a:lnTo>
                <a:lnTo>
                  <a:pt x="452650" y="743586"/>
                </a:lnTo>
                <a:lnTo>
                  <a:pt x="462482" y="732791"/>
                </a:lnTo>
                <a:lnTo>
                  <a:pt x="473264" y="722631"/>
                </a:lnTo>
                <a:lnTo>
                  <a:pt x="484047" y="713423"/>
                </a:lnTo>
                <a:lnTo>
                  <a:pt x="495464" y="704533"/>
                </a:lnTo>
                <a:lnTo>
                  <a:pt x="507516" y="696596"/>
                </a:lnTo>
                <a:lnTo>
                  <a:pt x="519567" y="688976"/>
                </a:lnTo>
                <a:lnTo>
                  <a:pt x="531936" y="682308"/>
                </a:lnTo>
                <a:lnTo>
                  <a:pt x="538278" y="679133"/>
                </a:lnTo>
                <a:lnTo>
                  <a:pt x="544938" y="676276"/>
                </a:lnTo>
                <a:lnTo>
                  <a:pt x="551281" y="673418"/>
                </a:lnTo>
                <a:lnTo>
                  <a:pt x="557941" y="670878"/>
                </a:lnTo>
                <a:lnTo>
                  <a:pt x="564284" y="668338"/>
                </a:lnTo>
                <a:lnTo>
                  <a:pt x="571261" y="666433"/>
                </a:lnTo>
                <a:lnTo>
                  <a:pt x="577921" y="664211"/>
                </a:lnTo>
                <a:lnTo>
                  <a:pt x="584898" y="662623"/>
                </a:lnTo>
                <a:lnTo>
                  <a:pt x="591875" y="661036"/>
                </a:lnTo>
                <a:lnTo>
                  <a:pt x="598535" y="659766"/>
                </a:lnTo>
                <a:lnTo>
                  <a:pt x="605830" y="658178"/>
                </a:lnTo>
                <a:lnTo>
                  <a:pt x="612490" y="657226"/>
                </a:lnTo>
                <a:lnTo>
                  <a:pt x="619784" y="656591"/>
                </a:lnTo>
                <a:lnTo>
                  <a:pt x="627078" y="655956"/>
                </a:lnTo>
                <a:lnTo>
                  <a:pt x="634055" y="655638"/>
                </a:lnTo>
                <a:close/>
                <a:moveTo>
                  <a:pt x="1604962" y="463550"/>
                </a:moveTo>
                <a:lnTo>
                  <a:pt x="1776412" y="463550"/>
                </a:lnTo>
                <a:lnTo>
                  <a:pt x="1776412" y="1252538"/>
                </a:lnTo>
                <a:lnTo>
                  <a:pt x="1604962" y="1252538"/>
                </a:lnTo>
                <a:lnTo>
                  <a:pt x="1604962" y="463550"/>
                </a:lnTo>
                <a:close/>
                <a:moveTo>
                  <a:pt x="0" y="0"/>
                </a:moveTo>
                <a:lnTo>
                  <a:pt x="2125663" y="0"/>
                </a:lnTo>
                <a:lnTo>
                  <a:pt x="2125663" y="171553"/>
                </a:lnTo>
                <a:lnTo>
                  <a:pt x="2039621" y="171553"/>
                </a:lnTo>
                <a:lnTo>
                  <a:pt x="2039621" y="1577975"/>
                </a:lnTo>
                <a:lnTo>
                  <a:pt x="1252220" y="1577975"/>
                </a:lnTo>
                <a:lnTo>
                  <a:pt x="1252220" y="1449310"/>
                </a:lnTo>
                <a:lnTo>
                  <a:pt x="1911033" y="1449310"/>
                </a:lnTo>
                <a:lnTo>
                  <a:pt x="1911033" y="171553"/>
                </a:lnTo>
                <a:lnTo>
                  <a:pt x="195263" y="171553"/>
                </a:lnTo>
                <a:lnTo>
                  <a:pt x="195263" y="1249164"/>
                </a:lnTo>
                <a:lnTo>
                  <a:pt x="66675" y="1249164"/>
                </a:lnTo>
                <a:lnTo>
                  <a:pt x="66675" y="171553"/>
                </a:lnTo>
                <a:lnTo>
                  <a:pt x="0" y="17155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sp>
        <p:nvSpPr>
          <p:cNvPr id="94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66" grpId="0"/>
      <p:bldP spid="74" grpId="0" bldLvl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E:/工作文件/PPT/20231221/园区及周边俯视图20231219 缝合/修.jpg修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/>
          <a:srcRect l="3435" r="3435"/>
          <a:stretch>
            <a:fillRect/>
          </a:stretch>
        </p:blipFill>
        <p:spPr>
          <a:xfrm>
            <a:off x="0" y="512445"/>
            <a:ext cx="12196445" cy="6321425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入园企业情况</a:t>
            </a:r>
            <a:endParaRPr lang="zh-CN" altLang="en-US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标题 4"/>
          <p:cNvSpPr txBox="1"/>
          <p:nvPr/>
        </p:nvSpPr>
        <p:spPr>
          <a:xfrm>
            <a:off x="48915" y="1598200"/>
            <a:ext cx="1224135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zh-CN" altLang="en-US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0" y="1598295"/>
            <a:ext cx="12248515" cy="4114165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</p:spPr>
        <p:txBody>
          <a:bodyPr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入园企业：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60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余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家</a:t>
            </a:r>
            <a:endParaRPr lang="zh-CN" altLang="en-US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lnSpc>
                <a:spcPct val="15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方员工：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近1000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人</a:t>
            </a:r>
            <a:endParaRPr lang="zh-CN" altLang="en-US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lnSpc>
                <a:spcPct val="15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直接雇佣当地工人：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00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余人，</a:t>
            </a:r>
            <a:r>
              <a:rPr lang="zh-CN" altLang="en-US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间接创造就业岗位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</a:t>
            </a: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30000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余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个</a:t>
            </a:r>
            <a:endParaRPr lang="zh-CN" altLang="en-US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lnSpc>
                <a:spcPct val="15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产业类型：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建材、金属加工、陶瓷、电器、塑料用品、日用品、印刷包装、食品、纺织、家居用品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</a:t>
            </a:r>
            <a:endParaRPr lang="zh-CN" altLang="en-US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lnSpc>
                <a:spcPct val="15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每年带动国内出口额：近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亿元</a:t>
            </a:r>
            <a:endParaRPr lang="zh-CN" altLang="en-US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: 圆角 5"/>
          <p:cNvSpPr/>
          <p:nvPr>
            <p:custDataLst>
              <p:tags r:id="rId1"/>
            </p:custDataLst>
          </p:nvPr>
        </p:nvSpPr>
        <p:spPr>
          <a:xfrm>
            <a:off x="-2540000" y="4307050"/>
            <a:ext cx="13323186" cy="1971513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入园企业</a:t>
            </a:r>
            <a:endParaRPr lang="zh-CN" altLang="en-US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1185333" y="1626689"/>
            <a:ext cx="12723172" cy="1940404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248510" y="1846605"/>
            <a:ext cx="4047253" cy="1335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拥有五条瓷砖生产线，目前尼日利亚乃至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非洲最大的陶瓷生产企业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，瓷砖日产量超过</a:t>
            </a:r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300,000M</a:t>
            </a:r>
            <a:r>
              <a:rPr lang="en-US" altLang="zh-CN" baseline="30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2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。</a:t>
            </a:r>
            <a:endParaRPr lang="zh-CN" alt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sym typeface="微软雅黑 Light" panose="020B0502040204020203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46044" y="4563500"/>
            <a:ext cx="4121593" cy="1335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中国玻璃是国营企业，是目前尼日利亚乃至西非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规模最大的玻璃生产厂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，使用浮法玻璃工艺，日产平板玻璃</a:t>
            </a:r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500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吨。</a:t>
            </a:r>
            <a:endParaRPr lang="zh-CN" alt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14" name="表格 14"/>
          <p:cNvGraphicFramePr>
            <a:graphicFrameLocks noGrp="1"/>
          </p:cNvGraphicFramePr>
          <p:nvPr/>
        </p:nvGraphicFramePr>
        <p:xfrm>
          <a:off x="4207431" y="1751138"/>
          <a:ext cx="302209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1049"/>
                <a:gridCol w="1511049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 1.5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亿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9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亩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11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" r="-16"/>
          <a:stretch>
            <a:fillRect/>
          </a:stretch>
        </p:blipFill>
        <p:spPr>
          <a:xfrm>
            <a:off x="1185333" y="1210881"/>
            <a:ext cx="3022098" cy="20159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0" b="8060"/>
          <a:stretch>
            <a:fillRect/>
          </a:stretch>
        </p:blipFill>
        <p:spPr>
          <a:xfrm>
            <a:off x="7761088" y="3934102"/>
            <a:ext cx="3022098" cy="18992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19" name="表格 14"/>
          <p:cNvGraphicFramePr>
            <a:graphicFrameLocks noGrp="1"/>
          </p:cNvGraphicFramePr>
          <p:nvPr/>
        </p:nvGraphicFramePr>
        <p:xfrm>
          <a:off x="4543251" y="4446586"/>
          <a:ext cx="276876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4384"/>
                <a:gridCol w="1384384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 1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亿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42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亩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14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18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sp>
        <p:nvSpPr>
          <p:cNvPr id="20" name="文本框 19"/>
          <p:cNvSpPr txBox="1"/>
          <p:nvPr/>
        </p:nvSpPr>
        <p:spPr>
          <a:xfrm>
            <a:off x="4588932" y="1065985"/>
            <a:ext cx="35306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旺康陶瓷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488267" y="3800974"/>
            <a:ext cx="4121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中玻尼日利亚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0" name="矩形 1"/>
          <p:cNvSpPr/>
          <p:nvPr/>
        </p:nvSpPr>
        <p:spPr>
          <a:xfrm>
            <a:off x="-1" y="2204864"/>
            <a:ext cx="1717289" cy="2098281"/>
          </a:xfrm>
          <a:custGeom>
            <a:avLst/>
            <a:gdLst>
              <a:gd name="connsiteX0" fmla="*/ 0 w 1705100"/>
              <a:gd name="connsiteY0" fmla="*/ 0 h 2088232"/>
              <a:gd name="connsiteX1" fmla="*/ 1705100 w 1705100"/>
              <a:gd name="connsiteY1" fmla="*/ 0 h 2088232"/>
              <a:gd name="connsiteX2" fmla="*/ 1705100 w 1705100"/>
              <a:gd name="connsiteY2" fmla="*/ 2088232 h 2088232"/>
              <a:gd name="connsiteX3" fmla="*/ 0 w 1705100"/>
              <a:gd name="connsiteY3" fmla="*/ 2088232 h 2088232"/>
              <a:gd name="connsiteX4" fmla="*/ 0 w 1705100"/>
              <a:gd name="connsiteY4" fmla="*/ 0 h 2088232"/>
              <a:gd name="connsiteX0-1" fmla="*/ 0 w 1705100"/>
              <a:gd name="connsiteY0-2" fmla="*/ 0 h 2088232"/>
              <a:gd name="connsiteX1-3" fmla="*/ 1705100 w 1705100"/>
              <a:gd name="connsiteY1-4" fmla="*/ 0 h 2088232"/>
              <a:gd name="connsiteX2-5" fmla="*/ 922602 w 1705100"/>
              <a:gd name="connsiteY2-6" fmla="*/ 1013988 h 2088232"/>
              <a:gd name="connsiteX3-7" fmla="*/ 1705100 w 1705100"/>
              <a:gd name="connsiteY3-8" fmla="*/ 2088232 h 2088232"/>
              <a:gd name="connsiteX4-9" fmla="*/ 0 w 1705100"/>
              <a:gd name="connsiteY4-10" fmla="*/ 2088232 h 2088232"/>
              <a:gd name="connsiteX5" fmla="*/ 0 w 1705100"/>
              <a:gd name="connsiteY5" fmla="*/ 0 h 2088232"/>
              <a:gd name="connsiteX0-11" fmla="*/ 0 w 1705100"/>
              <a:gd name="connsiteY0-12" fmla="*/ 0 h 2088232"/>
              <a:gd name="connsiteX1-13" fmla="*/ 1705100 w 1705100"/>
              <a:gd name="connsiteY1-14" fmla="*/ 0 h 2088232"/>
              <a:gd name="connsiteX2-15" fmla="*/ 1090721 w 1705100"/>
              <a:gd name="connsiteY2-16" fmla="*/ 1075495 h 2088232"/>
              <a:gd name="connsiteX3-17" fmla="*/ 1705100 w 1705100"/>
              <a:gd name="connsiteY3-18" fmla="*/ 2088232 h 2088232"/>
              <a:gd name="connsiteX4-19" fmla="*/ 0 w 1705100"/>
              <a:gd name="connsiteY4-20" fmla="*/ 2088232 h 2088232"/>
              <a:gd name="connsiteX5-21" fmla="*/ 0 w 1705100"/>
              <a:gd name="connsiteY5-22" fmla="*/ 0 h 2088232"/>
              <a:gd name="connsiteX0-23" fmla="*/ 0 w 1705100"/>
              <a:gd name="connsiteY0-24" fmla="*/ 0 h 2088232"/>
              <a:gd name="connsiteX1-25" fmla="*/ 1705100 w 1705100"/>
              <a:gd name="connsiteY1-26" fmla="*/ 0 h 2088232"/>
              <a:gd name="connsiteX2-27" fmla="*/ 1090721 w 1705100"/>
              <a:gd name="connsiteY2-28" fmla="*/ 1075495 h 2088232"/>
              <a:gd name="connsiteX3-29" fmla="*/ 1705100 w 1705100"/>
              <a:gd name="connsiteY3-30" fmla="*/ 2088232 h 2088232"/>
              <a:gd name="connsiteX4-31" fmla="*/ 0 w 1705100"/>
              <a:gd name="connsiteY4-32" fmla="*/ 2088232 h 2088232"/>
              <a:gd name="connsiteX5-33" fmla="*/ 0 w 1705100"/>
              <a:gd name="connsiteY5-34" fmla="*/ 0 h 2088232"/>
              <a:gd name="connsiteX0-35" fmla="*/ 0 w 1705100"/>
              <a:gd name="connsiteY0-36" fmla="*/ 0 h 2088232"/>
              <a:gd name="connsiteX1-37" fmla="*/ 1705100 w 1705100"/>
              <a:gd name="connsiteY1-38" fmla="*/ 0 h 2088232"/>
              <a:gd name="connsiteX2-39" fmla="*/ 1090721 w 1705100"/>
              <a:gd name="connsiteY2-40" fmla="*/ 1075495 h 2088232"/>
              <a:gd name="connsiteX3-41" fmla="*/ 1705100 w 1705100"/>
              <a:gd name="connsiteY3-42" fmla="*/ 2088232 h 2088232"/>
              <a:gd name="connsiteX4-43" fmla="*/ 0 w 1705100"/>
              <a:gd name="connsiteY4-44" fmla="*/ 2088232 h 2088232"/>
              <a:gd name="connsiteX5-45" fmla="*/ 0 w 1705100"/>
              <a:gd name="connsiteY5-46" fmla="*/ 0 h 2088232"/>
              <a:gd name="connsiteX0-47" fmla="*/ 0 w 1705100"/>
              <a:gd name="connsiteY0-48" fmla="*/ 0 h 2088232"/>
              <a:gd name="connsiteX1-49" fmla="*/ 1705100 w 1705100"/>
              <a:gd name="connsiteY1-50" fmla="*/ 0 h 2088232"/>
              <a:gd name="connsiteX2-51" fmla="*/ 1090721 w 1705100"/>
              <a:gd name="connsiteY2-52" fmla="*/ 1075495 h 2088232"/>
              <a:gd name="connsiteX3-53" fmla="*/ 1705100 w 1705100"/>
              <a:gd name="connsiteY3-54" fmla="*/ 2088232 h 2088232"/>
              <a:gd name="connsiteX4-55" fmla="*/ 0 w 1705100"/>
              <a:gd name="connsiteY4-56" fmla="*/ 2088232 h 2088232"/>
              <a:gd name="connsiteX5-57" fmla="*/ 0 w 1705100"/>
              <a:gd name="connsiteY5-58" fmla="*/ 0 h 2088232"/>
              <a:gd name="connsiteX0-59" fmla="*/ 0 w 1705100"/>
              <a:gd name="connsiteY0-60" fmla="*/ 0 h 2088232"/>
              <a:gd name="connsiteX1-61" fmla="*/ 1705100 w 1705100"/>
              <a:gd name="connsiteY1-62" fmla="*/ 0 h 2088232"/>
              <a:gd name="connsiteX2-63" fmla="*/ 1090721 w 1705100"/>
              <a:gd name="connsiteY2-64" fmla="*/ 1075495 h 2088232"/>
              <a:gd name="connsiteX3-65" fmla="*/ 1705100 w 1705100"/>
              <a:gd name="connsiteY3-66" fmla="*/ 2088232 h 2088232"/>
              <a:gd name="connsiteX4-67" fmla="*/ 0 w 1705100"/>
              <a:gd name="connsiteY4-68" fmla="*/ 2088232 h 2088232"/>
              <a:gd name="connsiteX5-69" fmla="*/ 0 w 1705100"/>
              <a:gd name="connsiteY5-70" fmla="*/ 0 h 2088232"/>
              <a:gd name="connsiteX0-71" fmla="*/ 0 w 1705100"/>
              <a:gd name="connsiteY0-72" fmla="*/ 0 h 2088232"/>
              <a:gd name="connsiteX1-73" fmla="*/ 1705100 w 1705100"/>
              <a:gd name="connsiteY1-74" fmla="*/ 0 h 2088232"/>
              <a:gd name="connsiteX2-75" fmla="*/ 1090721 w 1705100"/>
              <a:gd name="connsiteY2-76" fmla="*/ 1075495 h 2088232"/>
              <a:gd name="connsiteX3-77" fmla="*/ 1705100 w 1705100"/>
              <a:gd name="connsiteY3-78" fmla="*/ 2088232 h 2088232"/>
              <a:gd name="connsiteX4-79" fmla="*/ 0 w 1705100"/>
              <a:gd name="connsiteY4-80" fmla="*/ 2088232 h 2088232"/>
              <a:gd name="connsiteX5-81" fmla="*/ 0 w 1705100"/>
              <a:gd name="connsiteY5-82" fmla="*/ 0 h 2088232"/>
              <a:gd name="connsiteX0-83" fmla="*/ 0 w 1705100"/>
              <a:gd name="connsiteY0-84" fmla="*/ 0 h 2088232"/>
              <a:gd name="connsiteX1-85" fmla="*/ 1705100 w 1705100"/>
              <a:gd name="connsiteY1-86" fmla="*/ 0 h 2088232"/>
              <a:gd name="connsiteX2-87" fmla="*/ 1090721 w 1705100"/>
              <a:gd name="connsiteY2-88" fmla="*/ 1075495 h 2088232"/>
              <a:gd name="connsiteX3-89" fmla="*/ 1705100 w 1705100"/>
              <a:gd name="connsiteY3-90" fmla="*/ 2088232 h 2088232"/>
              <a:gd name="connsiteX4-91" fmla="*/ 0 w 1705100"/>
              <a:gd name="connsiteY4-92" fmla="*/ 2088232 h 2088232"/>
              <a:gd name="connsiteX5-93" fmla="*/ 0 w 1705100"/>
              <a:gd name="connsiteY5-94" fmla="*/ 0 h 2088232"/>
              <a:gd name="connsiteX0-95" fmla="*/ 0 w 1705100"/>
              <a:gd name="connsiteY0-96" fmla="*/ 0 h 2088232"/>
              <a:gd name="connsiteX1-97" fmla="*/ 1705100 w 1705100"/>
              <a:gd name="connsiteY1-98" fmla="*/ 0 h 2088232"/>
              <a:gd name="connsiteX2-99" fmla="*/ 1090721 w 1705100"/>
              <a:gd name="connsiteY2-100" fmla="*/ 1075495 h 2088232"/>
              <a:gd name="connsiteX3-101" fmla="*/ 1705100 w 1705100"/>
              <a:gd name="connsiteY3-102" fmla="*/ 2088232 h 2088232"/>
              <a:gd name="connsiteX4-103" fmla="*/ 0 w 1705100"/>
              <a:gd name="connsiteY4-104" fmla="*/ 2088232 h 2088232"/>
              <a:gd name="connsiteX5-105" fmla="*/ 0 w 1705100"/>
              <a:gd name="connsiteY5-106" fmla="*/ 0 h 2088232"/>
              <a:gd name="connsiteX0-107" fmla="*/ 0 w 1705100"/>
              <a:gd name="connsiteY0-108" fmla="*/ 0 h 2088232"/>
              <a:gd name="connsiteX1-109" fmla="*/ 1705100 w 1705100"/>
              <a:gd name="connsiteY1-110" fmla="*/ 0 h 2088232"/>
              <a:gd name="connsiteX2-111" fmla="*/ 1705100 w 1705100"/>
              <a:gd name="connsiteY2-112" fmla="*/ 2088232 h 2088232"/>
              <a:gd name="connsiteX3-113" fmla="*/ 0 w 1705100"/>
              <a:gd name="connsiteY3-114" fmla="*/ 2088232 h 2088232"/>
              <a:gd name="connsiteX4-115" fmla="*/ 0 w 1705100"/>
              <a:gd name="connsiteY4-116" fmla="*/ 0 h 2088232"/>
              <a:gd name="connsiteX0-117" fmla="*/ 0 w 1739059"/>
              <a:gd name="connsiteY0-118" fmla="*/ 0 h 2088232"/>
              <a:gd name="connsiteX1-119" fmla="*/ 1705100 w 1739059"/>
              <a:gd name="connsiteY1-120" fmla="*/ 0 h 2088232"/>
              <a:gd name="connsiteX2-121" fmla="*/ 1705100 w 1739059"/>
              <a:gd name="connsiteY2-122" fmla="*/ 2088232 h 2088232"/>
              <a:gd name="connsiteX3-123" fmla="*/ 0 w 1739059"/>
              <a:gd name="connsiteY3-124" fmla="*/ 2088232 h 2088232"/>
              <a:gd name="connsiteX4-125" fmla="*/ 0 w 1739059"/>
              <a:gd name="connsiteY4-126" fmla="*/ 0 h 2088232"/>
              <a:gd name="connsiteX0-127" fmla="*/ 0 w 1705100"/>
              <a:gd name="connsiteY0-128" fmla="*/ 0 h 2088232"/>
              <a:gd name="connsiteX1-129" fmla="*/ 1705100 w 1705100"/>
              <a:gd name="connsiteY1-130" fmla="*/ 0 h 2088232"/>
              <a:gd name="connsiteX2-131" fmla="*/ 1705100 w 1705100"/>
              <a:gd name="connsiteY2-132" fmla="*/ 2088232 h 2088232"/>
              <a:gd name="connsiteX3-133" fmla="*/ 0 w 1705100"/>
              <a:gd name="connsiteY3-134" fmla="*/ 2088232 h 2088232"/>
              <a:gd name="connsiteX4-135" fmla="*/ 0 w 1705100"/>
              <a:gd name="connsiteY4-136" fmla="*/ 0 h 2088232"/>
              <a:gd name="connsiteX0-137" fmla="*/ 0 w 1705100"/>
              <a:gd name="connsiteY0-138" fmla="*/ 0 h 2088232"/>
              <a:gd name="connsiteX1-139" fmla="*/ 1705100 w 1705100"/>
              <a:gd name="connsiteY1-140" fmla="*/ 0 h 2088232"/>
              <a:gd name="connsiteX2-141" fmla="*/ 1705100 w 1705100"/>
              <a:gd name="connsiteY2-142" fmla="*/ 2088232 h 2088232"/>
              <a:gd name="connsiteX3-143" fmla="*/ 0 w 1705100"/>
              <a:gd name="connsiteY3-144" fmla="*/ 2088232 h 2088232"/>
              <a:gd name="connsiteX4-145" fmla="*/ 0 w 1705100"/>
              <a:gd name="connsiteY4-146" fmla="*/ 0 h 2088232"/>
              <a:gd name="connsiteX0-147" fmla="*/ 0 w 1705100"/>
              <a:gd name="connsiteY0-148" fmla="*/ 0 h 2088232"/>
              <a:gd name="connsiteX1-149" fmla="*/ 1705100 w 1705100"/>
              <a:gd name="connsiteY1-150" fmla="*/ 0 h 2088232"/>
              <a:gd name="connsiteX2-151" fmla="*/ 1705100 w 1705100"/>
              <a:gd name="connsiteY2-152" fmla="*/ 2088232 h 2088232"/>
              <a:gd name="connsiteX3-153" fmla="*/ 0 w 1705100"/>
              <a:gd name="connsiteY3-154" fmla="*/ 2088232 h 2088232"/>
              <a:gd name="connsiteX4-155" fmla="*/ 0 w 1705100"/>
              <a:gd name="connsiteY4-156" fmla="*/ 0 h 2088232"/>
              <a:gd name="connsiteX0-157" fmla="*/ 0 w 1746105"/>
              <a:gd name="connsiteY0-158" fmla="*/ 0 h 2088232"/>
              <a:gd name="connsiteX1-159" fmla="*/ 1746105 w 1746105"/>
              <a:gd name="connsiteY1-160" fmla="*/ 0 h 2088232"/>
              <a:gd name="connsiteX2-161" fmla="*/ 1705100 w 1746105"/>
              <a:gd name="connsiteY2-162" fmla="*/ 2088232 h 2088232"/>
              <a:gd name="connsiteX3-163" fmla="*/ 0 w 1746105"/>
              <a:gd name="connsiteY3-164" fmla="*/ 2088232 h 2088232"/>
              <a:gd name="connsiteX4-165" fmla="*/ 0 w 1746105"/>
              <a:gd name="connsiteY4-166" fmla="*/ 0 h 2088232"/>
              <a:gd name="connsiteX0-167" fmla="*/ 0 w 1746105"/>
              <a:gd name="connsiteY0-168" fmla="*/ 0 h 2088232"/>
              <a:gd name="connsiteX1-169" fmla="*/ 1746105 w 1746105"/>
              <a:gd name="connsiteY1-170" fmla="*/ 0 h 2088232"/>
              <a:gd name="connsiteX2-171" fmla="*/ 1705100 w 1746105"/>
              <a:gd name="connsiteY2-172" fmla="*/ 2088232 h 2088232"/>
              <a:gd name="connsiteX3-173" fmla="*/ 0 w 1746105"/>
              <a:gd name="connsiteY3-174" fmla="*/ 2088232 h 2088232"/>
              <a:gd name="connsiteX4-175" fmla="*/ 0 w 1746105"/>
              <a:gd name="connsiteY4-176" fmla="*/ 0 h 2088232"/>
              <a:gd name="connsiteX0-177" fmla="*/ 0 w 1746105"/>
              <a:gd name="connsiteY0-178" fmla="*/ 0 h 2088232"/>
              <a:gd name="connsiteX1-179" fmla="*/ 1746105 w 1746105"/>
              <a:gd name="connsiteY1-180" fmla="*/ 0 h 2088232"/>
              <a:gd name="connsiteX2-181" fmla="*/ 1705100 w 1746105"/>
              <a:gd name="connsiteY2-182" fmla="*/ 2088232 h 2088232"/>
              <a:gd name="connsiteX3-183" fmla="*/ 0 w 1746105"/>
              <a:gd name="connsiteY3-184" fmla="*/ 2088232 h 2088232"/>
              <a:gd name="connsiteX4-185" fmla="*/ 0 w 1746105"/>
              <a:gd name="connsiteY4-186" fmla="*/ 0 h 2088232"/>
              <a:gd name="connsiteX0-187" fmla="*/ 0 w 1762506"/>
              <a:gd name="connsiteY0-188" fmla="*/ 0 h 2088232"/>
              <a:gd name="connsiteX1-189" fmla="*/ 1746105 w 1762506"/>
              <a:gd name="connsiteY1-190" fmla="*/ 0 h 2088232"/>
              <a:gd name="connsiteX2-191" fmla="*/ 1762506 w 1762506"/>
              <a:gd name="connsiteY2-192" fmla="*/ 2088232 h 2088232"/>
              <a:gd name="connsiteX3-193" fmla="*/ 0 w 1762506"/>
              <a:gd name="connsiteY3-194" fmla="*/ 2088232 h 2088232"/>
              <a:gd name="connsiteX4-195" fmla="*/ 0 w 1762506"/>
              <a:gd name="connsiteY4-196" fmla="*/ 0 h 2088232"/>
              <a:gd name="connsiteX0-197" fmla="*/ 0 w 1762506"/>
              <a:gd name="connsiteY0-198" fmla="*/ 0 h 2088232"/>
              <a:gd name="connsiteX1-199" fmla="*/ 1746105 w 1762506"/>
              <a:gd name="connsiteY1-200" fmla="*/ 0 h 2088232"/>
              <a:gd name="connsiteX2-201" fmla="*/ 1762506 w 1762506"/>
              <a:gd name="connsiteY2-202" fmla="*/ 2088232 h 2088232"/>
              <a:gd name="connsiteX3-203" fmla="*/ 0 w 1762506"/>
              <a:gd name="connsiteY3-204" fmla="*/ 2088232 h 2088232"/>
              <a:gd name="connsiteX4-205" fmla="*/ 0 w 1762506"/>
              <a:gd name="connsiteY4-206" fmla="*/ 0 h 2088232"/>
              <a:gd name="connsiteX0-207" fmla="*/ 0 w 1762506"/>
              <a:gd name="connsiteY0-208" fmla="*/ 0 h 2088232"/>
              <a:gd name="connsiteX1-209" fmla="*/ 1746105 w 1762506"/>
              <a:gd name="connsiteY1-210" fmla="*/ 0 h 2088232"/>
              <a:gd name="connsiteX2-211" fmla="*/ 1762506 w 1762506"/>
              <a:gd name="connsiteY2-212" fmla="*/ 2088232 h 2088232"/>
              <a:gd name="connsiteX3-213" fmla="*/ 0 w 1762506"/>
              <a:gd name="connsiteY3-214" fmla="*/ 2088232 h 2088232"/>
              <a:gd name="connsiteX4-215" fmla="*/ 0 w 1762506"/>
              <a:gd name="connsiteY4-216" fmla="*/ 0 h 2088232"/>
              <a:gd name="connsiteX0-217" fmla="*/ 0 w 1762506"/>
              <a:gd name="connsiteY0-218" fmla="*/ 0 h 2088232"/>
              <a:gd name="connsiteX1-219" fmla="*/ 1746105 w 1762506"/>
              <a:gd name="connsiteY1-220" fmla="*/ 0 h 2088232"/>
              <a:gd name="connsiteX2-221" fmla="*/ 1762506 w 1762506"/>
              <a:gd name="connsiteY2-222" fmla="*/ 2088232 h 2088232"/>
              <a:gd name="connsiteX3-223" fmla="*/ 0 w 1762506"/>
              <a:gd name="connsiteY3-224" fmla="*/ 2088232 h 2088232"/>
              <a:gd name="connsiteX4-225" fmla="*/ 0 w 1762506"/>
              <a:gd name="connsiteY4-226" fmla="*/ 0 h 2088232"/>
              <a:gd name="connsiteX0-227" fmla="*/ 0 w 1762506"/>
              <a:gd name="connsiteY0-228" fmla="*/ 0 h 2088232"/>
              <a:gd name="connsiteX1-229" fmla="*/ 1746105 w 1762506"/>
              <a:gd name="connsiteY1-230" fmla="*/ 0 h 2088232"/>
              <a:gd name="connsiteX2-231" fmla="*/ 1762506 w 1762506"/>
              <a:gd name="connsiteY2-232" fmla="*/ 2088232 h 2088232"/>
              <a:gd name="connsiteX3-233" fmla="*/ 0 w 1762506"/>
              <a:gd name="connsiteY3-234" fmla="*/ 2088232 h 2088232"/>
              <a:gd name="connsiteX4-235" fmla="*/ 0 w 1762506"/>
              <a:gd name="connsiteY4-236" fmla="*/ 0 h 2088232"/>
              <a:gd name="connsiteX0-237" fmla="*/ 0 w 1762506"/>
              <a:gd name="connsiteY0-238" fmla="*/ 0 h 2088232"/>
              <a:gd name="connsiteX1-239" fmla="*/ 1746105 w 1762506"/>
              <a:gd name="connsiteY1-240" fmla="*/ 0 h 2088232"/>
              <a:gd name="connsiteX2-241" fmla="*/ 1762506 w 1762506"/>
              <a:gd name="connsiteY2-242" fmla="*/ 2088232 h 2088232"/>
              <a:gd name="connsiteX3-243" fmla="*/ 0 w 1762506"/>
              <a:gd name="connsiteY3-244" fmla="*/ 2088232 h 2088232"/>
              <a:gd name="connsiteX4-245" fmla="*/ 0 w 1762506"/>
              <a:gd name="connsiteY4-246" fmla="*/ 0 h 2088232"/>
              <a:gd name="connsiteX0-247" fmla="*/ 0 w 1762506"/>
              <a:gd name="connsiteY0-248" fmla="*/ 0 h 2088232"/>
              <a:gd name="connsiteX1-249" fmla="*/ 1746105 w 1762506"/>
              <a:gd name="connsiteY1-250" fmla="*/ 0 h 2088232"/>
              <a:gd name="connsiteX2-251" fmla="*/ 1762506 w 1762506"/>
              <a:gd name="connsiteY2-252" fmla="*/ 2088232 h 2088232"/>
              <a:gd name="connsiteX3-253" fmla="*/ 0 w 1762506"/>
              <a:gd name="connsiteY3-254" fmla="*/ 2088232 h 2088232"/>
              <a:gd name="connsiteX4-255" fmla="*/ 0 w 1762506"/>
              <a:gd name="connsiteY4-256" fmla="*/ 0 h 2088232"/>
              <a:gd name="connsiteX0-257" fmla="*/ 0 w 1762506"/>
              <a:gd name="connsiteY0-258" fmla="*/ 0 h 2088232"/>
              <a:gd name="connsiteX1-259" fmla="*/ 1746105 w 1762506"/>
              <a:gd name="connsiteY1-260" fmla="*/ 0 h 2088232"/>
              <a:gd name="connsiteX2-261" fmla="*/ 1762506 w 1762506"/>
              <a:gd name="connsiteY2-262" fmla="*/ 2088232 h 2088232"/>
              <a:gd name="connsiteX3-263" fmla="*/ 0 w 1762506"/>
              <a:gd name="connsiteY3-264" fmla="*/ 2088232 h 2088232"/>
              <a:gd name="connsiteX4-265" fmla="*/ 0 w 1762506"/>
              <a:gd name="connsiteY4-266" fmla="*/ 0 h 2088232"/>
              <a:gd name="connsiteX0-267" fmla="*/ 0 w 1762506"/>
              <a:gd name="connsiteY0-268" fmla="*/ 0 h 2088237"/>
              <a:gd name="connsiteX1-269" fmla="*/ 1746105 w 1762506"/>
              <a:gd name="connsiteY1-270" fmla="*/ 0 h 2088237"/>
              <a:gd name="connsiteX2-271" fmla="*/ 1762506 w 1762506"/>
              <a:gd name="connsiteY2-272" fmla="*/ 2088232 h 2088237"/>
              <a:gd name="connsiteX3-273" fmla="*/ 0 w 1762506"/>
              <a:gd name="connsiteY3-274" fmla="*/ 2088232 h 2088237"/>
              <a:gd name="connsiteX4-275" fmla="*/ 0 w 1762506"/>
              <a:gd name="connsiteY4-276" fmla="*/ 0 h 2088237"/>
              <a:gd name="connsiteX0-277" fmla="*/ 0 w 1762506"/>
              <a:gd name="connsiteY0-278" fmla="*/ 0 h 2088236"/>
              <a:gd name="connsiteX1-279" fmla="*/ 1746105 w 1762506"/>
              <a:gd name="connsiteY1-280" fmla="*/ 0 h 2088236"/>
              <a:gd name="connsiteX2-281" fmla="*/ 1762506 w 1762506"/>
              <a:gd name="connsiteY2-282" fmla="*/ 2088232 h 2088236"/>
              <a:gd name="connsiteX3-283" fmla="*/ 0 w 1762506"/>
              <a:gd name="connsiteY3-284" fmla="*/ 2088232 h 2088236"/>
              <a:gd name="connsiteX4-285" fmla="*/ 0 w 1762506"/>
              <a:gd name="connsiteY4-286" fmla="*/ 0 h 2088236"/>
              <a:gd name="connsiteX0-287" fmla="*/ 0 w 1762506"/>
              <a:gd name="connsiteY0-288" fmla="*/ 0 h 2088237"/>
              <a:gd name="connsiteX1-289" fmla="*/ 1746105 w 1762506"/>
              <a:gd name="connsiteY1-290" fmla="*/ 0 h 2088237"/>
              <a:gd name="connsiteX2-291" fmla="*/ 1762506 w 1762506"/>
              <a:gd name="connsiteY2-292" fmla="*/ 2088232 h 2088237"/>
              <a:gd name="connsiteX3-293" fmla="*/ 0 w 1762506"/>
              <a:gd name="connsiteY3-294" fmla="*/ 2088232 h 2088237"/>
              <a:gd name="connsiteX4-295" fmla="*/ 0 w 1762506"/>
              <a:gd name="connsiteY4-296" fmla="*/ 0 h 2088237"/>
              <a:gd name="connsiteX0-297" fmla="*/ 0 w 1762506"/>
              <a:gd name="connsiteY0-298" fmla="*/ 0 h 2088685"/>
              <a:gd name="connsiteX1-299" fmla="*/ 1746105 w 1762506"/>
              <a:gd name="connsiteY1-300" fmla="*/ 0 h 2088685"/>
              <a:gd name="connsiteX2-301" fmla="*/ 1762506 w 1762506"/>
              <a:gd name="connsiteY2-302" fmla="*/ 2088232 h 2088685"/>
              <a:gd name="connsiteX3-303" fmla="*/ 0 w 1762506"/>
              <a:gd name="connsiteY3-304" fmla="*/ 2088232 h 2088685"/>
              <a:gd name="connsiteX4-305" fmla="*/ 0 w 1762506"/>
              <a:gd name="connsiteY4-306" fmla="*/ 0 h 2088685"/>
              <a:gd name="connsiteX0-307" fmla="*/ 0 w 1762506"/>
              <a:gd name="connsiteY0-308" fmla="*/ 0 h 2088685"/>
              <a:gd name="connsiteX1-309" fmla="*/ 1690839 w 1762506"/>
              <a:gd name="connsiteY1-310" fmla="*/ 0 h 2088685"/>
              <a:gd name="connsiteX2-311" fmla="*/ 1762506 w 1762506"/>
              <a:gd name="connsiteY2-312" fmla="*/ 2088232 h 2088685"/>
              <a:gd name="connsiteX3-313" fmla="*/ 0 w 1762506"/>
              <a:gd name="connsiteY3-314" fmla="*/ 2088232 h 2088685"/>
              <a:gd name="connsiteX4-315" fmla="*/ 0 w 1762506"/>
              <a:gd name="connsiteY4-316" fmla="*/ 0 h 2088685"/>
              <a:gd name="connsiteX0-317" fmla="*/ 0 w 1762506"/>
              <a:gd name="connsiteY0-318" fmla="*/ 0 h 2088676"/>
              <a:gd name="connsiteX1-319" fmla="*/ 1690839 w 1762506"/>
              <a:gd name="connsiteY1-320" fmla="*/ 0 h 2088676"/>
              <a:gd name="connsiteX2-321" fmla="*/ 1762506 w 1762506"/>
              <a:gd name="connsiteY2-322" fmla="*/ 2088232 h 2088676"/>
              <a:gd name="connsiteX3-323" fmla="*/ 0 w 1762506"/>
              <a:gd name="connsiteY3-324" fmla="*/ 2088232 h 2088676"/>
              <a:gd name="connsiteX4-325" fmla="*/ 0 w 1762506"/>
              <a:gd name="connsiteY4-326" fmla="*/ 0 h 2088676"/>
              <a:gd name="connsiteX0-327" fmla="*/ 0 w 1762506"/>
              <a:gd name="connsiteY0-328" fmla="*/ 0 h 2088845"/>
              <a:gd name="connsiteX1-329" fmla="*/ 1690839 w 1762506"/>
              <a:gd name="connsiteY1-330" fmla="*/ 0 h 2088845"/>
              <a:gd name="connsiteX2-331" fmla="*/ 1762506 w 1762506"/>
              <a:gd name="connsiteY2-332" fmla="*/ 2088232 h 2088845"/>
              <a:gd name="connsiteX3-333" fmla="*/ 0 w 1762506"/>
              <a:gd name="connsiteY3-334" fmla="*/ 2088232 h 2088845"/>
              <a:gd name="connsiteX4-335" fmla="*/ 0 w 1762506"/>
              <a:gd name="connsiteY4-336" fmla="*/ 0 h 2088845"/>
              <a:gd name="connsiteX0-337" fmla="*/ 0 w 1717289"/>
              <a:gd name="connsiteY0-338" fmla="*/ 0 h 2098890"/>
              <a:gd name="connsiteX1-339" fmla="*/ 1690839 w 1717289"/>
              <a:gd name="connsiteY1-340" fmla="*/ 0 h 2098890"/>
              <a:gd name="connsiteX2-341" fmla="*/ 1717289 w 1717289"/>
              <a:gd name="connsiteY2-342" fmla="*/ 2098281 h 2098890"/>
              <a:gd name="connsiteX3-343" fmla="*/ 0 w 1717289"/>
              <a:gd name="connsiteY3-344" fmla="*/ 2088232 h 2098890"/>
              <a:gd name="connsiteX4-345" fmla="*/ 0 w 1717289"/>
              <a:gd name="connsiteY4-346" fmla="*/ 0 h 2098890"/>
              <a:gd name="connsiteX0-347" fmla="*/ 0 w 1717289"/>
              <a:gd name="connsiteY0-348" fmla="*/ 0 h 2098281"/>
              <a:gd name="connsiteX1-349" fmla="*/ 1690839 w 1717289"/>
              <a:gd name="connsiteY1-350" fmla="*/ 0 h 2098281"/>
              <a:gd name="connsiteX2-351" fmla="*/ 1717289 w 1717289"/>
              <a:gd name="connsiteY2-352" fmla="*/ 2098281 h 2098281"/>
              <a:gd name="connsiteX3-353" fmla="*/ 0 w 1717289"/>
              <a:gd name="connsiteY3-354" fmla="*/ 2088232 h 2098281"/>
              <a:gd name="connsiteX4-355" fmla="*/ 0 w 1717289"/>
              <a:gd name="connsiteY4-356" fmla="*/ 0 h 2098281"/>
              <a:gd name="connsiteX0-357" fmla="*/ 0 w 1717289"/>
              <a:gd name="connsiteY0-358" fmla="*/ 0 h 2098281"/>
              <a:gd name="connsiteX1-359" fmla="*/ 1690839 w 1717289"/>
              <a:gd name="connsiteY1-360" fmla="*/ 0 h 2098281"/>
              <a:gd name="connsiteX2-361" fmla="*/ 1717289 w 1717289"/>
              <a:gd name="connsiteY2-362" fmla="*/ 2098281 h 2098281"/>
              <a:gd name="connsiteX3-363" fmla="*/ 0 w 1717289"/>
              <a:gd name="connsiteY3-364" fmla="*/ 2088232 h 2098281"/>
              <a:gd name="connsiteX4-365" fmla="*/ 0 w 1717289"/>
              <a:gd name="connsiteY4-366" fmla="*/ 0 h 2098281"/>
              <a:gd name="connsiteX0-367" fmla="*/ 0 w 1717289"/>
              <a:gd name="connsiteY0-368" fmla="*/ 0 h 2098281"/>
              <a:gd name="connsiteX1-369" fmla="*/ 1690839 w 1717289"/>
              <a:gd name="connsiteY1-370" fmla="*/ 0 h 2098281"/>
              <a:gd name="connsiteX2-371" fmla="*/ 1717289 w 1717289"/>
              <a:gd name="connsiteY2-372" fmla="*/ 2098281 h 2098281"/>
              <a:gd name="connsiteX3-373" fmla="*/ 0 w 1717289"/>
              <a:gd name="connsiteY3-374" fmla="*/ 2088232 h 2098281"/>
              <a:gd name="connsiteX4-375" fmla="*/ 0 w 1717289"/>
              <a:gd name="connsiteY4-376" fmla="*/ 0 h 2098281"/>
              <a:gd name="connsiteX0-377" fmla="*/ 0 w 1717289"/>
              <a:gd name="connsiteY0-378" fmla="*/ 0 h 2098281"/>
              <a:gd name="connsiteX1-379" fmla="*/ 1690839 w 1717289"/>
              <a:gd name="connsiteY1-380" fmla="*/ 0 h 2098281"/>
              <a:gd name="connsiteX2-381" fmla="*/ 1717289 w 1717289"/>
              <a:gd name="connsiteY2-382" fmla="*/ 2098281 h 2098281"/>
              <a:gd name="connsiteX3-383" fmla="*/ 0 w 1717289"/>
              <a:gd name="connsiteY3-384" fmla="*/ 2088232 h 2098281"/>
              <a:gd name="connsiteX4-385" fmla="*/ 0 w 1717289"/>
              <a:gd name="connsiteY4-386" fmla="*/ 0 h 2098281"/>
              <a:gd name="connsiteX0-387" fmla="*/ 0 w 1717289"/>
              <a:gd name="connsiteY0-388" fmla="*/ 0 h 2098281"/>
              <a:gd name="connsiteX1-389" fmla="*/ 1690839 w 1717289"/>
              <a:gd name="connsiteY1-390" fmla="*/ 0 h 2098281"/>
              <a:gd name="connsiteX2-391" fmla="*/ 1717289 w 1717289"/>
              <a:gd name="connsiteY2-392" fmla="*/ 2098281 h 2098281"/>
              <a:gd name="connsiteX3-393" fmla="*/ 0 w 1717289"/>
              <a:gd name="connsiteY3-394" fmla="*/ 2088232 h 2098281"/>
              <a:gd name="connsiteX4-395" fmla="*/ 0 w 1717289"/>
              <a:gd name="connsiteY4-396" fmla="*/ 0 h 2098281"/>
              <a:gd name="connsiteX0-397" fmla="*/ 0 w 1717289"/>
              <a:gd name="connsiteY0-398" fmla="*/ 0 h 2098281"/>
              <a:gd name="connsiteX1-399" fmla="*/ 1690839 w 1717289"/>
              <a:gd name="connsiteY1-400" fmla="*/ 0 h 2098281"/>
              <a:gd name="connsiteX2-401" fmla="*/ 1717289 w 1717289"/>
              <a:gd name="connsiteY2-402" fmla="*/ 2098281 h 2098281"/>
              <a:gd name="connsiteX3-403" fmla="*/ 0 w 1717289"/>
              <a:gd name="connsiteY3-404" fmla="*/ 2088232 h 2098281"/>
              <a:gd name="connsiteX4-405" fmla="*/ 0 w 1717289"/>
              <a:gd name="connsiteY4-406" fmla="*/ 0 h 2098281"/>
              <a:gd name="connsiteX0-407" fmla="*/ 0 w 1717289"/>
              <a:gd name="connsiteY0-408" fmla="*/ 0 h 2098281"/>
              <a:gd name="connsiteX1-409" fmla="*/ 1674437 w 1717289"/>
              <a:gd name="connsiteY1-410" fmla="*/ 4101 h 2098281"/>
              <a:gd name="connsiteX2-411" fmla="*/ 1717289 w 1717289"/>
              <a:gd name="connsiteY2-412" fmla="*/ 2098281 h 2098281"/>
              <a:gd name="connsiteX3-413" fmla="*/ 0 w 1717289"/>
              <a:gd name="connsiteY3-414" fmla="*/ 2088232 h 2098281"/>
              <a:gd name="connsiteX4-415" fmla="*/ 0 w 1717289"/>
              <a:gd name="connsiteY4-416" fmla="*/ 0 h 2098281"/>
              <a:gd name="connsiteX0-417" fmla="*/ 0 w 1717289"/>
              <a:gd name="connsiteY0-418" fmla="*/ 0 h 2098281"/>
              <a:gd name="connsiteX1-419" fmla="*/ 1674437 w 1717289"/>
              <a:gd name="connsiteY1-420" fmla="*/ 4101 h 2098281"/>
              <a:gd name="connsiteX2-421" fmla="*/ 1717289 w 1717289"/>
              <a:gd name="connsiteY2-422" fmla="*/ 2098281 h 2098281"/>
              <a:gd name="connsiteX3-423" fmla="*/ 0 w 1717289"/>
              <a:gd name="connsiteY3-424" fmla="*/ 2088232 h 2098281"/>
              <a:gd name="connsiteX4-425" fmla="*/ 0 w 1717289"/>
              <a:gd name="connsiteY4-426" fmla="*/ 0 h 20982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717289" h="2098281">
                <a:moveTo>
                  <a:pt x="0" y="0"/>
                </a:moveTo>
                <a:lnTo>
                  <a:pt x="1674437" y="4101"/>
                </a:lnTo>
                <a:cubicBezTo>
                  <a:pt x="536394" y="826531"/>
                  <a:pt x="1385887" y="2096234"/>
                  <a:pt x="1717289" y="2098281"/>
                </a:cubicBezTo>
                <a:lnTo>
                  <a:pt x="0" y="2088232"/>
                </a:lnTo>
                <a:lnTo>
                  <a:pt x="0" y="0"/>
                </a:lnTo>
                <a:close/>
              </a:path>
            </a:pathLst>
          </a:cu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椭圆 30"/>
          <p:cNvSpPr/>
          <p:nvPr/>
        </p:nvSpPr>
        <p:spPr>
          <a:xfrm>
            <a:off x="1201043" y="2060848"/>
            <a:ext cx="2376264" cy="2376264"/>
          </a:xfrm>
          <a:prstGeom prst="ellipse">
            <a:avLst/>
          </a:prstGeom>
          <a:solidFill>
            <a:srgbClr val="5C6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2" name="组合 31"/>
          <p:cNvGrpSpPr/>
          <p:nvPr/>
        </p:nvGrpSpPr>
        <p:grpSpPr>
          <a:xfrm>
            <a:off x="1832263" y="2348880"/>
            <a:ext cx="1062068" cy="1025712"/>
            <a:chOff x="5512720" y="2152017"/>
            <a:chExt cx="583915" cy="496874"/>
          </a:xfrm>
        </p:grpSpPr>
        <p:sp>
          <p:nvSpPr>
            <p:cNvPr id="33" name="Freeform 159"/>
            <p:cNvSpPr/>
            <p:nvPr/>
          </p:nvSpPr>
          <p:spPr bwMode="auto">
            <a:xfrm>
              <a:off x="5574376" y="2246314"/>
              <a:ext cx="460603" cy="402577"/>
            </a:xfrm>
            <a:custGeom>
              <a:avLst/>
              <a:gdLst>
                <a:gd name="T0" fmla="*/ 29 w 54"/>
                <a:gd name="T1" fmla="*/ 1 h 47"/>
                <a:gd name="T2" fmla="*/ 24 w 54"/>
                <a:gd name="T3" fmla="*/ 1 h 47"/>
                <a:gd name="T4" fmla="*/ 2 w 54"/>
                <a:gd name="T5" fmla="*/ 15 h 47"/>
                <a:gd name="T6" fmla="*/ 0 w 54"/>
                <a:gd name="T7" fmla="*/ 20 h 47"/>
                <a:gd name="T8" fmla="*/ 0 w 54"/>
                <a:gd name="T9" fmla="*/ 44 h 47"/>
                <a:gd name="T10" fmla="*/ 3 w 54"/>
                <a:gd name="T11" fmla="*/ 47 h 47"/>
                <a:gd name="T12" fmla="*/ 13 w 54"/>
                <a:gd name="T13" fmla="*/ 47 h 47"/>
                <a:gd name="T14" fmla="*/ 16 w 54"/>
                <a:gd name="T15" fmla="*/ 44 h 47"/>
                <a:gd name="T16" fmla="*/ 16 w 54"/>
                <a:gd name="T17" fmla="*/ 27 h 47"/>
                <a:gd name="T18" fmla="*/ 19 w 54"/>
                <a:gd name="T19" fmla="*/ 24 h 47"/>
                <a:gd name="T20" fmla="*/ 35 w 54"/>
                <a:gd name="T21" fmla="*/ 24 h 47"/>
                <a:gd name="T22" fmla="*/ 38 w 54"/>
                <a:gd name="T23" fmla="*/ 27 h 47"/>
                <a:gd name="T24" fmla="*/ 38 w 54"/>
                <a:gd name="T25" fmla="*/ 44 h 47"/>
                <a:gd name="T26" fmla="*/ 41 w 54"/>
                <a:gd name="T27" fmla="*/ 47 h 47"/>
                <a:gd name="T28" fmla="*/ 51 w 54"/>
                <a:gd name="T29" fmla="*/ 47 h 47"/>
                <a:gd name="T30" fmla="*/ 54 w 54"/>
                <a:gd name="T31" fmla="*/ 44 h 47"/>
                <a:gd name="T32" fmla="*/ 54 w 54"/>
                <a:gd name="T33" fmla="*/ 20 h 47"/>
                <a:gd name="T34" fmla="*/ 52 w 54"/>
                <a:gd name="T35" fmla="*/ 16 h 47"/>
                <a:gd name="T36" fmla="*/ 29 w 54"/>
                <a:gd name="T37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7">
                  <a:moveTo>
                    <a:pt x="29" y="1"/>
                  </a:moveTo>
                  <a:cubicBezTo>
                    <a:pt x="28" y="0"/>
                    <a:pt x="25" y="0"/>
                    <a:pt x="24" y="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0" y="18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1" y="47"/>
                    <a:pt x="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6" y="46"/>
                    <a:pt x="16" y="44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6"/>
                    <a:pt x="17" y="24"/>
                    <a:pt x="19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8" y="26"/>
                    <a:pt x="38" y="27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6"/>
                    <a:pt x="39" y="47"/>
                    <a:pt x="41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3" y="47"/>
                    <a:pt x="54" y="46"/>
                    <a:pt x="54" y="44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19"/>
                    <a:pt x="53" y="17"/>
                    <a:pt x="52" y="16"/>
                  </a:cubicBezTo>
                  <a:lnTo>
                    <a:pt x="2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zh-CN" altLang="en-US" sz="2490"/>
            </a:p>
          </p:txBody>
        </p:sp>
        <p:sp>
          <p:nvSpPr>
            <p:cNvPr id="34" name="Freeform 160"/>
            <p:cNvSpPr/>
            <p:nvPr/>
          </p:nvSpPr>
          <p:spPr bwMode="auto">
            <a:xfrm>
              <a:off x="5512720" y="2152017"/>
              <a:ext cx="583915" cy="224863"/>
            </a:xfrm>
            <a:custGeom>
              <a:avLst/>
              <a:gdLst>
                <a:gd name="T0" fmla="*/ 64 w 68"/>
                <a:gd name="T1" fmla="*/ 20 h 26"/>
                <a:gd name="T2" fmla="*/ 61 w 68"/>
                <a:gd name="T3" fmla="*/ 15 h 26"/>
                <a:gd name="T4" fmla="*/ 61 w 68"/>
                <a:gd name="T5" fmla="*/ 10 h 26"/>
                <a:gd name="T6" fmla="*/ 58 w 68"/>
                <a:gd name="T7" fmla="*/ 7 h 26"/>
                <a:gd name="T8" fmla="*/ 57 w 68"/>
                <a:gd name="T9" fmla="*/ 7 h 26"/>
                <a:gd name="T10" fmla="*/ 54 w 68"/>
                <a:gd name="T11" fmla="*/ 10 h 26"/>
                <a:gd name="T12" fmla="*/ 54 w 68"/>
                <a:gd name="T13" fmla="*/ 10 h 26"/>
                <a:gd name="T14" fmla="*/ 52 w 68"/>
                <a:gd name="T15" fmla="*/ 12 h 26"/>
                <a:gd name="T16" fmla="*/ 36 w 68"/>
                <a:gd name="T17" fmla="*/ 1 h 26"/>
                <a:gd name="T18" fmla="*/ 33 w 68"/>
                <a:gd name="T19" fmla="*/ 0 h 26"/>
                <a:gd name="T20" fmla="*/ 30 w 68"/>
                <a:gd name="T21" fmla="*/ 1 h 26"/>
                <a:gd name="T22" fmla="*/ 2 w 68"/>
                <a:gd name="T23" fmla="*/ 20 h 26"/>
                <a:gd name="T24" fmla="*/ 1 w 68"/>
                <a:gd name="T25" fmla="*/ 24 h 26"/>
                <a:gd name="T26" fmla="*/ 5 w 68"/>
                <a:gd name="T27" fmla="*/ 24 h 26"/>
                <a:gd name="T28" fmla="*/ 31 w 68"/>
                <a:gd name="T29" fmla="*/ 7 h 26"/>
                <a:gd name="T30" fmla="*/ 36 w 68"/>
                <a:gd name="T31" fmla="*/ 7 h 26"/>
                <a:gd name="T32" fmla="*/ 63 w 68"/>
                <a:gd name="T33" fmla="*/ 25 h 26"/>
                <a:gd name="T34" fmla="*/ 67 w 68"/>
                <a:gd name="T35" fmla="*/ 25 h 26"/>
                <a:gd name="T36" fmla="*/ 66 w 68"/>
                <a:gd name="T37" fmla="*/ 21 h 26"/>
                <a:gd name="T38" fmla="*/ 64 w 68"/>
                <a:gd name="T39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" h="26">
                  <a:moveTo>
                    <a:pt x="64" y="20"/>
                  </a:moveTo>
                  <a:cubicBezTo>
                    <a:pt x="62" y="19"/>
                    <a:pt x="61" y="17"/>
                    <a:pt x="61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8"/>
                    <a:pt x="60" y="7"/>
                    <a:pt x="58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6" y="7"/>
                    <a:pt x="54" y="8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2"/>
                    <a:pt x="53" y="13"/>
                    <a:pt x="52" y="1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1"/>
                    <a:pt x="33" y="0"/>
                    <a:pt x="33" y="0"/>
                  </a:cubicBezTo>
                  <a:cubicBezTo>
                    <a:pt x="33" y="0"/>
                    <a:pt x="32" y="1"/>
                    <a:pt x="30" y="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1"/>
                    <a:pt x="0" y="23"/>
                    <a:pt x="1" y="24"/>
                  </a:cubicBezTo>
                  <a:cubicBezTo>
                    <a:pt x="2" y="25"/>
                    <a:pt x="3" y="25"/>
                    <a:pt x="5" y="24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2" y="6"/>
                    <a:pt x="34" y="6"/>
                    <a:pt x="36" y="7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4" y="26"/>
                    <a:pt x="66" y="26"/>
                    <a:pt x="67" y="25"/>
                  </a:cubicBezTo>
                  <a:cubicBezTo>
                    <a:pt x="68" y="24"/>
                    <a:pt x="67" y="22"/>
                    <a:pt x="66" y="21"/>
                  </a:cubicBezTo>
                  <a:lnTo>
                    <a:pt x="6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zh-CN" altLang="en-US" sz="2490"/>
            </a:p>
          </p:txBody>
        </p:sp>
      </p:grpSp>
      <p:sp>
        <p:nvSpPr>
          <p:cNvPr id="35" name="标题 4"/>
          <p:cNvSpPr txBox="1"/>
          <p:nvPr/>
        </p:nvSpPr>
        <p:spPr>
          <a:xfrm>
            <a:off x="1777107" y="3484012"/>
            <a:ext cx="1296144" cy="8031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  录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椭圆 35"/>
          <p:cNvSpPr/>
          <p:nvPr/>
        </p:nvSpPr>
        <p:spPr>
          <a:xfrm>
            <a:off x="1345059" y="2192675"/>
            <a:ext cx="2100421" cy="2100421"/>
          </a:xfrm>
          <a:prstGeom prst="ellipse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圆角矩形 36"/>
          <p:cNvSpPr/>
          <p:nvPr>
            <p:custDataLst>
              <p:tags r:id="rId1"/>
            </p:custDataLst>
          </p:nvPr>
        </p:nvSpPr>
        <p:spPr>
          <a:xfrm>
            <a:off x="4153371" y="1532472"/>
            <a:ext cx="3888432" cy="480689"/>
          </a:xfrm>
          <a:prstGeom prst="roundRect">
            <a:avLst>
              <a:gd name="adj" fmla="val 50000"/>
            </a:avLst>
          </a:pr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椭圆 37"/>
          <p:cNvSpPr/>
          <p:nvPr>
            <p:custDataLst>
              <p:tags r:id="rId2"/>
            </p:custDataLst>
          </p:nvPr>
        </p:nvSpPr>
        <p:spPr>
          <a:xfrm>
            <a:off x="3865339" y="1484784"/>
            <a:ext cx="576064" cy="576064"/>
          </a:xfrm>
          <a:prstGeom prst="ellipse">
            <a:avLst/>
          </a:prstGeom>
          <a:solidFill>
            <a:srgbClr val="C1000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标题 4"/>
          <p:cNvSpPr txBox="1"/>
          <p:nvPr>
            <p:custDataLst>
              <p:tags r:id="rId3"/>
            </p:custDataLst>
          </p:nvPr>
        </p:nvSpPr>
        <p:spPr>
          <a:xfrm>
            <a:off x="3865339" y="1665621"/>
            <a:ext cx="576064" cy="497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标题 4"/>
          <p:cNvSpPr txBox="1"/>
          <p:nvPr>
            <p:custDataLst>
              <p:tags r:id="rId4"/>
            </p:custDataLst>
          </p:nvPr>
        </p:nvSpPr>
        <p:spPr>
          <a:xfrm>
            <a:off x="4513411" y="1761445"/>
            <a:ext cx="3600400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项目概况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右箭头 40"/>
          <p:cNvSpPr/>
          <p:nvPr>
            <p:custDataLst>
              <p:tags r:id="rId5"/>
            </p:custDataLst>
          </p:nvPr>
        </p:nvSpPr>
        <p:spPr>
          <a:xfrm>
            <a:off x="7537747" y="1665621"/>
            <a:ext cx="288032" cy="18905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圆角矩形 42"/>
          <p:cNvSpPr/>
          <p:nvPr>
            <p:custDataLst>
              <p:tags r:id="rId6"/>
            </p:custDataLst>
          </p:nvPr>
        </p:nvSpPr>
        <p:spPr>
          <a:xfrm>
            <a:off x="4369395" y="2241686"/>
            <a:ext cx="3888432" cy="480689"/>
          </a:xfrm>
          <a:prstGeom prst="roundRect">
            <a:avLst>
              <a:gd name="adj" fmla="val 50000"/>
            </a:avLst>
          </a:pr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椭圆 43"/>
          <p:cNvSpPr/>
          <p:nvPr>
            <p:custDataLst>
              <p:tags r:id="rId7"/>
            </p:custDataLst>
          </p:nvPr>
        </p:nvSpPr>
        <p:spPr>
          <a:xfrm>
            <a:off x="4081363" y="2193998"/>
            <a:ext cx="576064" cy="576064"/>
          </a:xfrm>
          <a:prstGeom prst="ellipse">
            <a:avLst/>
          </a:prstGeom>
          <a:solidFill>
            <a:srgbClr val="C1000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标题 4"/>
          <p:cNvSpPr txBox="1"/>
          <p:nvPr>
            <p:custDataLst>
              <p:tags r:id="rId8"/>
            </p:custDataLst>
          </p:nvPr>
        </p:nvSpPr>
        <p:spPr>
          <a:xfrm>
            <a:off x="4081363" y="2374835"/>
            <a:ext cx="576064" cy="497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标题 4"/>
          <p:cNvSpPr txBox="1"/>
          <p:nvPr>
            <p:custDataLst>
              <p:tags r:id="rId9"/>
            </p:custDataLst>
          </p:nvPr>
        </p:nvSpPr>
        <p:spPr>
          <a:xfrm>
            <a:off x="4729435" y="2470659"/>
            <a:ext cx="3600400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入驻企业情况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右箭头 46"/>
          <p:cNvSpPr/>
          <p:nvPr>
            <p:custDataLst>
              <p:tags r:id="rId10"/>
            </p:custDataLst>
          </p:nvPr>
        </p:nvSpPr>
        <p:spPr>
          <a:xfrm>
            <a:off x="7753771" y="2374835"/>
            <a:ext cx="288032" cy="18905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圆角矩形 47"/>
          <p:cNvSpPr/>
          <p:nvPr>
            <p:custDataLst>
              <p:tags r:id="rId11"/>
            </p:custDataLst>
          </p:nvPr>
        </p:nvSpPr>
        <p:spPr>
          <a:xfrm>
            <a:off x="4513411" y="2950900"/>
            <a:ext cx="3888432" cy="480689"/>
          </a:xfrm>
          <a:prstGeom prst="roundRect">
            <a:avLst>
              <a:gd name="adj" fmla="val 50000"/>
            </a:avLst>
          </a:pr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椭圆 48"/>
          <p:cNvSpPr/>
          <p:nvPr>
            <p:custDataLst>
              <p:tags r:id="rId12"/>
            </p:custDataLst>
          </p:nvPr>
        </p:nvSpPr>
        <p:spPr>
          <a:xfrm>
            <a:off x="4225379" y="2903212"/>
            <a:ext cx="576064" cy="576064"/>
          </a:xfrm>
          <a:prstGeom prst="ellipse">
            <a:avLst/>
          </a:prstGeom>
          <a:solidFill>
            <a:srgbClr val="C1000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标题 4"/>
          <p:cNvSpPr txBox="1"/>
          <p:nvPr>
            <p:custDataLst>
              <p:tags r:id="rId13"/>
            </p:custDataLst>
          </p:nvPr>
        </p:nvSpPr>
        <p:spPr>
          <a:xfrm>
            <a:off x="4225379" y="3084049"/>
            <a:ext cx="576064" cy="497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标题 4"/>
          <p:cNvSpPr txBox="1"/>
          <p:nvPr>
            <p:custDataLst>
              <p:tags r:id="rId14"/>
            </p:custDataLst>
          </p:nvPr>
        </p:nvSpPr>
        <p:spPr>
          <a:xfrm>
            <a:off x="4513406" y="3177333"/>
            <a:ext cx="3600400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尼日利亚投资环境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右箭头 73"/>
          <p:cNvSpPr/>
          <p:nvPr>
            <p:custDataLst>
              <p:tags r:id="rId15"/>
            </p:custDataLst>
          </p:nvPr>
        </p:nvSpPr>
        <p:spPr>
          <a:xfrm>
            <a:off x="7897787" y="3084049"/>
            <a:ext cx="288032" cy="18905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圆角矩形 74"/>
          <p:cNvSpPr/>
          <p:nvPr>
            <p:custDataLst>
              <p:tags r:id="rId16"/>
            </p:custDataLst>
          </p:nvPr>
        </p:nvSpPr>
        <p:spPr>
          <a:xfrm>
            <a:off x="4369395" y="3660114"/>
            <a:ext cx="3888432" cy="480689"/>
          </a:xfrm>
          <a:prstGeom prst="roundRect">
            <a:avLst>
              <a:gd name="adj" fmla="val 50000"/>
            </a:avLst>
          </a:pr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椭圆 75"/>
          <p:cNvSpPr/>
          <p:nvPr>
            <p:custDataLst>
              <p:tags r:id="rId17"/>
            </p:custDataLst>
          </p:nvPr>
        </p:nvSpPr>
        <p:spPr>
          <a:xfrm>
            <a:off x="4081363" y="3612426"/>
            <a:ext cx="576064" cy="576064"/>
          </a:xfrm>
          <a:prstGeom prst="ellipse">
            <a:avLst/>
          </a:prstGeom>
          <a:solidFill>
            <a:srgbClr val="C1000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标题 4"/>
          <p:cNvSpPr txBox="1"/>
          <p:nvPr>
            <p:custDataLst>
              <p:tags r:id="rId18"/>
            </p:custDataLst>
          </p:nvPr>
        </p:nvSpPr>
        <p:spPr>
          <a:xfrm>
            <a:off x="4081363" y="3793263"/>
            <a:ext cx="576064" cy="497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标题 4"/>
          <p:cNvSpPr txBox="1"/>
          <p:nvPr>
            <p:custDataLst>
              <p:tags r:id="rId19"/>
            </p:custDataLst>
          </p:nvPr>
        </p:nvSpPr>
        <p:spPr>
          <a:xfrm>
            <a:off x="4585290" y="3888452"/>
            <a:ext cx="3600400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园区优势及服务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右箭头 78"/>
          <p:cNvSpPr/>
          <p:nvPr>
            <p:custDataLst>
              <p:tags r:id="rId20"/>
            </p:custDataLst>
          </p:nvPr>
        </p:nvSpPr>
        <p:spPr>
          <a:xfrm>
            <a:off x="7753771" y="3793263"/>
            <a:ext cx="288032" cy="18905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圆角矩形 79"/>
          <p:cNvSpPr/>
          <p:nvPr>
            <p:custDataLst>
              <p:tags r:id="rId21"/>
            </p:custDataLst>
          </p:nvPr>
        </p:nvSpPr>
        <p:spPr>
          <a:xfrm>
            <a:off x="4153371" y="4371355"/>
            <a:ext cx="3888432" cy="480689"/>
          </a:xfrm>
          <a:prstGeom prst="roundRect">
            <a:avLst>
              <a:gd name="adj" fmla="val 50000"/>
            </a:avLst>
          </a:prstGeom>
          <a:solidFill>
            <a:srgbClr val="C1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椭圆 80"/>
          <p:cNvSpPr/>
          <p:nvPr>
            <p:custDataLst>
              <p:tags r:id="rId22"/>
            </p:custDataLst>
          </p:nvPr>
        </p:nvSpPr>
        <p:spPr>
          <a:xfrm>
            <a:off x="3865339" y="4323667"/>
            <a:ext cx="576064" cy="576064"/>
          </a:xfrm>
          <a:prstGeom prst="ellipse">
            <a:avLst/>
          </a:prstGeom>
          <a:solidFill>
            <a:srgbClr val="C1000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标题 4"/>
          <p:cNvSpPr txBox="1"/>
          <p:nvPr>
            <p:custDataLst>
              <p:tags r:id="rId23"/>
            </p:custDataLst>
          </p:nvPr>
        </p:nvSpPr>
        <p:spPr>
          <a:xfrm>
            <a:off x="3865339" y="4504504"/>
            <a:ext cx="576064" cy="497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标题 4"/>
          <p:cNvSpPr txBox="1"/>
          <p:nvPr>
            <p:custDataLst>
              <p:tags r:id="rId24"/>
            </p:custDataLst>
          </p:nvPr>
        </p:nvSpPr>
        <p:spPr>
          <a:xfrm>
            <a:off x="4513411" y="4600328"/>
            <a:ext cx="3600400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合作共赢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右箭头 83"/>
          <p:cNvSpPr/>
          <p:nvPr>
            <p:custDataLst>
              <p:tags r:id="rId25"/>
            </p:custDataLst>
          </p:nvPr>
        </p:nvSpPr>
        <p:spPr>
          <a:xfrm>
            <a:off x="7537747" y="4504504"/>
            <a:ext cx="288032" cy="18905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矩形 84"/>
          <p:cNvSpPr/>
          <p:nvPr/>
        </p:nvSpPr>
        <p:spPr>
          <a:xfrm>
            <a:off x="9121923" y="2204864"/>
            <a:ext cx="3073252" cy="2082290"/>
          </a:xfrm>
          <a:prstGeom prst="rect">
            <a:avLst/>
          </a:prstGeom>
          <a:solidFill>
            <a:srgbClr val="5C6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2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ldLvl="0" animBg="1"/>
      <p:bldP spid="31" grpId="0" bldLvl="0" animBg="1"/>
      <p:bldP spid="35" grpId="1"/>
      <p:bldP spid="36" grpId="0" bldLvl="0" animBg="1"/>
      <p:bldP spid="37" grpId="0" bldLvl="0" animBg="1"/>
      <p:bldP spid="38" grpId="0" bldLvl="0" animBg="1"/>
      <p:bldP spid="39" grpId="0"/>
      <p:bldP spid="40" grpId="0"/>
      <p:bldP spid="41" grpId="0" bldLvl="0" animBg="1"/>
      <p:bldP spid="43" grpId="0" bldLvl="0" animBg="1"/>
      <p:bldP spid="44" grpId="0" bldLvl="0" animBg="1"/>
      <p:bldP spid="45" grpId="0"/>
      <p:bldP spid="46" grpId="0"/>
      <p:bldP spid="47" grpId="0" bldLvl="0" animBg="1"/>
      <p:bldP spid="48" grpId="0" bldLvl="0" animBg="1"/>
      <p:bldP spid="49" grpId="0" bldLvl="0" animBg="1"/>
      <p:bldP spid="50" grpId="0"/>
      <p:bldP spid="73" grpId="0"/>
      <p:bldP spid="74" grpId="0" bldLvl="0" animBg="1"/>
      <p:bldP spid="75" grpId="0" bldLvl="0" animBg="1"/>
      <p:bldP spid="76" grpId="0" bldLvl="0" animBg="1"/>
      <p:bldP spid="77" grpId="0"/>
      <p:bldP spid="78" grpId="0"/>
      <p:bldP spid="79" grpId="0" bldLvl="0" animBg="1"/>
      <p:bldP spid="80" grpId="0" bldLvl="0" animBg="1"/>
      <p:bldP spid="81" grpId="0" bldLvl="0" animBg="1"/>
      <p:bldP spid="82" grpId="0"/>
      <p:bldP spid="83" grpId="0"/>
      <p:bldP spid="84" grpId="0" bldLvl="0" animBg="1"/>
      <p:bldP spid="85" grpId="0" bldLvl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入园企业</a:t>
            </a:r>
            <a:endParaRPr lang="zh-CN" altLang="en-US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-2540000" y="4307050"/>
            <a:ext cx="13323186" cy="1971513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1185333" y="1626689"/>
            <a:ext cx="12723172" cy="1940404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248510" y="1846605"/>
            <a:ext cx="4047253" cy="1337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太阳陶瓷，</a:t>
            </a:r>
            <a:r>
              <a:rPr lang="zh-CN" altLang="en-US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日产量可达</a:t>
            </a:r>
            <a:r>
              <a:rPr lang="en-US" altLang="zh-CN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50,000</a:t>
            </a:r>
            <a:r>
              <a:rPr lang="zh-CN" altLang="en-US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件，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目前尼日利亚最大的</a:t>
            </a:r>
            <a:r>
              <a:rPr lang="zh-CN" altLang="en-US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日用陶瓷生产厂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sym typeface="微软雅黑 Light" panose="020B0502040204020203" charset="-122"/>
              </a:rPr>
              <a:t>。</a:t>
            </a:r>
            <a:endParaRPr lang="zh-CN" altLang="en-US" dirty="0">
              <a:solidFill>
                <a:schemeClr val="accent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sym typeface="微软雅黑 Light" panose="020B0502040204020203" charset="-122"/>
            </a:endParaRPr>
          </a:p>
          <a:p>
            <a:pPr>
              <a:lnSpc>
                <a:spcPct val="150000"/>
              </a:lnSpc>
            </a:pPr>
            <a:endParaRPr lang="zh-CN" altLang="en-US" dirty="0">
              <a:solidFill>
                <a:schemeClr val="accent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sym typeface="微软雅黑 Light" panose="020B0502040204020203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46044" y="4453140"/>
            <a:ext cx="4121593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华瑞工业成立于</a:t>
            </a:r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2022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年，致力于生产和销售各种钢铁产品。目前主要产品有各种规格型号的镀锌管，月销售钢铁制品可达</a:t>
            </a:r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3000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吨。</a:t>
            </a:r>
            <a:endParaRPr lang="zh-CN" alt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14" name="表格 14"/>
          <p:cNvGraphicFramePr>
            <a:graphicFrameLocks noGrp="1"/>
          </p:cNvGraphicFramePr>
          <p:nvPr/>
        </p:nvGraphicFramePr>
        <p:xfrm>
          <a:off x="4207431" y="1751138"/>
          <a:ext cx="302209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1049"/>
                <a:gridCol w="1511049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 1000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万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300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平米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3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18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02" b="8102"/>
          <a:stretch>
            <a:fillRect/>
          </a:stretch>
        </p:blipFill>
        <p:spPr>
          <a:xfrm>
            <a:off x="7761088" y="3934102"/>
            <a:ext cx="3022098" cy="18992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19" name="表格 14"/>
          <p:cNvGraphicFramePr>
            <a:graphicFrameLocks noGrp="1"/>
          </p:cNvGraphicFramePr>
          <p:nvPr/>
        </p:nvGraphicFramePr>
        <p:xfrm>
          <a:off x="4467637" y="4446586"/>
          <a:ext cx="302209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1049"/>
                <a:gridCol w="1511049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800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万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80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平米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5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22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sp>
        <p:nvSpPr>
          <p:cNvPr id="20" name="文本框 19"/>
          <p:cNvSpPr txBox="1"/>
          <p:nvPr/>
        </p:nvSpPr>
        <p:spPr>
          <a:xfrm>
            <a:off x="4588932" y="1065985"/>
            <a:ext cx="45026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太阳陶瓷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488267" y="3800974"/>
            <a:ext cx="4121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华瑞工业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286" y="1638427"/>
            <a:ext cx="2462140" cy="1846605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入园企业</a:t>
            </a:r>
            <a:endParaRPr lang="zh-CN" altLang="en-US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-2540000" y="4307050"/>
            <a:ext cx="13323186" cy="1971513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1185333" y="1626689"/>
            <a:ext cx="12723172" cy="1940404"/>
          </a:xfrm>
          <a:prstGeom prst="roundRect">
            <a:avLst/>
          </a:prstGeom>
          <a:gradFill flip="none" rotWithShape="1">
            <a:gsLst>
              <a:gs pos="0">
                <a:srgbClr val="6F9E52">
                  <a:alpha val="0"/>
                </a:srgbClr>
              </a:gs>
              <a:gs pos="29000">
                <a:srgbClr val="6F9E5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312019" y="1753164"/>
            <a:ext cx="4047253" cy="1751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博达集团是中国最早进⼊⾮洲市场的海外企业之⼀，主营纸尿裤制造⽣产，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⽇产量可达到</a:t>
            </a:r>
            <a:r>
              <a:rPr lang="en-US" altLang="zh-CN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300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万⽚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，是尼⽇利亚相关市场的强⼒竞争者。</a:t>
            </a:r>
            <a:endParaRPr lang="zh-CN" alt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67339" y="4446586"/>
            <a:ext cx="4121593" cy="17456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世纪⼯业属于广州森大集团旗下，投资额超过</a:t>
            </a:r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2000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万美元，旨在打造数条⾼端的纸尿裤⽣产线。投产不到一年，已占据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尼日利亚</a:t>
            </a:r>
            <a:r>
              <a:rPr lang="en-US" altLang="zh-CN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30%</a:t>
            </a:r>
            <a:r>
              <a:rPr lang="zh-CN" altLang="en-US" sz="20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以上的市场份额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。</a:t>
            </a:r>
            <a:endParaRPr lang="zh-CN" alt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14" name="表格 14"/>
          <p:cNvGraphicFramePr>
            <a:graphicFrameLocks noGrp="1"/>
          </p:cNvGraphicFramePr>
          <p:nvPr/>
        </p:nvGraphicFramePr>
        <p:xfrm>
          <a:off x="4207431" y="1751138"/>
          <a:ext cx="302209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1049"/>
                <a:gridCol w="1511049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 2000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万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400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平米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4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19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" b="40"/>
          <a:stretch>
            <a:fillRect/>
          </a:stretch>
        </p:blipFill>
        <p:spPr>
          <a:xfrm>
            <a:off x="1185333" y="1210881"/>
            <a:ext cx="3022098" cy="20159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8" b="2738"/>
          <a:stretch>
            <a:fillRect/>
          </a:stretch>
        </p:blipFill>
        <p:spPr>
          <a:xfrm>
            <a:off x="7761088" y="3934102"/>
            <a:ext cx="3022098" cy="18992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19" name="表格 14"/>
          <p:cNvGraphicFramePr>
            <a:graphicFrameLocks noGrp="1"/>
          </p:cNvGraphicFramePr>
          <p:nvPr/>
        </p:nvGraphicFramePr>
        <p:xfrm>
          <a:off x="4543251" y="4446586"/>
          <a:ext cx="2909888" cy="170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8749"/>
                <a:gridCol w="1611139"/>
              </a:tblGrid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投资规模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rgbClr val="FF0000"/>
                          </a:solidFill>
                        </a:rPr>
                        <a:t>  2000</a:t>
                      </a:r>
                      <a:r>
                        <a:rPr lang="zh-CN" altLang="en-US" dirty="0">
                          <a:solidFill>
                            <a:srgbClr val="FF0000"/>
                          </a:solidFill>
                        </a:rPr>
                        <a:t>万美元</a:t>
                      </a:r>
                      <a:endParaRPr lang="zh-CN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占地面积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4000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平米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当地员工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850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余人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  <a:tr h="427396">
                <a:tc>
                  <a:txBody>
                    <a:bodyPr/>
                    <a:lstStyle/>
                    <a:p>
                      <a:pPr algn="r"/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入驻时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solidFill>
                            <a:schemeClr val="bg1"/>
                          </a:solidFill>
                        </a:rPr>
                        <a:t>  2021</a:t>
                      </a:r>
                      <a:r>
                        <a:rPr lang="zh-CN" altLang="en-US" dirty="0">
                          <a:solidFill>
                            <a:schemeClr val="bg1"/>
                          </a:solidFill>
                        </a:rPr>
                        <a:t>年</a:t>
                      </a:r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F9E52"/>
                    </a:solidFill>
                  </a:tcPr>
                </a:tc>
              </a:tr>
            </a:tbl>
          </a:graphicData>
        </a:graphic>
      </p:graphicFrame>
      <p:sp>
        <p:nvSpPr>
          <p:cNvPr id="20" name="文本框 19"/>
          <p:cNvSpPr txBox="1"/>
          <p:nvPr/>
        </p:nvSpPr>
        <p:spPr>
          <a:xfrm>
            <a:off x="4588932" y="1065985"/>
            <a:ext cx="35306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博达工业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4106333" y="3800974"/>
            <a:ext cx="35035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n w="3175">
                  <a:noFill/>
                </a:ln>
                <a:solidFill>
                  <a:schemeClr val="accent1"/>
                </a:solidFill>
              </a:rPr>
              <a:t>世纪工业自贸区公司</a:t>
            </a:r>
            <a:endParaRPr lang="zh-CN" altLang="en-US" sz="2800" b="1" dirty="0">
              <a:ln w="3175">
                <a:noFill/>
              </a:ln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椭圆 29"/>
          <p:cNvSpPr/>
          <p:nvPr/>
        </p:nvSpPr>
        <p:spPr>
          <a:xfrm>
            <a:off x="4892558" y="972607"/>
            <a:ext cx="2448272" cy="244827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标题 4"/>
          <p:cNvSpPr txBox="1"/>
          <p:nvPr/>
        </p:nvSpPr>
        <p:spPr>
          <a:xfrm>
            <a:off x="4619625" y="3819525"/>
            <a:ext cx="2917825" cy="4737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尼日利亚投资环境</a:t>
            </a:r>
            <a:endParaRPr lang="zh-CN" altLang="en-US" sz="24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椭圆 53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椭圆 54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56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椭圆 58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椭圆 59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标题 4"/>
          <p:cNvSpPr txBox="1"/>
          <p:nvPr/>
        </p:nvSpPr>
        <p:spPr>
          <a:xfrm>
            <a:off x="4945459" y="2780928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章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椭圆 64"/>
          <p:cNvSpPr/>
          <p:nvPr/>
        </p:nvSpPr>
        <p:spPr>
          <a:xfrm>
            <a:off x="4996314" y="1076363"/>
            <a:ext cx="2240761" cy="2240761"/>
          </a:xfrm>
          <a:prstGeom prst="ellipse">
            <a:avLst/>
          </a:prstGeom>
          <a:noFill/>
          <a:ln w="31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6" name="直接连接符 65"/>
          <p:cNvCxnSpPr/>
          <p:nvPr/>
        </p:nvCxnSpPr>
        <p:spPr>
          <a:xfrm>
            <a:off x="4808413" y="4293096"/>
            <a:ext cx="2477306" cy="0"/>
          </a:xfrm>
          <a:prstGeom prst="line">
            <a:avLst/>
          </a:prstGeom>
          <a:ln>
            <a:solidFill>
              <a:srgbClr val="2C363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087" y="1118937"/>
            <a:ext cx="1905000" cy="1905000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6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65"/>
          <p:cNvSpPr/>
          <p:nvPr/>
        </p:nvSpPr>
        <p:spPr bwMode="auto">
          <a:xfrm>
            <a:off x="1529493" y="3780241"/>
            <a:ext cx="347296" cy="317419"/>
          </a:xfrm>
          <a:custGeom>
            <a:avLst/>
            <a:gdLst>
              <a:gd name="T0" fmla="*/ 0 w 445"/>
              <a:gd name="T1" fmla="*/ 8 h 429"/>
              <a:gd name="T2" fmla="*/ 1 w 445"/>
              <a:gd name="T3" fmla="*/ 2 h 429"/>
              <a:gd name="T4" fmla="*/ 2 w 445"/>
              <a:gd name="T5" fmla="*/ 0 h 429"/>
              <a:gd name="T6" fmla="*/ 6 w 445"/>
              <a:gd name="T7" fmla="*/ 1 h 429"/>
              <a:gd name="T8" fmla="*/ 9 w 445"/>
              <a:gd name="T9" fmla="*/ 0 h 429"/>
              <a:gd name="T10" fmla="*/ 10 w 445"/>
              <a:gd name="T11" fmla="*/ 1 h 429"/>
              <a:gd name="T12" fmla="*/ 10 w 445"/>
              <a:gd name="T13" fmla="*/ 2 h 429"/>
              <a:gd name="T14" fmla="*/ 9 w 445"/>
              <a:gd name="T15" fmla="*/ 3 h 429"/>
              <a:gd name="T16" fmla="*/ 7 w 445"/>
              <a:gd name="T17" fmla="*/ 8 h 429"/>
              <a:gd name="T18" fmla="*/ 6 w 445"/>
              <a:gd name="T19" fmla="*/ 7 h 429"/>
              <a:gd name="T20" fmla="*/ 5 w 445"/>
              <a:gd name="T21" fmla="*/ 9 h 429"/>
              <a:gd name="T22" fmla="*/ 3 w 445"/>
              <a:gd name="T23" fmla="*/ 10 h 429"/>
              <a:gd name="T24" fmla="*/ 2 w 445"/>
              <a:gd name="T25" fmla="*/ 8 h 429"/>
              <a:gd name="T26" fmla="*/ 0 w 445"/>
              <a:gd name="T27" fmla="*/ 8 h 42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45"/>
              <a:gd name="T43" fmla="*/ 0 h 429"/>
              <a:gd name="T44" fmla="*/ 445 w 445"/>
              <a:gd name="T45" fmla="*/ 429 h 42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45" h="429">
                <a:moveTo>
                  <a:pt x="0" y="335"/>
                </a:moveTo>
                <a:lnTo>
                  <a:pt x="29" y="95"/>
                </a:lnTo>
                <a:lnTo>
                  <a:pt x="78" y="2"/>
                </a:lnTo>
                <a:lnTo>
                  <a:pt x="249" y="49"/>
                </a:lnTo>
                <a:lnTo>
                  <a:pt x="398" y="0"/>
                </a:lnTo>
                <a:lnTo>
                  <a:pt x="428" y="57"/>
                </a:lnTo>
                <a:lnTo>
                  <a:pt x="445" y="95"/>
                </a:lnTo>
                <a:lnTo>
                  <a:pt x="406" y="130"/>
                </a:lnTo>
                <a:lnTo>
                  <a:pt x="323" y="324"/>
                </a:lnTo>
                <a:lnTo>
                  <a:pt x="252" y="312"/>
                </a:lnTo>
                <a:lnTo>
                  <a:pt x="214" y="404"/>
                </a:lnTo>
                <a:lnTo>
                  <a:pt x="128" y="429"/>
                </a:lnTo>
                <a:lnTo>
                  <a:pt x="78" y="347"/>
                </a:lnTo>
                <a:lnTo>
                  <a:pt x="0" y="33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Freeform 250"/>
          <p:cNvSpPr/>
          <p:nvPr/>
        </p:nvSpPr>
        <p:spPr bwMode="auto">
          <a:xfrm>
            <a:off x="10402570" y="3611245"/>
            <a:ext cx="43180" cy="13335"/>
          </a:xfrm>
          <a:custGeom>
            <a:avLst/>
            <a:gdLst>
              <a:gd name="T0" fmla="*/ 0 w 54"/>
              <a:gd name="T1" fmla="*/ 0 h 19"/>
              <a:gd name="T2" fmla="*/ 0 w 54"/>
              <a:gd name="T3" fmla="*/ 0 h 19"/>
              <a:gd name="T4" fmla="*/ 1 w 54"/>
              <a:gd name="T5" fmla="*/ 0 h 19"/>
              <a:gd name="T6" fmla="*/ 0 w 54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54"/>
              <a:gd name="T13" fmla="*/ 0 h 19"/>
              <a:gd name="T14" fmla="*/ 54 w 54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4" h="19">
                <a:moveTo>
                  <a:pt x="0" y="0"/>
                </a:moveTo>
                <a:lnTo>
                  <a:pt x="3" y="19"/>
                </a:lnTo>
                <a:lnTo>
                  <a:pt x="54" y="1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 251"/>
          <p:cNvSpPr/>
          <p:nvPr/>
        </p:nvSpPr>
        <p:spPr bwMode="auto">
          <a:xfrm>
            <a:off x="10219055" y="4933315"/>
            <a:ext cx="585470" cy="1151890"/>
          </a:xfrm>
          <a:custGeom>
            <a:avLst/>
            <a:gdLst>
              <a:gd name="T0" fmla="*/ 0 w 750"/>
              <a:gd name="T1" fmla="*/ 33 h 1564"/>
              <a:gd name="T2" fmla="*/ 0 w 750"/>
              <a:gd name="T3" fmla="*/ 34 h 1564"/>
              <a:gd name="T4" fmla="*/ 1 w 750"/>
              <a:gd name="T5" fmla="*/ 34 h 1564"/>
              <a:gd name="T6" fmla="*/ 1 w 750"/>
              <a:gd name="T7" fmla="*/ 36 h 1564"/>
              <a:gd name="T8" fmla="*/ 4 w 750"/>
              <a:gd name="T9" fmla="*/ 36 h 1564"/>
              <a:gd name="T10" fmla="*/ 3 w 750"/>
              <a:gd name="T11" fmla="*/ 35 h 1564"/>
              <a:gd name="T12" fmla="*/ 4 w 750"/>
              <a:gd name="T13" fmla="*/ 33 h 1564"/>
              <a:gd name="T14" fmla="*/ 5 w 750"/>
              <a:gd name="T15" fmla="*/ 33 h 1564"/>
              <a:gd name="T16" fmla="*/ 7 w 750"/>
              <a:gd name="T17" fmla="*/ 30 h 1564"/>
              <a:gd name="T18" fmla="*/ 5 w 750"/>
              <a:gd name="T19" fmla="*/ 28 h 1564"/>
              <a:gd name="T20" fmla="*/ 7 w 750"/>
              <a:gd name="T21" fmla="*/ 27 h 1564"/>
              <a:gd name="T22" fmla="*/ 7 w 750"/>
              <a:gd name="T23" fmla="*/ 25 h 1564"/>
              <a:gd name="T24" fmla="*/ 8 w 750"/>
              <a:gd name="T25" fmla="*/ 24 h 1564"/>
              <a:gd name="T26" fmla="*/ 7 w 750"/>
              <a:gd name="T27" fmla="*/ 24 h 1564"/>
              <a:gd name="T28" fmla="*/ 9 w 750"/>
              <a:gd name="T29" fmla="*/ 24 h 1564"/>
              <a:gd name="T30" fmla="*/ 9 w 750"/>
              <a:gd name="T31" fmla="*/ 23 h 1564"/>
              <a:gd name="T32" fmla="*/ 8 w 750"/>
              <a:gd name="T33" fmla="*/ 24 h 1564"/>
              <a:gd name="T34" fmla="*/ 7 w 750"/>
              <a:gd name="T35" fmla="*/ 23 h 1564"/>
              <a:gd name="T36" fmla="*/ 7 w 750"/>
              <a:gd name="T37" fmla="*/ 22 h 1564"/>
              <a:gd name="T38" fmla="*/ 10 w 750"/>
              <a:gd name="T39" fmla="*/ 22 h 1564"/>
              <a:gd name="T40" fmla="*/ 10 w 750"/>
              <a:gd name="T41" fmla="*/ 19 h 1564"/>
              <a:gd name="T42" fmla="*/ 14 w 750"/>
              <a:gd name="T43" fmla="*/ 19 h 1564"/>
              <a:gd name="T44" fmla="*/ 15 w 750"/>
              <a:gd name="T45" fmla="*/ 17 h 1564"/>
              <a:gd name="T46" fmla="*/ 13 w 750"/>
              <a:gd name="T47" fmla="*/ 13 h 1564"/>
              <a:gd name="T48" fmla="*/ 14 w 750"/>
              <a:gd name="T49" fmla="*/ 9 h 1564"/>
              <a:gd name="T50" fmla="*/ 17 w 750"/>
              <a:gd name="T51" fmla="*/ 6 h 1564"/>
              <a:gd name="T52" fmla="*/ 17 w 750"/>
              <a:gd name="T53" fmla="*/ 4 h 1564"/>
              <a:gd name="T54" fmla="*/ 17 w 750"/>
              <a:gd name="T55" fmla="*/ 4 h 1564"/>
              <a:gd name="T56" fmla="*/ 16 w 750"/>
              <a:gd name="T57" fmla="*/ 6 h 1564"/>
              <a:gd name="T58" fmla="*/ 13 w 750"/>
              <a:gd name="T59" fmla="*/ 6 h 1564"/>
              <a:gd name="T60" fmla="*/ 14 w 750"/>
              <a:gd name="T61" fmla="*/ 4 h 1564"/>
              <a:gd name="T62" fmla="*/ 10 w 750"/>
              <a:gd name="T63" fmla="*/ 1 h 1564"/>
              <a:gd name="T64" fmla="*/ 8 w 750"/>
              <a:gd name="T65" fmla="*/ 0 h 1564"/>
              <a:gd name="T66" fmla="*/ 8 w 750"/>
              <a:gd name="T67" fmla="*/ 1 h 1564"/>
              <a:gd name="T68" fmla="*/ 7 w 750"/>
              <a:gd name="T69" fmla="*/ 0 h 1564"/>
              <a:gd name="T70" fmla="*/ 5 w 750"/>
              <a:gd name="T71" fmla="*/ 1 h 1564"/>
              <a:gd name="T72" fmla="*/ 5 w 750"/>
              <a:gd name="T73" fmla="*/ 3 h 1564"/>
              <a:gd name="T74" fmla="*/ 4 w 750"/>
              <a:gd name="T75" fmla="*/ 3 h 1564"/>
              <a:gd name="T76" fmla="*/ 4 w 750"/>
              <a:gd name="T77" fmla="*/ 5 h 1564"/>
              <a:gd name="T78" fmla="*/ 3 w 750"/>
              <a:gd name="T79" fmla="*/ 7 h 1564"/>
              <a:gd name="T80" fmla="*/ 3 w 750"/>
              <a:gd name="T81" fmla="*/ 11 h 1564"/>
              <a:gd name="T82" fmla="*/ 3 w 750"/>
              <a:gd name="T83" fmla="*/ 14 h 1564"/>
              <a:gd name="T84" fmla="*/ 2 w 750"/>
              <a:gd name="T85" fmla="*/ 17 h 1564"/>
              <a:gd name="T86" fmla="*/ 1 w 750"/>
              <a:gd name="T87" fmla="*/ 24 h 1564"/>
              <a:gd name="T88" fmla="*/ 2 w 750"/>
              <a:gd name="T89" fmla="*/ 26 h 1564"/>
              <a:gd name="T90" fmla="*/ 1 w 750"/>
              <a:gd name="T91" fmla="*/ 27 h 1564"/>
              <a:gd name="T92" fmla="*/ 1 w 750"/>
              <a:gd name="T93" fmla="*/ 29 h 1564"/>
              <a:gd name="T94" fmla="*/ 0 w 750"/>
              <a:gd name="T95" fmla="*/ 33 h 156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50"/>
              <a:gd name="T145" fmla="*/ 0 h 1564"/>
              <a:gd name="T146" fmla="*/ 750 w 750"/>
              <a:gd name="T147" fmla="*/ 1564 h 156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50" h="1564">
                <a:moveTo>
                  <a:pt x="0" y="1446"/>
                </a:moveTo>
                <a:lnTo>
                  <a:pt x="7" y="1480"/>
                </a:lnTo>
                <a:lnTo>
                  <a:pt x="38" y="1467"/>
                </a:lnTo>
                <a:lnTo>
                  <a:pt x="52" y="1546"/>
                </a:lnTo>
                <a:lnTo>
                  <a:pt x="188" y="1564"/>
                </a:lnTo>
                <a:lnTo>
                  <a:pt x="152" y="1523"/>
                </a:lnTo>
                <a:lnTo>
                  <a:pt x="181" y="1418"/>
                </a:lnTo>
                <a:lnTo>
                  <a:pt x="206" y="1438"/>
                </a:lnTo>
                <a:lnTo>
                  <a:pt x="290" y="1288"/>
                </a:lnTo>
                <a:lnTo>
                  <a:pt x="226" y="1205"/>
                </a:lnTo>
                <a:lnTo>
                  <a:pt x="299" y="1154"/>
                </a:lnTo>
                <a:lnTo>
                  <a:pt x="311" y="1077"/>
                </a:lnTo>
                <a:lnTo>
                  <a:pt x="345" y="1044"/>
                </a:lnTo>
                <a:lnTo>
                  <a:pt x="317" y="1030"/>
                </a:lnTo>
                <a:lnTo>
                  <a:pt x="374" y="1030"/>
                </a:lnTo>
                <a:lnTo>
                  <a:pt x="368" y="992"/>
                </a:lnTo>
                <a:lnTo>
                  <a:pt x="341" y="1019"/>
                </a:lnTo>
                <a:lnTo>
                  <a:pt x="317" y="990"/>
                </a:lnTo>
                <a:lnTo>
                  <a:pt x="313" y="932"/>
                </a:lnTo>
                <a:lnTo>
                  <a:pt x="415" y="939"/>
                </a:lnTo>
                <a:lnTo>
                  <a:pt x="425" y="824"/>
                </a:lnTo>
                <a:lnTo>
                  <a:pt x="587" y="806"/>
                </a:lnTo>
                <a:lnTo>
                  <a:pt x="634" y="725"/>
                </a:lnTo>
                <a:lnTo>
                  <a:pt x="570" y="582"/>
                </a:lnTo>
                <a:lnTo>
                  <a:pt x="601" y="398"/>
                </a:lnTo>
                <a:lnTo>
                  <a:pt x="750" y="249"/>
                </a:lnTo>
                <a:lnTo>
                  <a:pt x="744" y="181"/>
                </a:lnTo>
                <a:lnTo>
                  <a:pt x="718" y="179"/>
                </a:lnTo>
                <a:lnTo>
                  <a:pt x="676" y="261"/>
                </a:lnTo>
                <a:lnTo>
                  <a:pt x="572" y="255"/>
                </a:lnTo>
                <a:lnTo>
                  <a:pt x="593" y="165"/>
                </a:lnTo>
                <a:lnTo>
                  <a:pt x="413" y="25"/>
                </a:lnTo>
                <a:lnTo>
                  <a:pt x="350" y="14"/>
                </a:lnTo>
                <a:lnTo>
                  <a:pt x="344" y="42"/>
                </a:lnTo>
                <a:lnTo>
                  <a:pt x="276" y="0"/>
                </a:lnTo>
                <a:lnTo>
                  <a:pt x="234" y="52"/>
                </a:lnTo>
                <a:lnTo>
                  <a:pt x="229" y="107"/>
                </a:lnTo>
                <a:lnTo>
                  <a:pt x="187" y="130"/>
                </a:lnTo>
                <a:lnTo>
                  <a:pt x="188" y="238"/>
                </a:lnTo>
                <a:lnTo>
                  <a:pt x="143" y="299"/>
                </a:lnTo>
                <a:lnTo>
                  <a:pt x="109" y="451"/>
                </a:lnTo>
                <a:lnTo>
                  <a:pt x="135" y="594"/>
                </a:lnTo>
                <a:lnTo>
                  <a:pt x="85" y="716"/>
                </a:lnTo>
                <a:lnTo>
                  <a:pt x="52" y="1021"/>
                </a:lnTo>
                <a:lnTo>
                  <a:pt x="79" y="1132"/>
                </a:lnTo>
                <a:lnTo>
                  <a:pt x="54" y="1142"/>
                </a:lnTo>
                <a:lnTo>
                  <a:pt x="65" y="1241"/>
                </a:lnTo>
                <a:lnTo>
                  <a:pt x="0" y="144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252"/>
          <p:cNvSpPr/>
          <p:nvPr/>
        </p:nvSpPr>
        <p:spPr bwMode="auto">
          <a:xfrm>
            <a:off x="10361295" y="6104255"/>
            <a:ext cx="100965" cy="95885"/>
          </a:xfrm>
          <a:custGeom>
            <a:avLst/>
            <a:gdLst>
              <a:gd name="T0" fmla="*/ 0 w 132"/>
              <a:gd name="T1" fmla="*/ 0 h 134"/>
              <a:gd name="T2" fmla="*/ 0 w 132"/>
              <a:gd name="T3" fmla="*/ 3 h 134"/>
              <a:gd name="T4" fmla="*/ 3 w 132"/>
              <a:gd name="T5" fmla="*/ 2 h 134"/>
              <a:gd name="T6" fmla="*/ 1 w 132"/>
              <a:gd name="T7" fmla="*/ 1 h 134"/>
              <a:gd name="T8" fmla="*/ 0 w 132"/>
              <a:gd name="T9" fmla="*/ 0 h 1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2"/>
              <a:gd name="T16" fmla="*/ 0 h 134"/>
              <a:gd name="T17" fmla="*/ 132 w 132"/>
              <a:gd name="T18" fmla="*/ 134 h 1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2" h="134">
                <a:moveTo>
                  <a:pt x="0" y="0"/>
                </a:moveTo>
                <a:lnTo>
                  <a:pt x="2" y="134"/>
                </a:lnTo>
                <a:lnTo>
                  <a:pt x="132" y="119"/>
                </a:lnTo>
                <a:lnTo>
                  <a:pt x="29" y="64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253"/>
          <p:cNvSpPr/>
          <p:nvPr/>
        </p:nvSpPr>
        <p:spPr bwMode="auto">
          <a:xfrm>
            <a:off x="10331450" y="4528185"/>
            <a:ext cx="352425" cy="443865"/>
          </a:xfrm>
          <a:custGeom>
            <a:avLst/>
            <a:gdLst>
              <a:gd name="T0" fmla="*/ 0 w 454"/>
              <a:gd name="T1" fmla="*/ 1 h 601"/>
              <a:gd name="T2" fmla="*/ 1 w 454"/>
              <a:gd name="T3" fmla="*/ 3 h 601"/>
              <a:gd name="T4" fmla="*/ 0 w 454"/>
              <a:gd name="T5" fmla="*/ 6 h 601"/>
              <a:gd name="T6" fmla="*/ 1 w 454"/>
              <a:gd name="T7" fmla="*/ 7 h 601"/>
              <a:gd name="T8" fmla="*/ 1 w 454"/>
              <a:gd name="T9" fmla="*/ 7 h 601"/>
              <a:gd name="T10" fmla="*/ 0 w 454"/>
              <a:gd name="T11" fmla="*/ 8 h 601"/>
              <a:gd name="T12" fmla="*/ 1 w 454"/>
              <a:gd name="T13" fmla="*/ 10 h 601"/>
              <a:gd name="T14" fmla="*/ 1 w 454"/>
              <a:gd name="T15" fmla="*/ 14 h 601"/>
              <a:gd name="T16" fmla="*/ 2 w 454"/>
              <a:gd name="T17" fmla="*/ 14 h 601"/>
              <a:gd name="T18" fmla="*/ 3 w 454"/>
              <a:gd name="T19" fmla="*/ 13 h 601"/>
              <a:gd name="T20" fmla="*/ 5 w 454"/>
              <a:gd name="T21" fmla="*/ 14 h 601"/>
              <a:gd name="T22" fmla="*/ 5 w 454"/>
              <a:gd name="T23" fmla="*/ 13 h 601"/>
              <a:gd name="T24" fmla="*/ 6 w 454"/>
              <a:gd name="T25" fmla="*/ 13 h 601"/>
              <a:gd name="T26" fmla="*/ 7 w 454"/>
              <a:gd name="T27" fmla="*/ 11 h 601"/>
              <a:gd name="T28" fmla="*/ 9 w 454"/>
              <a:gd name="T29" fmla="*/ 10 h 601"/>
              <a:gd name="T30" fmla="*/ 10 w 454"/>
              <a:gd name="T31" fmla="*/ 11 h 601"/>
              <a:gd name="T32" fmla="*/ 11 w 454"/>
              <a:gd name="T33" fmla="*/ 9 h 601"/>
              <a:gd name="T34" fmla="*/ 10 w 454"/>
              <a:gd name="T35" fmla="*/ 7 h 601"/>
              <a:gd name="T36" fmla="*/ 9 w 454"/>
              <a:gd name="T37" fmla="*/ 7 h 601"/>
              <a:gd name="T38" fmla="*/ 8 w 454"/>
              <a:gd name="T39" fmla="*/ 4 h 601"/>
              <a:gd name="T40" fmla="*/ 4 w 454"/>
              <a:gd name="T41" fmla="*/ 2 h 601"/>
              <a:gd name="T42" fmla="*/ 4 w 454"/>
              <a:gd name="T43" fmla="*/ 0 h 601"/>
              <a:gd name="T44" fmla="*/ 1 w 454"/>
              <a:gd name="T45" fmla="*/ 1 h 601"/>
              <a:gd name="T46" fmla="*/ 0 w 454"/>
              <a:gd name="T47" fmla="*/ 1 h 60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54"/>
              <a:gd name="T73" fmla="*/ 0 h 601"/>
              <a:gd name="T74" fmla="*/ 454 w 454"/>
              <a:gd name="T75" fmla="*/ 601 h 60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54" h="601">
                <a:moveTo>
                  <a:pt x="0" y="61"/>
                </a:moveTo>
                <a:lnTo>
                  <a:pt x="32" y="123"/>
                </a:lnTo>
                <a:lnTo>
                  <a:pt x="11" y="262"/>
                </a:lnTo>
                <a:lnTo>
                  <a:pt x="32" y="277"/>
                </a:lnTo>
                <a:lnTo>
                  <a:pt x="24" y="295"/>
                </a:lnTo>
                <a:lnTo>
                  <a:pt x="2" y="352"/>
                </a:lnTo>
                <a:lnTo>
                  <a:pt x="42" y="433"/>
                </a:lnTo>
                <a:lnTo>
                  <a:pt x="65" y="598"/>
                </a:lnTo>
                <a:lnTo>
                  <a:pt x="93" y="601"/>
                </a:lnTo>
                <a:lnTo>
                  <a:pt x="135" y="549"/>
                </a:lnTo>
                <a:lnTo>
                  <a:pt x="203" y="591"/>
                </a:lnTo>
                <a:lnTo>
                  <a:pt x="209" y="563"/>
                </a:lnTo>
                <a:lnTo>
                  <a:pt x="272" y="574"/>
                </a:lnTo>
                <a:lnTo>
                  <a:pt x="293" y="456"/>
                </a:lnTo>
                <a:lnTo>
                  <a:pt x="406" y="433"/>
                </a:lnTo>
                <a:lnTo>
                  <a:pt x="441" y="472"/>
                </a:lnTo>
                <a:lnTo>
                  <a:pt x="454" y="381"/>
                </a:lnTo>
                <a:lnTo>
                  <a:pt x="431" y="302"/>
                </a:lnTo>
                <a:lnTo>
                  <a:pt x="366" y="298"/>
                </a:lnTo>
                <a:lnTo>
                  <a:pt x="342" y="180"/>
                </a:lnTo>
                <a:lnTo>
                  <a:pt x="170" y="100"/>
                </a:lnTo>
                <a:lnTo>
                  <a:pt x="159" y="0"/>
                </a:lnTo>
                <a:lnTo>
                  <a:pt x="46" y="65"/>
                </a:lnTo>
                <a:lnTo>
                  <a:pt x="0" y="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254"/>
          <p:cNvSpPr/>
          <p:nvPr/>
        </p:nvSpPr>
        <p:spPr bwMode="auto">
          <a:xfrm>
            <a:off x="10205720" y="4050030"/>
            <a:ext cx="1159510" cy="1301750"/>
          </a:xfrm>
          <a:custGeom>
            <a:avLst/>
            <a:gdLst>
              <a:gd name="T0" fmla="*/ 1 w 1487"/>
              <a:gd name="T1" fmla="*/ 15 h 1768"/>
              <a:gd name="T2" fmla="*/ 3 w 1487"/>
              <a:gd name="T3" fmla="*/ 15 h 1768"/>
              <a:gd name="T4" fmla="*/ 4 w 1487"/>
              <a:gd name="T5" fmla="*/ 17 h 1768"/>
              <a:gd name="T6" fmla="*/ 7 w 1487"/>
              <a:gd name="T7" fmla="*/ 15 h 1768"/>
              <a:gd name="T8" fmla="*/ 11 w 1487"/>
              <a:gd name="T9" fmla="*/ 19 h 1768"/>
              <a:gd name="T10" fmla="*/ 14 w 1487"/>
              <a:gd name="T11" fmla="*/ 22 h 1768"/>
              <a:gd name="T12" fmla="*/ 14 w 1487"/>
              <a:gd name="T13" fmla="*/ 26 h 1768"/>
              <a:gd name="T14" fmla="*/ 16 w 1487"/>
              <a:gd name="T15" fmla="*/ 29 h 1768"/>
              <a:gd name="T16" fmla="*/ 17 w 1487"/>
              <a:gd name="T17" fmla="*/ 30 h 1768"/>
              <a:gd name="T18" fmla="*/ 18 w 1487"/>
              <a:gd name="T19" fmla="*/ 32 h 1768"/>
              <a:gd name="T20" fmla="*/ 14 w 1487"/>
              <a:gd name="T21" fmla="*/ 37 h 1768"/>
              <a:gd name="T22" fmla="*/ 18 w 1487"/>
              <a:gd name="T23" fmla="*/ 39 h 1768"/>
              <a:gd name="T24" fmla="*/ 18 w 1487"/>
              <a:gd name="T25" fmla="*/ 41 h 1768"/>
              <a:gd name="T26" fmla="*/ 23 w 1487"/>
              <a:gd name="T27" fmla="*/ 32 h 1768"/>
              <a:gd name="T28" fmla="*/ 28 w 1487"/>
              <a:gd name="T29" fmla="*/ 29 h 1768"/>
              <a:gd name="T30" fmla="*/ 31 w 1487"/>
              <a:gd name="T31" fmla="*/ 23 h 1768"/>
              <a:gd name="T32" fmla="*/ 34 w 1487"/>
              <a:gd name="T33" fmla="*/ 15 h 1768"/>
              <a:gd name="T34" fmla="*/ 34 w 1487"/>
              <a:gd name="T35" fmla="*/ 11 h 1768"/>
              <a:gd name="T36" fmla="*/ 30 w 1487"/>
              <a:gd name="T37" fmla="*/ 8 h 1768"/>
              <a:gd name="T38" fmla="*/ 26 w 1487"/>
              <a:gd name="T39" fmla="*/ 7 h 1768"/>
              <a:gd name="T40" fmla="*/ 23 w 1487"/>
              <a:gd name="T41" fmla="*/ 6 h 1768"/>
              <a:gd name="T42" fmla="*/ 22 w 1487"/>
              <a:gd name="T43" fmla="*/ 7 h 1768"/>
              <a:gd name="T44" fmla="*/ 21 w 1487"/>
              <a:gd name="T45" fmla="*/ 7 h 1768"/>
              <a:gd name="T46" fmla="*/ 21 w 1487"/>
              <a:gd name="T47" fmla="*/ 4 h 1768"/>
              <a:gd name="T48" fmla="*/ 19 w 1487"/>
              <a:gd name="T49" fmla="*/ 3 h 1768"/>
              <a:gd name="T50" fmla="*/ 15 w 1487"/>
              <a:gd name="T51" fmla="*/ 3 h 1768"/>
              <a:gd name="T52" fmla="*/ 12 w 1487"/>
              <a:gd name="T53" fmla="*/ 3 h 1768"/>
              <a:gd name="T54" fmla="*/ 12 w 1487"/>
              <a:gd name="T55" fmla="*/ 0 h 1768"/>
              <a:gd name="T56" fmla="*/ 8 w 1487"/>
              <a:gd name="T57" fmla="*/ 1 h 1768"/>
              <a:gd name="T58" fmla="*/ 9 w 1487"/>
              <a:gd name="T59" fmla="*/ 3 h 1768"/>
              <a:gd name="T60" fmla="*/ 6 w 1487"/>
              <a:gd name="T61" fmla="*/ 4 h 1768"/>
              <a:gd name="T62" fmla="*/ 4 w 1487"/>
              <a:gd name="T63" fmla="*/ 4 h 1768"/>
              <a:gd name="T64" fmla="*/ 3 w 1487"/>
              <a:gd name="T65" fmla="*/ 5 h 1768"/>
              <a:gd name="T66" fmla="*/ 3 w 1487"/>
              <a:gd name="T67" fmla="*/ 9 h 1768"/>
              <a:gd name="T68" fmla="*/ 0 w 1487"/>
              <a:gd name="T69" fmla="*/ 13 h 176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487"/>
              <a:gd name="T106" fmla="*/ 0 h 1768"/>
              <a:gd name="T107" fmla="*/ 1487 w 1487"/>
              <a:gd name="T108" fmla="*/ 1768 h 176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487" h="1768">
                <a:moveTo>
                  <a:pt x="0" y="559"/>
                </a:moveTo>
                <a:lnTo>
                  <a:pt x="31" y="642"/>
                </a:lnTo>
                <a:lnTo>
                  <a:pt x="82" y="670"/>
                </a:lnTo>
                <a:lnTo>
                  <a:pt x="125" y="637"/>
                </a:lnTo>
                <a:lnTo>
                  <a:pt x="125" y="712"/>
                </a:lnTo>
                <a:lnTo>
                  <a:pt x="157" y="712"/>
                </a:lnTo>
                <a:lnTo>
                  <a:pt x="203" y="716"/>
                </a:lnTo>
                <a:lnTo>
                  <a:pt x="316" y="651"/>
                </a:lnTo>
                <a:lnTo>
                  <a:pt x="327" y="751"/>
                </a:lnTo>
                <a:lnTo>
                  <a:pt x="499" y="831"/>
                </a:lnTo>
                <a:lnTo>
                  <a:pt x="523" y="949"/>
                </a:lnTo>
                <a:lnTo>
                  <a:pt x="588" y="953"/>
                </a:lnTo>
                <a:lnTo>
                  <a:pt x="611" y="1032"/>
                </a:lnTo>
                <a:lnTo>
                  <a:pt x="598" y="1123"/>
                </a:lnTo>
                <a:lnTo>
                  <a:pt x="606" y="1214"/>
                </a:lnTo>
                <a:lnTo>
                  <a:pt x="689" y="1227"/>
                </a:lnTo>
                <a:lnTo>
                  <a:pt x="699" y="1289"/>
                </a:lnTo>
                <a:lnTo>
                  <a:pt x="740" y="1302"/>
                </a:lnTo>
                <a:lnTo>
                  <a:pt x="734" y="1379"/>
                </a:lnTo>
                <a:lnTo>
                  <a:pt x="760" y="1381"/>
                </a:lnTo>
                <a:lnTo>
                  <a:pt x="766" y="1449"/>
                </a:lnTo>
                <a:lnTo>
                  <a:pt x="617" y="1598"/>
                </a:lnTo>
                <a:lnTo>
                  <a:pt x="648" y="1590"/>
                </a:lnTo>
                <a:lnTo>
                  <a:pt x="760" y="1684"/>
                </a:lnTo>
                <a:lnTo>
                  <a:pt x="785" y="1721"/>
                </a:lnTo>
                <a:lnTo>
                  <a:pt x="775" y="1768"/>
                </a:lnTo>
                <a:lnTo>
                  <a:pt x="959" y="1503"/>
                </a:lnTo>
                <a:lnTo>
                  <a:pt x="969" y="1372"/>
                </a:lnTo>
                <a:lnTo>
                  <a:pt x="1112" y="1252"/>
                </a:lnTo>
                <a:lnTo>
                  <a:pt x="1205" y="1252"/>
                </a:lnTo>
                <a:lnTo>
                  <a:pt x="1245" y="1210"/>
                </a:lnTo>
                <a:lnTo>
                  <a:pt x="1320" y="1009"/>
                </a:lnTo>
                <a:lnTo>
                  <a:pt x="1330" y="811"/>
                </a:lnTo>
                <a:lnTo>
                  <a:pt x="1473" y="623"/>
                </a:lnTo>
                <a:lnTo>
                  <a:pt x="1487" y="541"/>
                </a:lnTo>
                <a:lnTo>
                  <a:pt x="1465" y="459"/>
                </a:lnTo>
                <a:lnTo>
                  <a:pt x="1406" y="449"/>
                </a:lnTo>
                <a:lnTo>
                  <a:pt x="1309" y="363"/>
                </a:lnTo>
                <a:lnTo>
                  <a:pt x="1120" y="347"/>
                </a:lnTo>
                <a:lnTo>
                  <a:pt x="1105" y="295"/>
                </a:lnTo>
                <a:lnTo>
                  <a:pt x="1019" y="256"/>
                </a:lnTo>
                <a:lnTo>
                  <a:pt x="983" y="257"/>
                </a:lnTo>
                <a:lnTo>
                  <a:pt x="932" y="336"/>
                </a:lnTo>
                <a:lnTo>
                  <a:pt x="931" y="309"/>
                </a:lnTo>
                <a:lnTo>
                  <a:pt x="852" y="321"/>
                </a:lnTo>
                <a:lnTo>
                  <a:pt x="886" y="307"/>
                </a:lnTo>
                <a:lnTo>
                  <a:pt x="854" y="245"/>
                </a:lnTo>
                <a:lnTo>
                  <a:pt x="914" y="160"/>
                </a:lnTo>
                <a:lnTo>
                  <a:pt x="851" y="50"/>
                </a:lnTo>
                <a:lnTo>
                  <a:pt x="796" y="137"/>
                </a:lnTo>
                <a:lnTo>
                  <a:pt x="744" y="132"/>
                </a:lnTo>
                <a:lnTo>
                  <a:pt x="660" y="144"/>
                </a:lnTo>
                <a:lnTo>
                  <a:pt x="554" y="161"/>
                </a:lnTo>
                <a:lnTo>
                  <a:pt x="531" y="115"/>
                </a:lnTo>
                <a:lnTo>
                  <a:pt x="538" y="31"/>
                </a:lnTo>
                <a:lnTo>
                  <a:pt x="509" y="0"/>
                </a:lnTo>
                <a:lnTo>
                  <a:pt x="409" y="53"/>
                </a:lnTo>
                <a:lnTo>
                  <a:pt x="347" y="37"/>
                </a:lnTo>
                <a:lnTo>
                  <a:pt x="363" y="122"/>
                </a:lnTo>
                <a:lnTo>
                  <a:pt x="401" y="133"/>
                </a:lnTo>
                <a:lnTo>
                  <a:pt x="306" y="192"/>
                </a:lnTo>
                <a:lnTo>
                  <a:pt x="265" y="171"/>
                </a:lnTo>
                <a:lnTo>
                  <a:pt x="243" y="141"/>
                </a:lnTo>
                <a:lnTo>
                  <a:pt x="155" y="157"/>
                </a:lnTo>
                <a:lnTo>
                  <a:pt x="181" y="202"/>
                </a:lnTo>
                <a:lnTo>
                  <a:pt x="144" y="205"/>
                </a:lnTo>
                <a:lnTo>
                  <a:pt x="165" y="284"/>
                </a:lnTo>
                <a:lnTo>
                  <a:pt x="148" y="410"/>
                </a:lnTo>
                <a:lnTo>
                  <a:pt x="51" y="458"/>
                </a:lnTo>
                <a:lnTo>
                  <a:pt x="0" y="55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255"/>
          <p:cNvSpPr/>
          <p:nvPr/>
        </p:nvSpPr>
        <p:spPr bwMode="auto">
          <a:xfrm>
            <a:off x="9751695" y="3611245"/>
            <a:ext cx="21590" cy="85725"/>
          </a:xfrm>
          <a:custGeom>
            <a:avLst/>
            <a:gdLst>
              <a:gd name="T0" fmla="*/ 0 w 31"/>
              <a:gd name="T1" fmla="*/ 1 h 115"/>
              <a:gd name="T2" fmla="*/ 0 w 31"/>
              <a:gd name="T3" fmla="*/ 3 h 115"/>
              <a:gd name="T4" fmla="*/ 1 w 31"/>
              <a:gd name="T5" fmla="*/ 0 h 115"/>
              <a:gd name="T6" fmla="*/ 0 w 31"/>
              <a:gd name="T7" fmla="*/ 1 h 115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15"/>
              <a:gd name="T14" fmla="*/ 31 w 31"/>
              <a:gd name="T15" fmla="*/ 115 h 1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15">
                <a:moveTo>
                  <a:pt x="0" y="25"/>
                </a:moveTo>
                <a:lnTo>
                  <a:pt x="11" y="115"/>
                </a:lnTo>
                <a:lnTo>
                  <a:pt x="31" y="0"/>
                </a:lnTo>
                <a:lnTo>
                  <a:pt x="0" y="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56"/>
          <p:cNvSpPr/>
          <p:nvPr/>
        </p:nvSpPr>
        <p:spPr bwMode="auto">
          <a:xfrm>
            <a:off x="8206740" y="1354455"/>
            <a:ext cx="2540000" cy="1417955"/>
          </a:xfrm>
          <a:custGeom>
            <a:avLst/>
            <a:gdLst>
              <a:gd name="T0" fmla="*/ 6 w 3259"/>
              <a:gd name="T1" fmla="*/ 5 h 1930"/>
              <a:gd name="T2" fmla="*/ 9 w 3259"/>
              <a:gd name="T3" fmla="*/ 5 h 1930"/>
              <a:gd name="T4" fmla="*/ 13 w 3259"/>
              <a:gd name="T5" fmla="*/ 5 h 1930"/>
              <a:gd name="T6" fmla="*/ 21 w 3259"/>
              <a:gd name="T7" fmla="*/ 5 h 1930"/>
              <a:gd name="T8" fmla="*/ 23 w 3259"/>
              <a:gd name="T9" fmla="*/ 7 h 1930"/>
              <a:gd name="T10" fmla="*/ 30 w 3259"/>
              <a:gd name="T11" fmla="*/ 9 h 1930"/>
              <a:gd name="T12" fmla="*/ 29 w 3259"/>
              <a:gd name="T13" fmla="*/ 7 h 1930"/>
              <a:gd name="T14" fmla="*/ 34 w 3259"/>
              <a:gd name="T15" fmla="*/ 8 h 1930"/>
              <a:gd name="T16" fmla="*/ 39 w 3259"/>
              <a:gd name="T17" fmla="*/ 7 h 1930"/>
              <a:gd name="T18" fmla="*/ 39 w 3259"/>
              <a:gd name="T19" fmla="*/ 7 h 1930"/>
              <a:gd name="T20" fmla="*/ 40 w 3259"/>
              <a:gd name="T21" fmla="*/ 7 h 1930"/>
              <a:gd name="T22" fmla="*/ 42 w 3259"/>
              <a:gd name="T23" fmla="*/ 5 h 1930"/>
              <a:gd name="T24" fmla="*/ 40 w 3259"/>
              <a:gd name="T25" fmla="*/ 0 h 1930"/>
              <a:gd name="T26" fmla="*/ 43 w 3259"/>
              <a:gd name="T27" fmla="*/ 3 h 1930"/>
              <a:gd name="T28" fmla="*/ 44 w 3259"/>
              <a:gd name="T29" fmla="*/ 5 h 1930"/>
              <a:gd name="T30" fmla="*/ 47 w 3259"/>
              <a:gd name="T31" fmla="*/ 7 h 1930"/>
              <a:gd name="T32" fmla="*/ 49 w 3259"/>
              <a:gd name="T33" fmla="*/ 6 h 1930"/>
              <a:gd name="T34" fmla="*/ 53 w 3259"/>
              <a:gd name="T35" fmla="*/ 5 h 1930"/>
              <a:gd name="T36" fmla="*/ 53 w 3259"/>
              <a:gd name="T37" fmla="*/ 9 h 1930"/>
              <a:gd name="T38" fmla="*/ 48 w 3259"/>
              <a:gd name="T39" fmla="*/ 10 h 1930"/>
              <a:gd name="T40" fmla="*/ 46 w 3259"/>
              <a:gd name="T41" fmla="*/ 12 h 1930"/>
              <a:gd name="T42" fmla="*/ 44 w 3259"/>
              <a:gd name="T43" fmla="*/ 15 h 1930"/>
              <a:gd name="T44" fmla="*/ 43 w 3259"/>
              <a:gd name="T45" fmla="*/ 16 h 1930"/>
              <a:gd name="T46" fmla="*/ 41 w 3259"/>
              <a:gd name="T47" fmla="*/ 18 h 1930"/>
              <a:gd name="T48" fmla="*/ 43 w 3259"/>
              <a:gd name="T49" fmla="*/ 24 h 1930"/>
              <a:gd name="T50" fmla="*/ 49 w 3259"/>
              <a:gd name="T51" fmla="*/ 28 h 1930"/>
              <a:gd name="T52" fmla="*/ 52 w 3259"/>
              <a:gd name="T53" fmla="*/ 31 h 1930"/>
              <a:gd name="T54" fmla="*/ 54 w 3259"/>
              <a:gd name="T55" fmla="*/ 33 h 1930"/>
              <a:gd name="T56" fmla="*/ 57 w 3259"/>
              <a:gd name="T57" fmla="*/ 26 h 1930"/>
              <a:gd name="T58" fmla="*/ 56 w 3259"/>
              <a:gd name="T59" fmla="*/ 21 h 1930"/>
              <a:gd name="T60" fmla="*/ 56 w 3259"/>
              <a:gd name="T61" fmla="*/ 18 h 1930"/>
              <a:gd name="T62" fmla="*/ 59 w 3259"/>
              <a:gd name="T63" fmla="*/ 16 h 1930"/>
              <a:gd name="T64" fmla="*/ 63 w 3259"/>
              <a:gd name="T65" fmla="*/ 20 h 1930"/>
              <a:gd name="T66" fmla="*/ 62 w 3259"/>
              <a:gd name="T67" fmla="*/ 22 h 1930"/>
              <a:gd name="T68" fmla="*/ 65 w 3259"/>
              <a:gd name="T69" fmla="*/ 22 h 1930"/>
              <a:gd name="T70" fmla="*/ 67 w 3259"/>
              <a:gd name="T71" fmla="*/ 21 h 1930"/>
              <a:gd name="T72" fmla="*/ 68 w 3259"/>
              <a:gd name="T73" fmla="*/ 22 h 1930"/>
              <a:gd name="T74" fmla="*/ 69 w 3259"/>
              <a:gd name="T75" fmla="*/ 22 h 1930"/>
              <a:gd name="T76" fmla="*/ 70 w 3259"/>
              <a:gd name="T77" fmla="*/ 24 h 1930"/>
              <a:gd name="T78" fmla="*/ 70 w 3259"/>
              <a:gd name="T79" fmla="*/ 26 h 1930"/>
              <a:gd name="T80" fmla="*/ 74 w 3259"/>
              <a:gd name="T81" fmla="*/ 28 h 1930"/>
              <a:gd name="T82" fmla="*/ 74 w 3259"/>
              <a:gd name="T83" fmla="*/ 30 h 1930"/>
              <a:gd name="T84" fmla="*/ 76 w 3259"/>
              <a:gd name="T85" fmla="*/ 31 h 1930"/>
              <a:gd name="T86" fmla="*/ 62 w 3259"/>
              <a:gd name="T87" fmla="*/ 38 h 1930"/>
              <a:gd name="T88" fmla="*/ 66 w 3259"/>
              <a:gd name="T89" fmla="*/ 37 h 1930"/>
              <a:gd name="T90" fmla="*/ 70 w 3259"/>
              <a:gd name="T91" fmla="*/ 40 h 1930"/>
              <a:gd name="T92" fmla="*/ 71 w 3259"/>
              <a:gd name="T93" fmla="*/ 40 h 1930"/>
              <a:gd name="T94" fmla="*/ 69 w 3259"/>
              <a:gd name="T95" fmla="*/ 40 h 1930"/>
              <a:gd name="T96" fmla="*/ 65 w 3259"/>
              <a:gd name="T97" fmla="*/ 40 h 1930"/>
              <a:gd name="T98" fmla="*/ 58 w 3259"/>
              <a:gd name="T99" fmla="*/ 41 h 1930"/>
              <a:gd name="T100" fmla="*/ 55 w 3259"/>
              <a:gd name="T101" fmla="*/ 43 h 1930"/>
              <a:gd name="T102" fmla="*/ 52 w 3259"/>
              <a:gd name="T103" fmla="*/ 43 h 1930"/>
              <a:gd name="T104" fmla="*/ 54 w 3259"/>
              <a:gd name="T105" fmla="*/ 41 h 1930"/>
              <a:gd name="T106" fmla="*/ 50 w 3259"/>
              <a:gd name="T107" fmla="*/ 37 h 1930"/>
              <a:gd name="T108" fmla="*/ 48 w 3259"/>
              <a:gd name="T109" fmla="*/ 36 h 1930"/>
              <a:gd name="T110" fmla="*/ 41 w 3259"/>
              <a:gd name="T111" fmla="*/ 35 h 1930"/>
              <a:gd name="T112" fmla="*/ 15 w 3259"/>
              <a:gd name="T113" fmla="*/ 34 h 1930"/>
              <a:gd name="T114" fmla="*/ 11 w 3259"/>
              <a:gd name="T115" fmla="*/ 31 h 1930"/>
              <a:gd name="T116" fmla="*/ 10 w 3259"/>
              <a:gd name="T117" fmla="*/ 26 h 1930"/>
              <a:gd name="T118" fmla="*/ 3 w 3259"/>
              <a:gd name="T119" fmla="*/ 21 h 193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59"/>
              <a:gd name="T181" fmla="*/ 0 h 1930"/>
              <a:gd name="T182" fmla="*/ 3259 w 3259"/>
              <a:gd name="T183" fmla="*/ 1930 h 193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59" h="1930">
                <a:moveTo>
                  <a:pt x="0" y="855"/>
                </a:moveTo>
                <a:lnTo>
                  <a:pt x="0" y="178"/>
                </a:lnTo>
                <a:lnTo>
                  <a:pt x="260" y="266"/>
                </a:lnTo>
                <a:lnTo>
                  <a:pt x="243" y="231"/>
                </a:lnTo>
                <a:lnTo>
                  <a:pt x="271" y="210"/>
                </a:lnTo>
                <a:lnTo>
                  <a:pt x="432" y="135"/>
                </a:lnTo>
                <a:lnTo>
                  <a:pt x="308" y="226"/>
                </a:lnTo>
                <a:lnTo>
                  <a:pt x="377" y="200"/>
                </a:lnTo>
                <a:lnTo>
                  <a:pt x="377" y="218"/>
                </a:lnTo>
                <a:lnTo>
                  <a:pt x="511" y="137"/>
                </a:lnTo>
                <a:lnTo>
                  <a:pt x="493" y="111"/>
                </a:lnTo>
                <a:lnTo>
                  <a:pt x="580" y="207"/>
                </a:lnTo>
                <a:lnTo>
                  <a:pt x="636" y="151"/>
                </a:lnTo>
                <a:lnTo>
                  <a:pt x="630" y="207"/>
                </a:lnTo>
                <a:lnTo>
                  <a:pt x="699" y="168"/>
                </a:lnTo>
                <a:lnTo>
                  <a:pt x="891" y="235"/>
                </a:lnTo>
                <a:lnTo>
                  <a:pt x="981" y="234"/>
                </a:lnTo>
                <a:lnTo>
                  <a:pt x="1029" y="275"/>
                </a:lnTo>
                <a:lnTo>
                  <a:pt x="972" y="310"/>
                </a:lnTo>
                <a:lnTo>
                  <a:pt x="1006" y="323"/>
                </a:lnTo>
                <a:lnTo>
                  <a:pt x="1181" y="306"/>
                </a:lnTo>
                <a:lnTo>
                  <a:pt x="1255" y="364"/>
                </a:lnTo>
                <a:lnTo>
                  <a:pt x="1268" y="402"/>
                </a:lnTo>
                <a:lnTo>
                  <a:pt x="1286" y="376"/>
                </a:lnTo>
                <a:lnTo>
                  <a:pt x="1255" y="323"/>
                </a:lnTo>
                <a:lnTo>
                  <a:pt x="1339" y="260"/>
                </a:lnTo>
                <a:lnTo>
                  <a:pt x="1256" y="300"/>
                </a:lnTo>
                <a:lnTo>
                  <a:pt x="1231" y="281"/>
                </a:lnTo>
                <a:lnTo>
                  <a:pt x="1330" y="234"/>
                </a:lnTo>
                <a:lnTo>
                  <a:pt x="1383" y="302"/>
                </a:lnTo>
                <a:lnTo>
                  <a:pt x="1441" y="300"/>
                </a:lnTo>
                <a:lnTo>
                  <a:pt x="1474" y="331"/>
                </a:lnTo>
                <a:lnTo>
                  <a:pt x="1628" y="323"/>
                </a:lnTo>
                <a:lnTo>
                  <a:pt x="1622" y="302"/>
                </a:lnTo>
                <a:lnTo>
                  <a:pt x="1668" y="342"/>
                </a:lnTo>
                <a:lnTo>
                  <a:pt x="1674" y="310"/>
                </a:lnTo>
                <a:lnTo>
                  <a:pt x="1639" y="321"/>
                </a:lnTo>
                <a:lnTo>
                  <a:pt x="1614" y="279"/>
                </a:lnTo>
                <a:lnTo>
                  <a:pt x="1672" y="275"/>
                </a:lnTo>
                <a:lnTo>
                  <a:pt x="1691" y="306"/>
                </a:lnTo>
                <a:lnTo>
                  <a:pt x="1714" y="296"/>
                </a:lnTo>
                <a:lnTo>
                  <a:pt x="1706" y="345"/>
                </a:lnTo>
                <a:lnTo>
                  <a:pt x="1746" y="369"/>
                </a:lnTo>
                <a:lnTo>
                  <a:pt x="1734" y="302"/>
                </a:lnTo>
                <a:lnTo>
                  <a:pt x="1810" y="262"/>
                </a:lnTo>
                <a:lnTo>
                  <a:pt x="1790" y="231"/>
                </a:lnTo>
                <a:lnTo>
                  <a:pt x="1768" y="253"/>
                </a:lnTo>
                <a:lnTo>
                  <a:pt x="1808" y="196"/>
                </a:lnTo>
                <a:lnTo>
                  <a:pt x="1696" y="154"/>
                </a:lnTo>
                <a:lnTo>
                  <a:pt x="1707" y="55"/>
                </a:lnTo>
                <a:lnTo>
                  <a:pt x="1734" y="57"/>
                </a:lnTo>
                <a:lnTo>
                  <a:pt x="1752" y="0"/>
                </a:lnTo>
                <a:lnTo>
                  <a:pt x="1832" y="55"/>
                </a:lnTo>
                <a:lnTo>
                  <a:pt x="1834" y="92"/>
                </a:lnTo>
                <a:lnTo>
                  <a:pt x="1891" y="143"/>
                </a:lnTo>
                <a:lnTo>
                  <a:pt x="1853" y="142"/>
                </a:lnTo>
                <a:lnTo>
                  <a:pt x="1869" y="160"/>
                </a:lnTo>
                <a:lnTo>
                  <a:pt x="1847" y="181"/>
                </a:lnTo>
                <a:lnTo>
                  <a:pt x="1913" y="196"/>
                </a:lnTo>
                <a:lnTo>
                  <a:pt x="1896" y="207"/>
                </a:lnTo>
                <a:lnTo>
                  <a:pt x="1935" y="291"/>
                </a:lnTo>
                <a:lnTo>
                  <a:pt x="1971" y="216"/>
                </a:lnTo>
                <a:lnTo>
                  <a:pt x="2017" y="243"/>
                </a:lnTo>
                <a:lnTo>
                  <a:pt x="2029" y="295"/>
                </a:lnTo>
                <a:lnTo>
                  <a:pt x="2007" y="310"/>
                </a:lnTo>
                <a:lnTo>
                  <a:pt x="2051" y="369"/>
                </a:lnTo>
                <a:lnTo>
                  <a:pt x="2077" y="356"/>
                </a:lnTo>
                <a:lnTo>
                  <a:pt x="2112" y="261"/>
                </a:lnTo>
                <a:lnTo>
                  <a:pt x="2152" y="252"/>
                </a:lnTo>
                <a:lnTo>
                  <a:pt x="2122" y="172"/>
                </a:lnTo>
                <a:lnTo>
                  <a:pt x="2229" y="180"/>
                </a:lnTo>
                <a:lnTo>
                  <a:pt x="2276" y="226"/>
                </a:lnTo>
                <a:lnTo>
                  <a:pt x="2258" y="249"/>
                </a:lnTo>
                <a:lnTo>
                  <a:pt x="2280" y="261"/>
                </a:lnTo>
                <a:lnTo>
                  <a:pt x="2230" y="276"/>
                </a:lnTo>
                <a:lnTo>
                  <a:pt x="2274" y="379"/>
                </a:lnTo>
                <a:lnTo>
                  <a:pt x="2203" y="431"/>
                </a:lnTo>
                <a:lnTo>
                  <a:pt x="2176" y="408"/>
                </a:lnTo>
                <a:lnTo>
                  <a:pt x="2186" y="444"/>
                </a:lnTo>
                <a:lnTo>
                  <a:pt x="2078" y="419"/>
                </a:lnTo>
                <a:lnTo>
                  <a:pt x="2101" y="453"/>
                </a:lnTo>
                <a:lnTo>
                  <a:pt x="2060" y="504"/>
                </a:lnTo>
                <a:lnTo>
                  <a:pt x="1945" y="464"/>
                </a:lnTo>
                <a:lnTo>
                  <a:pt x="1987" y="507"/>
                </a:lnTo>
                <a:lnTo>
                  <a:pt x="2067" y="515"/>
                </a:lnTo>
                <a:lnTo>
                  <a:pt x="2012" y="599"/>
                </a:lnTo>
                <a:lnTo>
                  <a:pt x="1953" y="595"/>
                </a:lnTo>
                <a:lnTo>
                  <a:pt x="1924" y="640"/>
                </a:lnTo>
                <a:lnTo>
                  <a:pt x="1818" y="603"/>
                </a:lnTo>
                <a:lnTo>
                  <a:pt x="1913" y="640"/>
                </a:lnTo>
                <a:lnTo>
                  <a:pt x="1928" y="675"/>
                </a:lnTo>
                <a:lnTo>
                  <a:pt x="1853" y="688"/>
                </a:lnTo>
                <a:lnTo>
                  <a:pt x="1869" y="698"/>
                </a:lnTo>
                <a:lnTo>
                  <a:pt x="1848" y="701"/>
                </a:lnTo>
                <a:lnTo>
                  <a:pt x="1848" y="736"/>
                </a:lnTo>
                <a:lnTo>
                  <a:pt x="1769" y="783"/>
                </a:lnTo>
                <a:lnTo>
                  <a:pt x="1757" y="937"/>
                </a:lnTo>
                <a:lnTo>
                  <a:pt x="1785" y="973"/>
                </a:lnTo>
                <a:lnTo>
                  <a:pt x="1826" y="952"/>
                </a:lnTo>
                <a:lnTo>
                  <a:pt x="1846" y="1070"/>
                </a:lnTo>
                <a:lnTo>
                  <a:pt x="1905" y="1047"/>
                </a:lnTo>
                <a:lnTo>
                  <a:pt x="1978" y="1079"/>
                </a:lnTo>
                <a:lnTo>
                  <a:pt x="2123" y="1166"/>
                </a:lnTo>
                <a:lnTo>
                  <a:pt x="2112" y="1200"/>
                </a:lnTo>
                <a:lnTo>
                  <a:pt x="2128" y="1175"/>
                </a:lnTo>
                <a:lnTo>
                  <a:pt x="2238" y="1184"/>
                </a:lnTo>
                <a:lnTo>
                  <a:pt x="2238" y="1311"/>
                </a:lnTo>
                <a:lnTo>
                  <a:pt x="2271" y="1355"/>
                </a:lnTo>
                <a:lnTo>
                  <a:pt x="2248" y="1365"/>
                </a:lnTo>
                <a:lnTo>
                  <a:pt x="2302" y="1388"/>
                </a:lnTo>
                <a:lnTo>
                  <a:pt x="2287" y="1428"/>
                </a:lnTo>
                <a:lnTo>
                  <a:pt x="2341" y="1426"/>
                </a:lnTo>
                <a:lnTo>
                  <a:pt x="2412" y="1358"/>
                </a:lnTo>
                <a:lnTo>
                  <a:pt x="2379" y="1342"/>
                </a:lnTo>
                <a:lnTo>
                  <a:pt x="2341" y="1219"/>
                </a:lnTo>
                <a:lnTo>
                  <a:pt x="2474" y="1112"/>
                </a:lnTo>
                <a:lnTo>
                  <a:pt x="2456" y="1112"/>
                </a:lnTo>
                <a:lnTo>
                  <a:pt x="2424" y="985"/>
                </a:lnTo>
                <a:lnTo>
                  <a:pt x="2375" y="952"/>
                </a:lnTo>
                <a:lnTo>
                  <a:pt x="2440" y="899"/>
                </a:lnTo>
                <a:lnTo>
                  <a:pt x="2418" y="871"/>
                </a:lnTo>
                <a:lnTo>
                  <a:pt x="2426" y="825"/>
                </a:lnTo>
                <a:lnTo>
                  <a:pt x="2401" y="818"/>
                </a:lnTo>
                <a:lnTo>
                  <a:pt x="2426" y="772"/>
                </a:lnTo>
                <a:lnTo>
                  <a:pt x="2397" y="741"/>
                </a:lnTo>
                <a:lnTo>
                  <a:pt x="2416" y="702"/>
                </a:lnTo>
                <a:lnTo>
                  <a:pt x="2516" y="729"/>
                </a:lnTo>
                <a:lnTo>
                  <a:pt x="2563" y="706"/>
                </a:lnTo>
                <a:lnTo>
                  <a:pt x="2652" y="772"/>
                </a:lnTo>
                <a:lnTo>
                  <a:pt x="2652" y="799"/>
                </a:lnTo>
                <a:lnTo>
                  <a:pt x="2726" y="803"/>
                </a:lnTo>
                <a:lnTo>
                  <a:pt x="2733" y="867"/>
                </a:lnTo>
                <a:lnTo>
                  <a:pt x="2666" y="870"/>
                </a:lnTo>
                <a:lnTo>
                  <a:pt x="2724" y="881"/>
                </a:lnTo>
                <a:lnTo>
                  <a:pt x="2743" y="918"/>
                </a:lnTo>
                <a:lnTo>
                  <a:pt x="2681" y="974"/>
                </a:lnTo>
                <a:lnTo>
                  <a:pt x="2770" y="947"/>
                </a:lnTo>
                <a:lnTo>
                  <a:pt x="2775" y="994"/>
                </a:lnTo>
                <a:lnTo>
                  <a:pt x="2736" y="1013"/>
                </a:lnTo>
                <a:lnTo>
                  <a:pt x="2792" y="964"/>
                </a:lnTo>
                <a:lnTo>
                  <a:pt x="2797" y="996"/>
                </a:lnTo>
                <a:lnTo>
                  <a:pt x="2849" y="950"/>
                </a:lnTo>
                <a:lnTo>
                  <a:pt x="2860" y="974"/>
                </a:lnTo>
                <a:lnTo>
                  <a:pt x="2894" y="906"/>
                </a:lnTo>
                <a:lnTo>
                  <a:pt x="2880" y="893"/>
                </a:lnTo>
                <a:lnTo>
                  <a:pt x="2922" y="855"/>
                </a:lnTo>
                <a:lnTo>
                  <a:pt x="2969" y="927"/>
                </a:lnTo>
                <a:lnTo>
                  <a:pt x="2928" y="943"/>
                </a:lnTo>
                <a:lnTo>
                  <a:pt x="2974" y="935"/>
                </a:lnTo>
                <a:lnTo>
                  <a:pt x="2989" y="963"/>
                </a:lnTo>
                <a:lnTo>
                  <a:pt x="2959" y="973"/>
                </a:lnTo>
                <a:lnTo>
                  <a:pt x="2997" y="978"/>
                </a:lnTo>
                <a:lnTo>
                  <a:pt x="2974" y="998"/>
                </a:lnTo>
                <a:lnTo>
                  <a:pt x="2998" y="994"/>
                </a:lnTo>
                <a:lnTo>
                  <a:pt x="3019" y="1024"/>
                </a:lnTo>
                <a:lnTo>
                  <a:pt x="3006" y="1040"/>
                </a:lnTo>
                <a:lnTo>
                  <a:pt x="3042" y="1066"/>
                </a:lnTo>
                <a:lnTo>
                  <a:pt x="2983" y="1092"/>
                </a:lnTo>
                <a:lnTo>
                  <a:pt x="3025" y="1092"/>
                </a:lnTo>
                <a:lnTo>
                  <a:pt x="3017" y="1116"/>
                </a:lnTo>
                <a:lnTo>
                  <a:pt x="3082" y="1140"/>
                </a:lnTo>
                <a:lnTo>
                  <a:pt x="3104" y="1198"/>
                </a:lnTo>
                <a:lnTo>
                  <a:pt x="3130" y="1177"/>
                </a:lnTo>
                <a:lnTo>
                  <a:pt x="3193" y="1216"/>
                </a:lnTo>
                <a:lnTo>
                  <a:pt x="3053" y="1267"/>
                </a:lnTo>
                <a:lnTo>
                  <a:pt x="3082" y="1296"/>
                </a:lnTo>
                <a:lnTo>
                  <a:pt x="3199" y="1238"/>
                </a:lnTo>
                <a:lnTo>
                  <a:pt x="3199" y="1286"/>
                </a:lnTo>
                <a:lnTo>
                  <a:pt x="3255" y="1278"/>
                </a:lnTo>
                <a:lnTo>
                  <a:pt x="3259" y="1301"/>
                </a:lnTo>
                <a:lnTo>
                  <a:pt x="3235" y="1301"/>
                </a:lnTo>
                <a:lnTo>
                  <a:pt x="3259" y="1361"/>
                </a:lnTo>
                <a:lnTo>
                  <a:pt x="3092" y="1473"/>
                </a:lnTo>
                <a:lnTo>
                  <a:pt x="2857" y="1473"/>
                </a:lnTo>
                <a:lnTo>
                  <a:pt x="2754" y="1551"/>
                </a:lnTo>
                <a:lnTo>
                  <a:pt x="2671" y="1665"/>
                </a:lnTo>
                <a:lnTo>
                  <a:pt x="2754" y="1577"/>
                </a:lnTo>
                <a:lnTo>
                  <a:pt x="2882" y="1528"/>
                </a:lnTo>
                <a:lnTo>
                  <a:pt x="2928" y="1566"/>
                </a:lnTo>
                <a:lnTo>
                  <a:pt x="2844" y="1599"/>
                </a:lnTo>
                <a:lnTo>
                  <a:pt x="2914" y="1614"/>
                </a:lnTo>
                <a:lnTo>
                  <a:pt x="2894" y="1649"/>
                </a:lnTo>
                <a:lnTo>
                  <a:pt x="2945" y="1714"/>
                </a:lnTo>
                <a:lnTo>
                  <a:pt x="3046" y="1737"/>
                </a:lnTo>
                <a:lnTo>
                  <a:pt x="3076" y="1656"/>
                </a:lnTo>
                <a:lnTo>
                  <a:pt x="3076" y="1707"/>
                </a:lnTo>
                <a:lnTo>
                  <a:pt x="3098" y="1700"/>
                </a:lnTo>
                <a:lnTo>
                  <a:pt x="3052" y="1750"/>
                </a:lnTo>
                <a:lnTo>
                  <a:pt x="2934" y="1785"/>
                </a:lnTo>
                <a:lnTo>
                  <a:pt x="2890" y="1848"/>
                </a:lnTo>
                <a:lnTo>
                  <a:pt x="2860" y="1794"/>
                </a:lnTo>
                <a:lnTo>
                  <a:pt x="2973" y="1746"/>
                </a:lnTo>
                <a:lnTo>
                  <a:pt x="2914" y="1749"/>
                </a:lnTo>
                <a:lnTo>
                  <a:pt x="2922" y="1714"/>
                </a:lnTo>
                <a:lnTo>
                  <a:pt x="2826" y="1753"/>
                </a:lnTo>
                <a:lnTo>
                  <a:pt x="2797" y="1729"/>
                </a:lnTo>
                <a:lnTo>
                  <a:pt x="2797" y="1656"/>
                </a:lnTo>
                <a:lnTo>
                  <a:pt x="2735" y="1634"/>
                </a:lnTo>
                <a:lnTo>
                  <a:pt x="2687" y="1750"/>
                </a:lnTo>
                <a:lnTo>
                  <a:pt x="2493" y="1794"/>
                </a:lnTo>
                <a:lnTo>
                  <a:pt x="2358" y="1838"/>
                </a:lnTo>
                <a:lnTo>
                  <a:pt x="2339" y="1860"/>
                </a:lnTo>
                <a:lnTo>
                  <a:pt x="2366" y="1865"/>
                </a:lnTo>
                <a:lnTo>
                  <a:pt x="2373" y="1883"/>
                </a:lnTo>
                <a:lnTo>
                  <a:pt x="2210" y="1930"/>
                </a:lnTo>
                <a:lnTo>
                  <a:pt x="2218" y="1907"/>
                </a:lnTo>
                <a:lnTo>
                  <a:pt x="2230" y="1892"/>
                </a:lnTo>
                <a:lnTo>
                  <a:pt x="2237" y="1871"/>
                </a:lnTo>
                <a:lnTo>
                  <a:pt x="2263" y="1853"/>
                </a:lnTo>
                <a:lnTo>
                  <a:pt x="2265" y="1750"/>
                </a:lnTo>
                <a:lnTo>
                  <a:pt x="2296" y="1785"/>
                </a:lnTo>
                <a:lnTo>
                  <a:pt x="2342" y="1772"/>
                </a:lnTo>
                <a:lnTo>
                  <a:pt x="2300" y="1714"/>
                </a:lnTo>
                <a:lnTo>
                  <a:pt x="2162" y="1684"/>
                </a:lnTo>
                <a:lnTo>
                  <a:pt x="2155" y="1684"/>
                </a:lnTo>
                <a:lnTo>
                  <a:pt x="2139" y="1602"/>
                </a:lnTo>
                <a:lnTo>
                  <a:pt x="2112" y="1607"/>
                </a:lnTo>
                <a:lnTo>
                  <a:pt x="2088" y="1560"/>
                </a:lnTo>
                <a:lnTo>
                  <a:pt x="2060" y="1557"/>
                </a:lnTo>
                <a:lnTo>
                  <a:pt x="2060" y="1584"/>
                </a:lnTo>
                <a:lnTo>
                  <a:pt x="2020" y="1545"/>
                </a:lnTo>
                <a:lnTo>
                  <a:pt x="1956" y="1602"/>
                </a:lnTo>
                <a:lnTo>
                  <a:pt x="1773" y="1560"/>
                </a:lnTo>
                <a:lnTo>
                  <a:pt x="1753" y="1520"/>
                </a:lnTo>
                <a:lnTo>
                  <a:pt x="1752" y="1546"/>
                </a:lnTo>
                <a:lnTo>
                  <a:pt x="698" y="1546"/>
                </a:lnTo>
                <a:lnTo>
                  <a:pt x="682" y="1501"/>
                </a:lnTo>
                <a:lnTo>
                  <a:pt x="626" y="1488"/>
                </a:lnTo>
                <a:lnTo>
                  <a:pt x="629" y="1459"/>
                </a:lnTo>
                <a:lnTo>
                  <a:pt x="511" y="1422"/>
                </a:lnTo>
                <a:lnTo>
                  <a:pt x="525" y="1400"/>
                </a:lnTo>
                <a:lnTo>
                  <a:pt x="496" y="1346"/>
                </a:lnTo>
                <a:lnTo>
                  <a:pt x="466" y="1342"/>
                </a:lnTo>
                <a:lnTo>
                  <a:pt x="403" y="1225"/>
                </a:lnTo>
                <a:lnTo>
                  <a:pt x="415" y="1189"/>
                </a:lnTo>
                <a:lnTo>
                  <a:pt x="418" y="1127"/>
                </a:lnTo>
                <a:lnTo>
                  <a:pt x="347" y="1092"/>
                </a:lnTo>
                <a:lnTo>
                  <a:pt x="210" y="887"/>
                </a:lnTo>
                <a:lnTo>
                  <a:pt x="135" y="945"/>
                </a:lnTo>
                <a:lnTo>
                  <a:pt x="112" y="917"/>
                </a:lnTo>
                <a:lnTo>
                  <a:pt x="107" y="912"/>
                </a:lnTo>
                <a:lnTo>
                  <a:pt x="72" y="855"/>
                </a:lnTo>
                <a:lnTo>
                  <a:pt x="0" y="85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reeform 257"/>
          <p:cNvSpPr/>
          <p:nvPr/>
        </p:nvSpPr>
        <p:spPr bwMode="auto">
          <a:xfrm>
            <a:off x="8587105" y="2415540"/>
            <a:ext cx="147320" cy="92710"/>
          </a:xfrm>
          <a:custGeom>
            <a:avLst/>
            <a:gdLst>
              <a:gd name="T0" fmla="*/ 0 w 191"/>
              <a:gd name="T1" fmla="*/ 0 h 128"/>
              <a:gd name="T2" fmla="*/ 2 w 191"/>
              <a:gd name="T3" fmla="*/ 1 h 128"/>
              <a:gd name="T4" fmla="*/ 4 w 191"/>
              <a:gd name="T5" fmla="*/ 3 h 128"/>
              <a:gd name="T6" fmla="*/ 3 w 191"/>
              <a:gd name="T7" fmla="*/ 3 h 128"/>
              <a:gd name="T8" fmla="*/ 0 w 191"/>
              <a:gd name="T9" fmla="*/ 0 h 1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1"/>
              <a:gd name="T16" fmla="*/ 0 h 128"/>
              <a:gd name="T17" fmla="*/ 191 w 191"/>
              <a:gd name="T18" fmla="*/ 128 h 12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1" h="128">
                <a:moveTo>
                  <a:pt x="0" y="0"/>
                </a:moveTo>
                <a:lnTo>
                  <a:pt x="103" y="27"/>
                </a:lnTo>
                <a:lnTo>
                  <a:pt x="191" y="128"/>
                </a:lnTo>
                <a:lnTo>
                  <a:pt x="140" y="109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reeform 258"/>
          <p:cNvSpPr/>
          <p:nvPr/>
        </p:nvSpPr>
        <p:spPr bwMode="auto">
          <a:xfrm>
            <a:off x="8655050" y="1189355"/>
            <a:ext cx="311150" cy="214630"/>
          </a:xfrm>
          <a:custGeom>
            <a:avLst/>
            <a:gdLst>
              <a:gd name="T0" fmla="*/ 0 w 399"/>
              <a:gd name="T1" fmla="*/ 5 h 289"/>
              <a:gd name="T2" fmla="*/ 0 w 399"/>
              <a:gd name="T3" fmla="*/ 4 h 289"/>
              <a:gd name="T4" fmla="*/ 2 w 399"/>
              <a:gd name="T5" fmla="*/ 1 h 289"/>
              <a:gd name="T6" fmla="*/ 1 w 399"/>
              <a:gd name="T7" fmla="*/ 0 h 289"/>
              <a:gd name="T8" fmla="*/ 4 w 399"/>
              <a:gd name="T9" fmla="*/ 0 h 289"/>
              <a:gd name="T10" fmla="*/ 6 w 399"/>
              <a:gd name="T11" fmla="*/ 1 h 289"/>
              <a:gd name="T12" fmla="*/ 7 w 399"/>
              <a:gd name="T13" fmla="*/ 1 h 289"/>
              <a:gd name="T14" fmla="*/ 9 w 399"/>
              <a:gd name="T15" fmla="*/ 2 h 289"/>
              <a:gd name="T16" fmla="*/ 5 w 399"/>
              <a:gd name="T17" fmla="*/ 5 h 289"/>
              <a:gd name="T18" fmla="*/ 5 w 399"/>
              <a:gd name="T19" fmla="*/ 6 h 289"/>
              <a:gd name="T20" fmla="*/ 3 w 399"/>
              <a:gd name="T21" fmla="*/ 7 h 289"/>
              <a:gd name="T22" fmla="*/ 2 w 399"/>
              <a:gd name="T23" fmla="*/ 6 h 289"/>
              <a:gd name="T24" fmla="*/ 0 w 399"/>
              <a:gd name="T25" fmla="*/ 5 h 28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99"/>
              <a:gd name="T40" fmla="*/ 0 h 289"/>
              <a:gd name="T41" fmla="*/ 399 w 399"/>
              <a:gd name="T42" fmla="*/ 289 h 28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99" h="289">
                <a:moveTo>
                  <a:pt x="0" y="220"/>
                </a:moveTo>
                <a:lnTo>
                  <a:pt x="15" y="182"/>
                </a:lnTo>
                <a:lnTo>
                  <a:pt x="76" y="63"/>
                </a:lnTo>
                <a:lnTo>
                  <a:pt x="47" y="11"/>
                </a:lnTo>
                <a:lnTo>
                  <a:pt x="171" y="0"/>
                </a:lnTo>
                <a:lnTo>
                  <a:pt x="257" y="48"/>
                </a:lnTo>
                <a:lnTo>
                  <a:pt x="312" y="21"/>
                </a:lnTo>
                <a:lnTo>
                  <a:pt x="399" y="88"/>
                </a:lnTo>
                <a:lnTo>
                  <a:pt x="217" y="195"/>
                </a:lnTo>
                <a:lnTo>
                  <a:pt x="200" y="259"/>
                </a:lnTo>
                <a:lnTo>
                  <a:pt x="112" y="289"/>
                </a:lnTo>
                <a:lnTo>
                  <a:pt x="70" y="239"/>
                </a:lnTo>
                <a:lnTo>
                  <a:pt x="0" y="22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reeform 259"/>
          <p:cNvSpPr/>
          <p:nvPr/>
        </p:nvSpPr>
        <p:spPr bwMode="auto">
          <a:xfrm>
            <a:off x="8748395" y="993775"/>
            <a:ext cx="216535" cy="118745"/>
          </a:xfrm>
          <a:custGeom>
            <a:avLst/>
            <a:gdLst>
              <a:gd name="T0" fmla="*/ 0 w 279"/>
              <a:gd name="T1" fmla="*/ 3 h 161"/>
              <a:gd name="T2" fmla="*/ 1 w 279"/>
              <a:gd name="T3" fmla="*/ 3 h 161"/>
              <a:gd name="T4" fmla="*/ 2 w 279"/>
              <a:gd name="T5" fmla="*/ 3 h 161"/>
              <a:gd name="T6" fmla="*/ 2 w 279"/>
              <a:gd name="T7" fmla="*/ 4 h 161"/>
              <a:gd name="T8" fmla="*/ 3 w 279"/>
              <a:gd name="T9" fmla="*/ 3 h 161"/>
              <a:gd name="T10" fmla="*/ 3 w 279"/>
              <a:gd name="T11" fmla="*/ 3 h 161"/>
              <a:gd name="T12" fmla="*/ 3 w 279"/>
              <a:gd name="T13" fmla="*/ 3 h 161"/>
              <a:gd name="T14" fmla="*/ 4 w 279"/>
              <a:gd name="T15" fmla="*/ 2 h 161"/>
              <a:gd name="T16" fmla="*/ 4 w 279"/>
              <a:gd name="T17" fmla="*/ 1 h 161"/>
              <a:gd name="T18" fmla="*/ 5 w 279"/>
              <a:gd name="T19" fmla="*/ 3 h 161"/>
              <a:gd name="T20" fmla="*/ 6 w 279"/>
              <a:gd name="T21" fmla="*/ 2 h 161"/>
              <a:gd name="T22" fmla="*/ 5 w 279"/>
              <a:gd name="T23" fmla="*/ 1 h 161"/>
              <a:gd name="T24" fmla="*/ 6 w 279"/>
              <a:gd name="T25" fmla="*/ 1 h 161"/>
              <a:gd name="T26" fmla="*/ 5 w 279"/>
              <a:gd name="T27" fmla="*/ 0 h 161"/>
              <a:gd name="T28" fmla="*/ 3 w 279"/>
              <a:gd name="T29" fmla="*/ 1 h 161"/>
              <a:gd name="T30" fmla="*/ 0 w 279"/>
              <a:gd name="T31" fmla="*/ 3 h 16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79"/>
              <a:gd name="T49" fmla="*/ 0 h 161"/>
              <a:gd name="T50" fmla="*/ 279 w 279"/>
              <a:gd name="T51" fmla="*/ 161 h 16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79" h="161">
                <a:moveTo>
                  <a:pt x="0" y="125"/>
                </a:moveTo>
                <a:lnTo>
                  <a:pt x="62" y="148"/>
                </a:lnTo>
                <a:lnTo>
                  <a:pt x="78" y="122"/>
                </a:lnTo>
                <a:lnTo>
                  <a:pt x="93" y="161"/>
                </a:lnTo>
                <a:lnTo>
                  <a:pt x="122" y="146"/>
                </a:lnTo>
                <a:lnTo>
                  <a:pt x="116" y="108"/>
                </a:lnTo>
                <a:lnTo>
                  <a:pt x="147" y="130"/>
                </a:lnTo>
                <a:lnTo>
                  <a:pt x="164" y="72"/>
                </a:lnTo>
                <a:lnTo>
                  <a:pt x="189" y="67"/>
                </a:lnTo>
                <a:lnTo>
                  <a:pt x="198" y="121"/>
                </a:lnTo>
                <a:lnTo>
                  <a:pt x="258" y="80"/>
                </a:lnTo>
                <a:lnTo>
                  <a:pt x="241" y="33"/>
                </a:lnTo>
                <a:lnTo>
                  <a:pt x="279" y="23"/>
                </a:lnTo>
                <a:lnTo>
                  <a:pt x="240" y="0"/>
                </a:lnTo>
                <a:lnTo>
                  <a:pt x="136" y="23"/>
                </a:lnTo>
                <a:lnTo>
                  <a:pt x="0" y="1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 260"/>
          <p:cNvSpPr/>
          <p:nvPr/>
        </p:nvSpPr>
        <p:spPr bwMode="auto">
          <a:xfrm>
            <a:off x="8863330" y="1266825"/>
            <a:ext cx="532765" cy="289560"/>
          </a:xfrm>
          <a:custGeom>
            <a:avLst/>
            <a:gdLst>
              <a:gd name="T0" fmla="*/ 0 w 688"/>
              <a:gd name="T1" fmla="*/ 3 h 394"/>
              <a:gd name="T2" fmla="*/ 1 w 688"/>
              <a:gd name="T3" fmla="*/ 2 h 394"/>
              <a:gd name="T4" fmla="*/ 0 w 688"/>
              <a:gd name="T5" fmla="*/ 2 h 394"/>
              <a:gd name="T6" fmla="*/ 2 w 688"/>
              <a:gd name="T7" fmla="*/ 1 h 394"/>
              <a:gd name="T8" fmla="*/ 4 w 688"/>
              <a:gd name="T9" fmla="*/ 0 h 394"/>
              <a:gd name="T10" fmla="*/ 4 w 688"/>
              <a:gd name="T11" fmla="*/ 1 h 394"/>
              <a:gd name="T12" fmla="*/ 4 w 688"/>
              <a:gd name="T13" fmla="*/ 1 h 394"/>
              <a:gd name="T14" fmla="*/ 5 w 688"/>
              <a:gd name="T15" fmla="*/ 1 h 394"/>
              <a:gd name="T16" fmla="*/ 7 w 688"/>
              <a:gd name="T17" fmla="*/ 1 h 394"/>
              <a:gd name="T18" fmla="*/ 6 w 688"/>
              <a:gd name="T19" fmla="*/ 2 h 394"/>
              <a:gd name="T20" fmla="*/ 8 w 688"/>
              <a:gd name="T21" fmla="*/ 2 h 394"/>
              <a:gd name="T22" fmla="*/ 7 w 688"/>
              <a:gd name="T23" fmla="*/ 1 h 394"/>
              <a:gd name="T24" fmla="*/ 8 w 688"/>
              <a:gd name="T25" fmla="*/ 1 h 394"/>
              <a:gd name="T26" fmla="*/ 9 w 688"/>
              <a:gd name="T27" fmla="*/ 3 h 394"/>
              <a:gd name="T28" fmla="*/ 10 w 688"/>
              <a:gd name="T29" fmla="*/ 3 h 394"/>
              <a:gd name="T30" fmla="*/ 9 w 688"/>
              <a:gd name="T31" fmla="*/ 0 h 394"/>
              <a:gd name="T32" fmla="*/ 10 w 688"/>
              <a:gd name="T33" fmla="*/ 0 h 394"/>
              <a:gd name="T34" fmla="*/ 12 w 688"/>
              <a:gd name="T35" fmla="*/ 1 h 394"/>
              <a:gd name="T36" fmla="*/ 12 w 688"/>
              <a:gd name="T37" fmla="*/ 4 h 394"/>
              <a:gd name="T38" fmla="*/ 16 w 688"/>
              <a:gd name="T39" fmla="*/ 6 h 394"/>
              <a:gd name="T40" fmla="*/ 16 w 688"/>
              <a:gd name="T41" fmla="*/ 7 h 394"/>
              <a:gd name="T42" fmla="*/ 15 w 688"/>
              <a:gd name="T43" fmla="*/ 7 h 394"/>
              <a:gd name="T44" fmla="*/ 14 w 688"/>
              <a:gd name="T45" fmla="*/ 7 h 394"/>
              <a:gd name="T46" fmla="*/ 15 w 688"/>
              <a:gd name="T47" fmla="*/ 8 h 394"/>
              <a:gd name="T48" fmla="*/ 14 w 688"/>
              <a:gd name="T49" fmla="*/ 9 h 394"/>
              <a:gd name="T50" fmla="*/ 12 w 688"/>
              <a:gd name="T51" fmla="*/ 8 h 394"/>
              <a:gd name="T52" fmla="*/ 11 w 688"/>
              <a:gd name="T53" fmla="*/ 7 h 394"/>
              <a:gd name="T54" fmla="*/ 8 w 688"/>
              <a:gd name="T55" fmla="*/ 9 h 394"/>
              <a:gd name="T56" fmla="*/ 5 w 688"/>
              <a:gd name="T57" fmla="*/ 9 h 394"/>
              <a:gd name="T58" fmla="*/ 4 w 688"/>
              <a:gd name="T59" fmla="*/ 8 h 394"/>
              <a:gd name="T60" fmla="*/ 3 w 688"/>
              <a:gd name="T61" fmla="*/ 8 h 394"/>
              <a:gd name="T62" fmla="*/ 1 w 688"/>
              <a:gd name="T63" fmla="*/ 6 h 394"/>
              <a:gd name="T64" fmla="*/ 6 w 688"/>
              <a:gd name="T65" fmla="*/ 6 h 394"/>
              <a:gd name="T66" fmla="*/ 1 w 688"/>
              <a:gd name="T67" fmla="*/ 5 h 394"/>
              <a:gd name="T68" fmla="*/ 1 w 688"/>
              <a:gd name="T69" fmla="*/ 5 h 394"/>
              <a:gd name="T70" fmla="*/ 3 w 688"/>
              <a:gd name="T71" fmla="*/ 4 h 394"/>
              <a:gd name="T72" fmla="*/ 1 w 688"/>
              <a:gd name="T73" fmla="*/ 4 h 394"/>
              <a:gd name="T74" fmla="*/ 1 w 688"/>
              <a:gd name="T75" fmla="*/ 3 h 394"/>
              <a:gd name="T76" fmla="*/ 0 w 688"/>
              <a:gd name="T77" fmla="*/ 3 h 39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88"/>
              <a:gd name="T118" fmla="*/ 0 h 394"/>
              <a:gd name="T119" fmla="*/ 688 w 688"/>
              <a:gd name="T120" fmla="*/ 394 h 39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88" h="394">
                <a:moveTo>
                  <a:pt x="0" y="128"/>
                </a:moveTo>
                <a:lnTo>
                  <a:pt x="37" y="96"/>
                </a:lnTo>
                <a:lnTo>
                  <a:pt x="17" y="80"/>
                </a:lnTo>
                <a:lnTo>
                  <a:pt x="101" y="23"/>
                </a:lnTo>
                <a:lnTo>
                  <a:pt x="168" y="0"/>
                </a:lnTo>
                <a:lnTo>
                  <a:pt x="189" y="40"/>
                </a:lnTo>
                <a:lnTo>
                  <a:pt x="166" y="65"/>
                </a:lnTo>
                <a:lnTo>
                  <a:pt x="226" y="32"/>
                </a:lnTo>
                <a:lnTo>
                  <a:pt x="296" y="59"/>
                </a:lnTo>
                <a:lnTo>
                  <a:pt x="268" y="88"/>
                </a:lnTo>
                <a:lnTo>
                  <a:pt x="349" y="69"/>
                </a:lnTo>
                <a:lnTo>
                  <a:pt x="326" y="35"/>
                </a:lnTo>
                <a:lnTo>
                  <a:pt x="356" y="39"/>
                </a:lnTo>
                <a:lnTo>
                  <a:pt x="416" y="146"/>
                </a:lnTo>
                <a:lnTo>
                  <a:pt x="439" y="120"/>
                </a:lnTo>
                <a:lnTo>
                  <a:pt x="414" y="4"/>
                </a:lnTo>
                <a:lnTo>
                  <a:pt x="466" y="5"/>
                </a:lnTo>
                <a:lnTo>
                  <a:pt x="521" y="47"/>
                </a:lnTo>
                <a:lnTo>
                  <a:pt x="552" y="191"/>
                </a:lnTo>
                <a:lnTo>
                  <a:pt x="688" y="261"/>
                </a:lnTo>
                <a:lnTo>
                  <a:pt x="686" y="299"/>
                </a:lnTo>
                <a:lnTo>
                  <a:pt x="651" y="283"/>
                </a:lnTo>
                <a:lnTo>
                  <a:pt x="609" y="308"/>
                </a:lnTo>
                <a:lnTo>
                  <a:pt x="665" y="341"/>
                </a:lnTo>
                <a:lnTo>
                  <a:pt x="612" y="371"/>
                </a:lnTo>
                <a:lnTo>
                  <a:pt x="525" y="354"/>
                </a:lnTo>
                <a:lnTo>
                  <a:pt x="476" y="315"/>
                </a:lnTo>
                <a:lnTo>
                  <a:pt x="359" y="380"/>
                </a:lnTo>
                <a:lnTo>
                  <a:pt x="218" y="394"/>
                </a:lnTo>
                <a:lnTo>
                  <a:pt x="189" y="333"/>
                </a:lnTo>
                <a:lnTo>
                  <a:pt x="111" y="329"/>
                </a:lnTo>
                <a:lnTo>
                  <a:pt x="60" y="274"/>
                </a:lnTo>
                <a:lnTo>
                  <a:pt x="263" y="242"/>
                </a:lnTo>
                <a:lnTo>
                  <a:pt x="53" y="226"/>
                </a:lnTo>
                <a:lnTo>
                  <a:pt x="28" y="192"/>
                </a:lnTo>
                <a:lnTo>
                  <a:pt x="134" y="157"/>
                </a:lnTo>
                <a:lnTo>
                  <a:pt x="37" y="164"/>
                </a:lnTo>
                <a:lnTo>
                  <a:pt x="42" y="146"/>
                </a:lnTo>
                <a:lnTo>
                  <a:pt x="0" y="12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Freeform 261"/>
          <p:cNvSpPr/>
          <p:nvPr/>
        </p:nvSpPr>
        <p:spPr bwMode="auto">
          <a:xfrm>
            <a:off x="8898890" y="1040130"/>
            <a:ext cx="367030" cy="160020"/>
          </a:xfrm>
          <a:custGeom>
            <a:avLst/>
            <a:gdLst>
              <a:gd name="T0" fmla="*/ 0 w 468"/>
              <a:gd name="T1" fmla="*/ 3 h 217"/>
              <a:gd name="T2" fmla="*/ 0 w 468"/>
              <a:gd name="T3" fmla="*/ 3 h 217"/>
              <a:gd name="T4" fmla="*/ 2 w 468"/>
              <a:gd name="T5" fmla="*/ 3 h 217"/>
              <a:gd name="T6" fmla="*/ 0 w 468"/>
              <a:gd name="T7" fmla="*/ 3 h 217"/>
              <a:gd name="T8" fmla="*/ 3 w 468"/>
              <a:gd name="T9" fmla="*/ 2 h 217"/>
              <a:gd name="T10" fmla="*/ 1 w 468"/>
              <a:gd name="T11" fmla="*/ 2 h 217"/>
              <a:gd name="T12" fmla="*/ 1 w 468"/>
              <a:gd name="T13" fmla="*/ 1 h 217"/>
              <a:gd name="T14" fmla="*/ 3 w 468"/>
              <a:gd name="T15" fmla="*/ 1 h 217"/>
              <a:gd name="T16" fmla="*/ 1 w 468"/>
              <a:gd name="T17" fmla="*/ 1 h 217"/>
              <a:gd name="T18" fmla="*/ 3 w 468"/>
              <a:gd name="T19" fmla="*/ 1 h 217"/>
              <a:gd name="T20" fmla="*/ 5 w 468"/>
              <a:gd name="T21" fmla="*/ 1 h 217"/>
              <a:gd name="T22" fmla="*/ 6 w 468"/>
              <a:gd name="T23" fmla="*/ 3 h 217"/>
              <a:gd name="T24" fmla="*/ 8 w 468"/>
              <a:gd name="T25" fmla="*/ 3 h 217"/>
              <a:gd name="T26" fmla="*/ 7 w 468"/>
              <a:gd name="T27" fmla="*/ 2 h 217"/>
              <a:gd name="T28" fmla="*/ 7 w 468"/>
              <a:gd name="T29" fmla="*/ 1 h 217"/>
              <a:gd name="T30" fmla="*/ 7 w 468"/>
              <a:gd name="T31" fmla="*/ 1 h 217"/>
              <a:gd name="T32" fmla="*/ 8 w 468"/>
              <a:gd name="T33" fmla="*/ 0 h 217"/>
              <a:gd name="T34" fmla="*/ 9 w 468"/>
              <a:gd name="T35" fmla="*/ 1 h 217"/>
              <a:gd name="T36" fmla="*/ 8 w 468"/>
              <a:gd name="T37" fmla="*/ 2 h 217"/>
              <a:gd name="T38" fmla="*/ 9 w 468"/>
              <a:gd name="T39" fmla="*/ 2 h 217"/>
              <a:gd name="T40" fmla="*/ 9 w 468"/>
              <a:gd name="T41" fmla="*/ 2 h 217"/>
              <a:gd name="T42" fmla="*/ 10 w 468"/>
              <a:gd name="T43" fmla="*/ 3 h 217"/>
              <a:gd name="T44" fmla="*/ 10 w 468"/>
              <a:gd name="T45" fmla="*/ 2 h 217"/>
              <a:gd name="T46" fmla="*/ 11 w 468"/>
              <a:gd name="T47" fmla="*/ 3 h 217"/>
              <a:gd name="T48" fmla="*/ 11 w 468"/>
              <a:gd name="T49" fmla="*/ 4 h 217"/>
              <a:gd name="T50" fmla="*/ 8 w 468"/>
              <a:gd name="T51" fmla="*/ 4 h 217"/>
              <a:gd name="T52" fmla="*/ 5 w 468"/>
              <a:gd name="T53" fmla="*/ 5 h 217"/>
              <a:gd name="T54" fmla="*/ 3 w 468"/>
              <a:gd name="T55" fmla="*/ 4 h 217"/>
              <a:gd name="T56" fmla="*/ 6 w 468"/>
              <a:gd name="T57" fmla="*/ 3 h 217"/>
              <a:gd name="T58" fmla="*/ 3 w 468"/>
              <a:gd name="T59" fmla="*/ 4 h 217"/>
              <a:gd name="T60" fmla="*/ 4 w 468"/>
              <a:gd name="T61" fmla="*/ 3 h 217"/>
              <a:gd name="T62" fmla="*/ 3 w 468"/>
              <a:gd name="T63" fmla="*/ 4 h 217"/>
              <a:gd name="T64" fmla="*/ 1 w 468"/>
              <a:gd name="T65" fmla="*/ 4 h 217"/>
              <a:gd name="T66" fmla="*/ 0 w 468"/>
              <a:gd name="T67" fmla="*/ 3 h 21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68"/>
              <a:gd name="T103" fmla="*/ 0 h 217"/>
              <a:gd name="T104" fmla="*/ 468 w 468"/>
              <a:gd name="T105" fmla="*/ 217 h 21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68" h="217">
                <a:moveTo>
                  <a:pt x="0" y="143"/>
                </a:moveTo>
                <a:lnTo>
                  <a:pt x="18" y="125"/>
                </a:lnTo>
                <a:lnTo>
                  <a:pt x="100" y="105"/>
                </a:lnTo>
                <a:lnTo>
                  <a:pt x="18" y="109"/>
                </a:lnTo>
                <a:lnTo>
                  <a:pt x="113" y="88"/>
                </a:lnTo>
                <a:lnTo>
                  <a:pt x="36" y="88"/>
                </a:lnTo>
                <a:lnTo>
                  <a:pt x="44" y="64"/>
                </a:lnTo>
                <a:lnTo>
                  <a:pt x="115" y="63"/>
                </a:lnTo>
                <a:lnTo>
                  <a:pt x="64" y="57"/>
                </a:lnTo>
                <a:lnTo>
                  <a:pt x="106" y="36"/>
                </a:lnTo>
                <a:lnTo>
                  <a:pt x="200" y="63"/>
                </a:lnTo>
                <a:lnTo>
                  <a:pt x="247" y="117"/>
                </a:lnTo>
                <a:lnTo>
                  <a:pt x="334" y="120"/>
                </a:lnTo>
                <a:lnTo>
                  <a:pt x="300" y="88"/>
                </a:lnTo>
                <a:lnTo>
                  <a:pt x="317" y="65"/>
                </a:lnTo>
                <a:lnTo>
                  <a:pt x="280" y="40"/>
                </a:lnTo>
                <a:lnTo>
                  <a:pt x="342" y="0"/>
                </a:lnTo>
                <a:lnTo>
                  <a:pt x="366" y="48"/>
                </a:lnTo>
                <a:lnTo>
                  <a:pt x="349" y="69"/>
                </a:lnTo>
                <a:lnTo>
                  <a:pt x="384" y="76"/>
                </a:lnTo>
                <a:lnTo>
                  <a:pt x="369" y="99"/>
                </a:lnTo>
                <a:lnTo>
                  <a:pt x="414" y="107"/>
                </a:lnTo>
                <a:lnTo>
                  <a:pt x="439" y="75"/>
                </a:lnTo>
                <a:lnTo>
                  <a:pt x="468" y="111"/>
                </a:lnTo>
                <a:lnTo>
                  <a:pt x="446" y="161"/>
                </a:lnTo>
                <a:lnTo>
                  <a:pt x="344" y="157"/>
                </a:lnTo>
                <a:lnTo>
                  <a:pt x="191" y="217"/>
                </a:lnTo>
                <a:lnTo>
                  <a:pt x="129" y="187"/>
                </a:lnTo>
                <a:lnTo>
                  <a:pt x="259" y="137"/>
                </a:lnTo>
                <a:lnTo>
                  <a:pt x="146" y="167"/>
                </a:lnTo>
                <a:lnTo>
                  <a:pt x="165" y="128"/>
                </a:lnTo>
                <a:lnTo>
                  <a:pt x="108" y="170"/>
                </a:lnTo>
                <a:lnTo>
                  <a:pt x="44" y="157"/>
                </a:lnTo>
                <a:lnTo>
                  <a:pt x="0" y="14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262"/>
          <p:cNvSpPr/>
          <p:nvPr/>
        </p:nvSpPr>
        <p:spPr bwMode="auto">
          <a:xfrm>
            <a:off x="9264650" y="871855"/>
            <a:ext cx="188595" cy="97790"/>
          </a:xfrm>
          <a:custGeom>
            <a:avLst/>
            <a:gdLst>
              <a:gd name="T0" fmla="*/ 0 w 244"/>
              <a:gd name="T1" fmla="*/ 0 h 134"/>
              <a:gd name="T2" fmla="*/ 1 w 244"/>
              <a:gd name="T3" fmla="*/ 1 h 134"/>
              <a:gd name="T4" fmla="*/ 2 w 244"/>
              <a:gd name="T5" fmla="*/ 1 h 134"/>
              <a:gd name="T6" fmla="*/ 1 w 244"/>
              <a:gd name="T7" fmla="*/ 1 h 134"/>
              <a:gd name="T8" fmla="*/ 2 w 244"/>
              <a:gd name="T9" fmla="*/ 2 h 134"/>
              <a:gd name="T10" fmla="*/ 1 w 244"/>
              <a:gd name="T11" fmla="*/ 2 h 134"/>
              <a:gd name="T12" fmla="*/ 2 w 244"/>
              <a:gd name="T13" fmla="*/ 2 h 134"/>
              <a:gd name="T14" fmla="*/ 6 w 244"/>
              <a:gd name="T15" fmla="*/ 3 h 134"/>
              <a:gd name="T16" fmla="*/ 5 w 244"/>
              <a:gd name="T17" fmla="*/ 1 h 134"/>
              <a:gd name="T18" fmla="*/ 3 w 244"/>
              <a:gd name="T19" fmla="*/ 0 h 134"/>
              <a:gd name="T20" fmla="*/ 2 w 244"/>
              <a:gd name="T21" fmla="*/ 1 h 134"/>
              <a:gd name="T22" fmla="*/ 2 w 244"/>
              <a:gd name="T23" fmla="*/ 0 h 134"/>
              <a:gd name="T24" fmla="*/ 0 w 244"/>
              <a:gd name="T25" fmla="*/ 0 h 13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44"/>
              <a:gd name="T40" fmla="*/ 0 h 134"/>
              <a:gd name="T41" fmla="*/ 244 w 244"/>
              <a:gd name="T42" fmla="*/ 134 h 13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44" h="134">
                <a:moveTo>
                  <a:pt x="0" y="0"/>
                </a:moveTo>
                <a:lnTo>
                  <a:pt x="22" y="48"/>
                </a:lnTo>
                <a:lnTo>
                  <a:pt x="79" y="48"/>
                </a:lnTo>
                <a:lnTo>
                  <a:pt x="59" y="60"/>
                </a:lnTo>
                <a:lnTo>
                  <a:pt x="75" y="76"/>
                </a:lnTo>
                <a:lnTo>
                  <a:pt x="23" y="83"/>
                </a:lnTo>
                <a:lnTo>
                  <a:pt x="107" y="100"/>
                </a:lnTo>
                <a:lnTo>
                  <a:pt x="244" y="134"/>
                </a:lnTo>
                <a:lnTo>
                  <a:pt x="221" y="58"/>
                </a:lnTo>
                <a:lnTo>
                  <a:pt x="123" y="11"/>
                </a:lnTo>
                <a:lnTo>
                  <a:pt x="93" y="31"/>
                </a:lnTo>
                <a:lnTo>
                  <a:pt x="85" y="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 263"/>
          <p:cNvSpPr/>
          <p:nvPr/>
        </p:nvSpPr>
        <p:spPr bwMode="auto">
          <a:xfrm>
            <a:off x="9349740" y="1060450"/>
            <a:ext cx="153670" cy="100965"/>
          </a:xfrm>
          <a:custGeom>
            <a:avLst/>
            <a:gdLst>
              <a:gd name="T0" fmla="*/ 0 w 195"/>
              <a:gd name="T1" fmla="*/ 2 h 137"/>
              <a:gd name="T2" fmla="*/ 1 w 195"/>
              <a:gd name="T3" fmla="*/ 1 h 137"/>
              <a:gd name="T4" fmla="*/ 1 w 195"/>
              <a:gd name="T5" fmla="*/ 1 h 137"/>
              <a:gd name="T6" fmla="*/ 0 w 195"/>
              <a:gd name="T7" fmla="*/ 1 h 137"/>
              <a:gd name="T8" fmla="*/ 1 w 195"/>
              <a:gd name="T9" fmla="*/ 0 h 137"/>
              <a:gd name="T10" fmla="*/ 2 w 195"/>
              <a:gd name="T11" fmla="*/ 1 h 137"/>
              <a:gd name="T12" fmla="*/ 1 w 195"/>
              <a:gd name="T13" fmla="*/ 0 h 137"/>
              <a:gd name="T14" fmla="*/ 4 w 195"/>
              <a:gd name="T15" fmla="*/ 0 h 137"/>
              <a:gd name="T16" fmla="*/ 5 w 195"/>
              <a:gd name="T17" fmla="*/ 2 h 137"/>
              <a:gd name="T18" fmla="*/ 4 w 195"/>
              <a:gd name="T19" fmla="*/ 2 h 137"/>
              <a:gd name="T20" fmla="*/ 4 w 195"/>
              <a:gd name="T21" fmla="*/ 3 h 137"/>
              <a:gd name="T22" fmla="*/ 2 w 195"/>
              <a:gd name="T23" fmla="*/ 3 h 137"/>
              <a:gd name="T24" fmla="*/ 2 w 195"/>
              <a:gd name="T25" fmla="*/ 3 h 137"/>
              <a:gd name="T26" fmla="*/ 2 w 195"/>
              <a:gd name="T27" fmla="*/ 2 h 137"/>
              <a:gd name="T28" fmla="*/ 3 w 195"/>
              <a:gd name="T29" fmla="*/ 2 h 137"/>
              <a:gd name="T30" fmla="*/ 0 w 195"/>
              <a:gd name="T31" fmla="*/ 2 h 1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5"/>
              <a:gd name="T49" fmla="*/ 0 h 137"/>
              <a:gd name="T50" fmla="*/ 195 w 195"/>
              <a:gd name="T51" fmla="*/ 137 h 1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5" h="137">
                <a:moveTo>
                  <a:pt x="0" y="90"/>
                </a:moveTo>
                <a:lnTo>
                  <a:pt x="23" y="58"/>
                </a:lnTo>
                <a:lnTo>
                  <a:pt x="58" y="64"/>
                </a:lnTo>
                <a:lnTo>
                  <a:pt x="11" y="30"/>
                </a:lnTo>
                <a:lnTo>
                  <a:pt x="24" y="10"/>
                </a:lnTo>
                <a:lnTo>
                  <a:pt x="99" y="54"/>
                </a:lnTo>
                <a:lnTo>
                  <a:pt x="57" y="7"/>
                </a:lnTo>
                <a:lnTo>
                  <a:pt x="175" y="0"/>
                </a:lnTo>
                <a:lnTo>
                  <a:pt x="195" y="100"/>
                </a:lnTo>
                <a:lnTo>
                  <a:pt x="171" y="83"/>
                </a:lnTo>
                <a:lnTo>
                  <a:pt x="170" y="137"/>
                </a:lnTo>
                <a:lnTo>
                  <a:pt x="76" y="131"/>
                </a:lnTo>
                <a:lnTo>
                  <a:pt x="92" y="117"/>
                </a:lnTo>
                <a:lnTo>
                  <a:pt x="69" y="98"/>
                </a:lnTo>
                <a:lnTo>
                  <a:pt x="138" y="69"/>
                </a:lnTo>
                <a:lnTo>
                  <a:pt x="0" y="9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264"/>
          <p:cNvSpPr/>
          <p:nvPr/>
        </p:nvSpPr>
        <p:spPr bwMode="auto">
          <a:xfrm>
            <a:off x="9352280" y="1235710"/>
            <a:ext cx="177165" cy="157480"/>
          </a:xfrm>
          <a:custGeom>
            <a:avLst/>
            <a:gdLst>
              <a:gd name="T0" fmla="*/ 0 w 228"/>
              <a:gd name="T1" fmla="*/ 3 h 214"/>
              <a:gd name="T2" fmla="*/ 0 w 228"/>
              <a:gd name="T3" fmla="*/ 2 h 214"/>
              <a:gd name="T4" fmla="*/ 2 w 228"/>
              <a:gd name="T5" fmla="*/ 2 h 214"/>
              <a:gd name="T6" fmla="*/ 2 w 228"/>
              <a:gd name="T7" fmla="*/ 1 h 214"/>
              <a:gd name="T8" fmla="*/ 2 w 228"/>
              <a:gd name="T9" fmla="*/ 1 h 214"/>
              <a:gd name="T10" fmla="*/ 1 w 228"/>
              <a:gd name="T11" fmla="*/ 1 h 214"/>
              <a:gd name="T12" fmla="*/ 2 w 228"/>
              <a:gd name="T13" fmla="*/ 1 h 214"/>
              <a:gd name="T14" fmla="*/ 1 w 228"/>
              <a:gd name="T15" fmla="*/ 0 h 214"/>
              <a:gd name="T16" fmla="*/ 5 w 228"/>
              <a:gd name="T17" fmla="*/ 0 h 214"/>
              <a:gd name="T18" fmla="*/ 5 w 228"/>
              <a:gd name="T19" fmla="*/ 1 h 214"/>
              <a:gd name="T20" fmla="*/ 4 w 228"/>
              <a:gd name="T21" fmla="*/ 2 h 214"/>
              <a:gd name="T22" fmla="*/ 5 w 228"/>
              <a:gd name="T23" fmla="*/ 2 h 214"/>
              <a:gd name="T24" fmla="*/ 5 w 228"/>
              <a:gd name="T25" fmla="*/ 4 h 214"/>
              <a:gd name="T26" fmla="*/ 3 w 228"/>
              <a:gd name="T27" fmla="*/ 5 h 214"/>
              <a:gd name="T28" fmla="*/ 2 w 228"/>
              <a:gd name="T29" fmla="*/ 4 h 214"/>
              <a:gd name="T30" fmla="*/ 0 w 228"/>
              <a:gd name="T31" fmla="*/ 3 h 21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28"/>
              <a:gd name="T49" fmla="*/ 0 h 214"/>
              <a:gd name="T50" fmla="*/ 228 w 228"/>
              <a:gd name="T51" fmla="*/ 214 h 21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28" h="214">
                <a:moveTo>
                  <a:pt x="0" y="107"/>
                </a:moveTo>
                <a:lnTo>
                  <a:pt x="14" y="80"/>
                </a:lnTo>
                <a:lnTo>
                  <a:pt x="87" y="95"/>
                </a:lnTo>
                <a:lnTo>
                  <a:pt x="77" y="62"/>
                </a:lnTo>
                <a:lnTo>
                  <a:pt x="95" y="64"/>
                </a:lnTo>
                <a:lnTo>
                  <a:pt x="45" y="45"/>
                </a:lnTo>
                <a:lnTo>
                  <a:pt x="72" y="35"/>
                </a:lnTo>
                <a:lnTo>
                  <a:pt x="47" y="18"/>
                </a:lnTo>
                <a:lnTo>
                  <a:pt x="196" y="0"/>
                </a:lnTo>
                <a:lnTo>
                  <a:pt x="200" y="46"/>
                </a:lnTo>
                <a:lnTo>
                  <a:pt x="155" y="84"/>
                </a:lnTo>
                <a:lnTo>
                  <a:pt x="219" y="95"/>
                </a:lnTo>
                <a:lnTo>
                  <a:pt x="228" y="173"/>
                </a:lnTo>
                <a:lnTo>
                  <a:pt x="132" y="214"/>
                </a:lnTo>
                <a:lnTo>
                  <a:pt x="87" y="154"/>
                </a:lnTo>
                <a:lnTo>
                  <a:pt x="0" y="10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 265"/>
          <p:cNvSpPr/>
          <p:nvPr/>
        </p:nvSpPr>
        <p:spPr bwMode="auto">
          <a:xfrm>
            <a:off x="9478010" y="897890"/>
            <a:ext cx="106045" cy="80645"/>
          </a:xfrm>
          <a:custGeom>
            <a:avLst/>
            <a:gdLst>
              <a:gd name="T0" fmla="*/ 0 w 136"/>
              <a:gd name="T1" fmla="*/ 0 h 109"/>
              <a:gd name="T2" fmla="*/ 0 w 136"/>
              <a:gd name="T3" fmla="*/ 1 h 109"/>
              <a:gd name="T4" fmla="*/ 1 w 136"/>
              <a:gd name="T5" fmla="*/ 2 h 109"/>
              <a:gd name="T6" fmla="*/ 1 w 136"/>
              <a:gd name="T7" fmla="*/ 2 h 109"/>
              <a:gd name="T8" fmla="*/ 1 w 136"/>
              <a:gd name="T9" fmla="*/ 3 h 109"/>
              <a:gd name="T10" fmla="*/ 3 w 136"/>
              <a:gd name="T11" fmla="*/ 2 h 109"/>
              <a:gd name="T12" fmla="*/ 3 w 136"/>
              <a:gd name="T13" fmla="*/ 1 h 109"/>
              <a:gd name="T14" fmla="*/ 0 w 136"/>
              <a:gd name="T15" fmla="*/ 0 h 10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6"/>
              <a:gd name="T25" fmla="*/ 0 h 109"/>
              <a:gd name="T26" fmla="*/ 136 w 136"/>
              <a:gd name="T27" fmla="*/ 109 h 10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6" h="109">
                <a:moveTo>
                  <a:pt x="0" y="0"/>
                </a:moveTo>
                <a:lnTo>
                  <a:pt x="18" y="65"/>
                </a:lnTo>
                <a:lnTo>
                  <a:pt x="59" y="71"/>
                </a:lnTo>
                <a:lnTo>
                  <a:pt x="23" y="79"/>
                </a:lnTo>
                <a:lnTo>
                  <a:pt x="42" y="109"/>
                </a:lnTo>
                <a:lnTo>
                  <a:pt x="127" y="91"/>
                </a:lnTo>
                <a:lnTo>
                  <a:pt x="136" y="54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reeform 266"/>
          <p:cNvSpPr/>
          <p:nvPr/>
        </p:nvSpPr>
        <p:spPr bwMode="auto">
          <a:xfrm>
            <a:off x="9516110" y="1021080"/>
            <a:ext cx="514350" cy="178435"/>
          </a:xfrm>
          <a:custGeom>
            <a:avLst/>
            <a:gdLst>
              <a:gd name="T0" fmla="*/ 0 w 659"/>
              <a:gd name="T1" fmla="*/ 1 h 241"/>
              <a:gd name="T2" fmla="*/ 1 w 659"/>
              <a:gd name="T3" fmla="*/ 0 h 241"/>
              <a:gd name="T4" fmla="*/ 2 w 659"/>
              <a:gd name="T5" fmla="*/ 0 h 241"/>
              <a:gd name="T6" fmla="*/ 3 w 659"/>
              <a:gd name="T7" fmla="*/ 1 h 241"/>
              <a:gd name="T8" fmla="*/ 3 w 659"/>
              <a:gd name="T9" fmla="*/ 1 h 241"/>
              <a:gd name="T10" fmla="*/ 5 w 659"/>
              <a:gd name="T11" fmla="*/ 1 h 241"/>
              <a:gd name="T12" fmla="*/ 6 w 659"/>
              <a:gd name="T13" fmla="*/ 1 h 241"/>
              <a:gd name="T14" fmla="*/ 5 w 659"/>
              <a:gd name="T15" fmla="*/ 1 h 241"/>
              <a:gd name="T16" fmla="*/ 7 w 659"/>
              <a:gd name="T17" fmla="*/ 2 h 241"/>
              <a:gd name="T18" fmla="*/ 5 w 659"/>
              <a:gd name="T19" fmla="*/ 2 h 241"/>
              <a:gd name="T20" fmla="*/ 6 w 659"/>
              <a:gd name="T21" fmla="*/ 3 h 241"/>
              <a:gd name="T22" fmla="*/ 5 w 659"/>
              <a:gd name="T23" fmla="*/ 3 h 241"/>
              <a:gd name="T24" fmla="*/ 6 w 659"/>
              <a:gd name="T25" fmla="*/ 3 h 241"/>
              <a:gd name="T26" fmla="*/ 7 w 659"/>
              <a:gd name="T27" fmla="*/ 4 h 241"/>
              <a:gd name="T28" fmla="*/ 7 w 659"/>
              <a:gd name="T29" fmla="*/ 3 h 241"/>
              <a:gd name="T30" fmla="*/ 10 w 659"/>
              <a:gd name="T31" fmla="*/ 4 h 241"/>
              <a:gd name="T32" fmla="*/ 13 w 659"/>
              <a:gd name="T33" fmla="*/ 3 h 241"/>
              <a:gd name="T34" fmla="*/ 15 w 659"/>
              <a:gd name="T35" fmla="*/ 4 h 241"/>
              <a:gd name="T36" fmla="*/ 15 w 659"/>
              <a:gd name="T37" fmla="*/ 5 h 241"/>
              <a:gd name="T38" fmla="*/ 15 w 659"/>
              <a:gd name="T39" fmla="*/ 5 h 241"/>
              <a:gd name="T40" fmla="*/ 13 w 659"/>
              <a:gd name="T41" fmla="*/ 6 h 241"/>
              <a:gd name="T42" fmla="*/ 12 w 659"/>
              <a:gd name="T43" fmla="*/ 5 h 241"/>
              <a:gd name="T44" fmla="*/ 12 w 659"/>
              <a:gd name="T45" fmla="*/ 5 h 241"/>
              <a:gd name="T46" fmla="*/ 11 w 659"/>
              <a:gd name="T47" fmla="*/ 5 h 241"/>
              <a:gd name="T48" fmla="*/ 8 w 659"/>
              <a:gd name="T49" fmla="*/ 6 h 241"/>
              <a:gd name="T50" fmla="*/ 7 w 659"/>
              <a:gd name="T51" fmla="*/ 5 h 241"/>
              <a:gd name="T52" fmla="*/ 6 w 659"/>
              <a:gd name="T53" fmla="*/ 5 h 241"/>
              <a:gd name="T54" fmla="*/ 5 w 659"/>
              <a:gd name="T55" fmla="*/ 5 h 241"/>
              <a:gd name="T56" fmla="*/ 5 w 659"/>
              <a:gd name="T57" fmla="*/ 5 h 241"/>
              <a:gd name="T58" fmla="*/ 3 w 659"/>
              <a:gd name="T59" fmla="*/ 2 h 241"/>
              <a:gd name="T60" fmla="*/ 2 w 659"/>
              <a:gd name="T61" fmla="*/ 2 h 241"/>
              <a:gd name="T62" fmla="*/ 0 w 659"/>
              <a:gd name="T63" fmla="*/ 1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659"/>
              <a:gd name="T97" fmla="*/ 0 h 241"/>
              <a:gd name="T98" fmla="*/ 659 w 659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659" h="241">
                <a:moveTo>
                  <a:pt x="0" y="38"/>
                </a:moveTo>
                <a:lnTo>
                  <a:pt x="41" y="0"/>
                </a:lnTo>
                <a:lnTo>
                  <a:pt x="97" y="19"/>
                </a:lnTo>
                <a:lnTo>
                  <a:pt x="137" y="38"/>
                </a:lnTo>
                <a:lnTo>
                  <a:pt x="126" y="65"/>
                </a:lnTo>
                <a:lnTo>
                  <a:pt x="200" y="42"/>
                </a:lnTo>
                <a:lnTo>
                  <a:pt x="250" y="65"/>
                </a:lnTo>
                <a:lnTo>
                  <a:pt x="209" y="65"/>
                </a:lnTo>
                <a:lnTo>
                  <a:pt x="293" y="84"/>
                </a:lnTo>
                <a:lnTo>
                  <a:pt x="200" y="92"/>
                </a:lnTo>
                <a:lnTo>
                  <a:pt x="250" y="108"/>
                </a:lnTo>
                <a:lnTo>
                  <a:pt x="214" y="126"/>
                </a:lnTo>
                <a:lnTo>
                  <a:pt x="260" y="112"/>
                </a:lnTo>
                <a:lnTo>
                  <a:pt x="301" y="158"/>
                </a:lnTo>
                <a:lnTo>
                  <a:pt x="310" y="135"/>
                </a:lnTo>
                <a:lnTo>
                  <a:pt x="430" y="158"/>
                </a:lnTo>
                <a:lnTo>
                  <a:pt x="555" y="114"/>
                </a:lnTo>
                <a:lnTo>
                  <a:pt x="659" y="167"/>
                </a:lnTo>
                <a:lnTo>
                  <a:pt x="626" y="191"/>
                </a:lnTo>
                <a:lnTo>
                  <a:pt x="635" y="231"/>
                </a:lnTo>
                <a:lnTo>
                  <a:pt x="576" y="241"/>
                </a:lnTo>
                <a:lnTo>
                  <a:pt x="509" y="203"/>
                </a:lnTo>
                <a:lnTo>
                  <a:pt x="509" y="231"/>
                </a:lnTo>
                <a:lnTo>
                  <a:pt x="473" y="238"/>
                </a:lnTo>
                <a:lnTo>
                  <a:pt x="325" y="241"/>
                </a:lnTo>
                <a:lnTo>
                  <a:pt x="310" y="207"/>
                </a:lnTo>
                <a:lnTo>
                  <a:pt x="274" y="238"/>
                </a:lnTo>
                <a:lnTo>
                  <a:pt x="227" y="207"/>
                </a:lnTo>
                <a:lnTo>
                  <a:pt x="197" y="229"/>
                </a:lnTo>
                <a:lnTo>
                  <a:pt x="141" y="72"/>
                </a:lnTo>
                <a:lnTo>
                  <a:pt x="75" y="87"/>
                </a:lnTo>
                <a:lnTo>
                  <a:pt x="0" y="3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267"/>
          <p:cNvSpPr/>
          <p:nvPr/>
        </p:nvSpPr>
        <p:spPr bwMode="auto">
          <a:xfrm>
            <a:off x="9538335" y="717550"/>
            <a:ext cx="330835" cy="238125"/>
          </a:xfrm>
          <a:custGeom>
            <a:avLst/>
            <a:gdLst>
              <a:gd name="T0" fmla="*/ 0 w 428"/>
              <a:gd name="T1" fmla="*/ 2 h 323"/>
              <a:gd name="T2" fmla="*/ 2 w 428"/>
              <a:gd name="T3" fmla="*/ 2 h 323"/>
              <a:gd name="T4" fmla="*/ 1 w 428"/>
              <a:gd name="T5" fmla="*/ 1 h 323"/>
              <a:gd name="T6" fmla="*/ 3 w 428"/>
              <a:gd name="T7" fmla="*/ 1 h 323"/>
              <a:gd name="T8" fmla="*/ 1 w 428"/>
              <a:gd name="T9" fmla="*/ 0 h 323"/>
              <a:gd name="T10" fmla="*/ 4 w 428"/>
              <a:gd name="T11" fmla="*/ 1 h 323"/>
              <a:gd name="T12" fmla="*/ 5 w 428"/>
              <a:gd name="T13" fmla="*/ 2 h 323"/>
              <a:gd name="T14" fmla="*/ 6 w 428"/>
              <a:gd name="T15" fmla="*/ 2 h 323"/>
              <a:gd name="T16" fmla="*/ 7 w 428"/>
              <a:gd name="T17" fmla="*/ 3 h 323"/>
              <a:gd name="T18" fmla="*/ 7 w 428"/>
              <a:gd name="T19" fmla="*/ 2 h 323"/>
              <a:gd name="T20" fmla="*/ 8 w 428"/>
              <a:gd name="T21" fmla="*/ 2 h 323"/>
              <a:gd name="T22" fmla="*/ 7 w 428"/>
              <a:gd name="T23" fmla="*/ 3 h 323"/>
              <a:gd name="T24" fmla="*/ 8 w 428"/>
              <a:gd name="T25" fmla="*/ 3 h 323"/>
              <a:gd name="T26" fmla="*/ 8 w 428"/>
              <a:gd name="T27" fmla="*/ 4 h 323"/>
              <a:gd name="T28" fmla="*/ 9 w 428"/>
              <a:gd name="T29" fmla="*/ 4 h 323"/>
              <a:gd name="T30" fmla="*/ 10 w 428"/>
              <a:gd name="T31" fmla="*/ 5 h 323"/>
              <a:gd name="T32" fmla="*/ 8 w 428"/>
              <a:gd name="T33" fmla="*/ 5 h 323"/>
              <a:gd name="T34" fmla="*/ 7 w 428"/>
              <a:gd name="T35" fmla="*/ 6 h 323"/>
              <a:gd name="T36" fmla="*/ 7 w 428"/>
              <a:gd name="T37" fmla="*/ 5 h 323"/>
              <a:gd name="T38" fmla="*/ 7 w 428"/>
              <a:gd name="T39" fmla="*/ 7 h 323"/>
              <a:gd name="T40" fmla="*/ 5 w 428"/>
              <a:gd name="T41" fmla="*/ 6 h 323"/>
              <a:gd name="T42" fmla="*/ 6 w 428"/>
              <a:gd name="T43" fmla="*/ 7 h 323"/>
              <a:gd name="T44" fmla="*/ 4 w 428"/>
              <a:gd name="T45" fmla="*/ 7 h 323"/>
              <a:gd name="T46" fmla="*/ 3 w 428"/>
              <a:gd name="T47" fmla="*/ 7 h 323"/>
              <a:gd name="T48" fmla="*/ 4 w 428"/>
              <a:gd name="T49" fmla="*/ 7 h 323"/>
              <a:gd name="T50" fmla="*/ 3 w 428"/>
              <a:gd name="T51" fmla="*/ 7 h 323"/>
              <a:gd name="T52" fmla="*/ 3 w 428"/>
              <a:gd name="T53" fmla="*/ 6 h 323"/>
              <a:gd name="T54" fmla="*/ 3 w 428"/>
              <a:gd name="T55" fmla="*/ 6 h 323"/>
              <a:gd name="T56" fmla="*/ 2 w 428"/>
              <a:gd name="T57" fmla="*/ 5 h 323"/>
              <a:gd name="T58" fmla="*/ 5 w 428"/>
              <a:gd name="T59" fmla="*/ 5 h 323"/>
              <a:gd name="T60" fmla="*/ 1 w 428"/>
              <a:gd name="T61" fmla="*/ 5 h 323"/>
              <a:gd name="T62" fmla="*/ 1 w 428"/>
              <a:gd name="T63" fmla="*/ 4 h 323"/>
              <a:gd name="T64" fmla="*/ 2 w 428"/>
              <a:gd name="T65" fmla="*/ 4 h 323"/>
              <a:gd name="T66" fmla="*/ 0 w 428"/>
              <a:gd name="T67" fmla="*/ 3 h 323"/>
              <a:gd name="T68" fmla="*/ 1 w 428"/>
              <a:gd name="T69" fmla="*/ 3 h 323"/>
              <a:gd name="T70" fmla="*/ 0 w 428"/>
              <a:gd name="T71" fmla="*/ 3 h 323"/>
              <a:gd name="T72" fmla="*/ 2 w 428"/>
              <a:gd name="T73" fmla="*/ 3 h 323"/>
              <a:gd name="T74" fmla="*/ 0 w 428"/>
              <a:gd name="T75" fmla="*/ 2 h 32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28"/>
              <a:gd name="T115" fmla="*/ 0 h 323"/>
              <a:gd name="T116" fmla="*/ 428 w 428"/>
              <a:gd name="T117" fmla="*/ 323 h 32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28" h="323">
                <a:moveTo>
                  <a:pt x="0" y="103"/>
                </a:moveTo>
                <a:lnTo>
                  <a:pt x="103" y="84"/>
                </a:lnTo>
                <a:lnTo>
                  <a:pt x="52" y="39"/>
                </a:lnTo>
                <a:lnTo>
                  <a:pt x="140" y="20"/>
                </a:lnTo>
                <a:lnTo>
                  <a:pt x="67" y="0"/>
                </a:lnTo>
                <a:lnTo>
                  <a:pt x="184" y="25"/>
                </a:lnTo>
                <a:lnTo>
                  <a:pt x="217" y="85"/>
                </a:lnTo>
                <a:lnTo>
                  <a:pt x="277" y="87"/>
                </a:lnTo>
                <a:lnTo>
                  <a:pt x="299" y="130"/>
                </a:lnTo>
                <a:lnTo>
                  <a:pt x="305" y="100"/>
                </a:lnTo>
                <a:lnTo>
                  <a:pt x="332" y="103"/>
                </a:lnTo>
                <a:lnTo>
                  <a:pt x="320" y="130"/>
                </a:lnTo>
                <a:lnTo>
                  <a:pt x="354" y="150"/>
                </a:lnTo>
                <a:lnTo>
                  <a:pt x="332" y="177"/>
                </a:lnTo>
                <a:lnTo>
                  <a:pt x="401" y="175"/>
                </a:lnTo>
                <a:lnTo>
                  <a:pt x="428" y="217"/>
                </a:lnTo>
                <a:lnTo>
                  <a:pt x="350" y="230"/>
                </a:lnTo>
                <a:lnTo>
                  <a:pt x="327" y="271"/>
                </a:lnTo>
                <a:lnTo>
                  <a:pt x="310" y="229"/>
                </a:lnTo>
                <a:lnTo>
                  <a:pt x="290" y="322"/>
                </a:lnTo>
                <a:lnTo>
                  <a:pt x="237" y="273"/>
                </a:lnTo>
                <a:lnTo>
                  <a:pt x="265" y="323"/>
                </a:lnTo>
                <a:lnTo>
                  <a:pt x="162" y="317"/>
                </a:lnTo>
                <a:lnTo>
                  <a:pt x="133" y="290"/>
                </a:lnTo>
                <a:lnTo>
                  <a:pt x="180" y="287"/>
                </a:lnTo>
                <a:lnTo>
                  <a:pt x="129" y="277"/>
                </a:lnTo>
                <a:lnTo>
                  <a:pt x="113" y="263"/>
                </a:lnTo>
                <a:lnTo>
                  <a:pt x="140" y="261"/>
                </a:lnTo>
                <a:lnTo>
                  <a:pt x="100" y="240"/>
                </a:lnTo>
                <a:lnTo>
                  <a:pt x="235" y="211"/>
                </a:lnTo>
                <a:lnTo>
                  <a:pt x="67" y="217"/>
                </a:lnTo>
                <a:lnTo>
                  <a:pt x="39" y="184"/>
                </a:lnTo>
                <a:lnTo>
                  <a:pt x="100" y="171"/>
                </a:lnTo>
                <a:lnTo>
                  <a:pt x="7" y="150"/>
                </a:lnTo>
                <a:lnTo>
                  <a:pt x="27" y="148"/>
                </a:lnTo>
                <a:lnTo>
                  <a:pt x="3" y="127"/>
                </a:lnTo>
                <a:lnTo>
                  <a:pt x="103" y="127"/>
                </a:lnTo>
                <a:lnTo>
                  <a:pt x="0" y="10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268"/>
          <p:cNvSpPr/>
          <p:nvPr/>
        </p:nvSpPr>
        <p:spPr bwMode="auto">
          <a:xfrm>
            <a:off x="9538335" y="1124585"/>
            <a:ext cx="79375" cy="61595"/>
          </a:xfrm>
          <a:custGeom>
            <a:avLst/>
            <a:gdLst>
              <a:gd name="T0" fmla="*/ 0 w 103"/>
              <a:gd name="T1" fmla="*/ 1 h 82"/>
              <a:gd name="T2" fmla="*/ 0 w 103"/>
              <a:gd name="T3" fmla="*/ 0 h 82"/>
              <a:gd name="T4" fmla="*/ 2 w 103"/>
              <a:gd name="T5" fmla="*/ 0 h 82"/>
              <a:gd name="T6" fmla="*/ 2 w 103"/>
              <a:gd name="T7" fmla="*/ 2 h 82"/>
              <a:gd name="T8" fmla="*/ 0 w 103"/>
              <a:gd name="T9" fmla="*/ 1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3"/>
              <a:gd name="T16" fmla="*/ 0 h 82"/>
              <a:gd name="T17" fmla="*/ 103 w 103"/>
              <a:gd name="T18" fmla="*/ 82 h 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3" h="82">
                <a:moveTo>
                  <a:pt x="0" y="55"/>
                </a:moveTo>
                <a:lnTo>
                  <a:pt x="18" y="0"/>
                </a:lnTo>
                <a:lnTo>
                  <a:pt x="86" y="16"/>
                </a:lnTo>
                <a:lnTo>
                  <a:pt x="103" y="82"/>
                </a:lnTo>
                <a:lnTo>
                  <a:pt x="0" y="5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269"/>
          <p:cNvSpPr/>
          <p:nvPr/>
        </p:nvSpPr>
        <p:spPr bwMode="auto">
          <a:xfrm>
            <a:off x="9540875" y="977900"/>
            <a:ext cx="87630" cy="20320"/>
          </a:xfrm>
          <a:custGeom>
            <a:avLst/>
            <a:gdLst>
              <a:gd name="T0" fmla="*/ 0 w 116"/>
              <a:gd name="T1" fmla="*/ 0 h 29"/>
              <a:gd name="T2" fmla="*/ 1 w 116"/>
              <a:gd name="T3" fmla="*/ 1 h 29"/>
              <a:gd name="T4" fmla="*/ 2 w 116"/>
              <a:gd name="T5" fmla="*/ 0 h 29"/>
              <a:gd name="T6" fmla="*/ 1 w 116"/>
              <a:gd name="T7" fmla="*/ 0 h 29"/>
              <a:gd name="T8" fmla="*/ 0 w 116"/>
              <a:gd name="T9" fmla="*/ 0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6"/>
              <a:gd name="T16" fmla="*/ 0 h 29"/>
              <a:gd name="T17" fmla="*/ 116 w 116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6" h="29">
                <a:moveTo>
                  <a:pt x="0" y="12"/>
                </a:moveTo>
                <a:lnTo>
                  <a:pt x="26" y="29"/>
                </a:lnTo>
                <a:lnTo>
                  <a:pt x="116" y="12"/>
                </a:lnTo>
                <a:lnTo>
                  <a:pt x="31" y="0"/>
                </a:lnTo>
                <a:lnTo>
                  <a:pt x="0" y="1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reeform 270"/>
          <p:cNvSpPr/>
          <p:nvPr/>
        </p:nvSpPr>
        <p:spPr bwMode="auto">
          <a:xfrm>
            <a:off x="9557385" y="1225550"/>
            <a:ext cx="158750" cy="128905"/>
          </a:xfrm>
          <a:custGeom>
            <a:avLst/>
            <a:gdLst>
              <a:gd name="T0" fmla="*/ 0 w 204"/>
              <a:gd name="T1" fmla="*/ 1 h 172"/>
              <a:gd name="T2" fmla="*/ 0 w 204"/>
              <a:gd name="T3" fmla="*/ 3 h 172"/>
              <a:gd name="T4" fmla="*/ 1 w 204"/>
              <a:gd name="T5" fmla="*/ 3 h 172"/>
              <a:gd name="T6" fmla="*/ 1 w 204"/>
              <a:gd name="T7" fmla="*/ 4 h 172"/>
              <a:gd name="T8" fmla="*/ 1 w 204"/>
              <a:gd name="T9" fmla="*/ 4 h 172"/>
              <a:gd name="T10" fmla="*/ 2 w 204"/>
              <a:gd name="T11" fmla="*/ 3 h 172"/>
              <a:gd name="T12" fmla="*/ 1 w 204"/>
              <a:gd name="T13" fmla="*/ 3 h 172"/>
              <a:gd name="T14" fmla="*/ 3 w 204"/>
              <a:gd name="T15" fmla="*/ 3 h 172"/>
              <a:gd name="T16" fmla="*/ 5 w 204"/>
              <a:gd name="T17" fmla="*/ 0 h 172"/>
              <a:gd name="T18" fmla="*/ 0 w 204"/>
              <a:gd name="T19" fmla="*/ 0 h 172"/>
              <a:gd name="T20" fmla="*/ 1 w 204"/>
              <a:gd name="T21" fmla="*/ 1 h 172"/>
              <a:gd name="T22" fmla="*/ 0 w 204"/>
              <a:gd name="T23" fmla="*/ 1 h 17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4"/>
              <a:gd name="T37" fmla="*/ 0 h 172"/>
              <a:gd name="T38" fmla="*/ 204 w 204"/>
              <a:gd name="T39" fmla="*/ 172 h 17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4" h="172">
                <a:moveTo>
                  <a:pt x="0" y="30"/>
                </a:moveTo>
                <a:lnTo>
                  <a:pt x="3" y="107"/>
                </a:lnTo>
                <a:lnTo>
                  <a:pt x="28" y="123"/>
                </a:lnTo>
                <a:lnTo>
                  <a:pt x="21" y="168"/>
                </a:lnTo>
                <a:lnTo>
                  <a:pt x="48" y="172"/>
                </a:lnTo>
                <a:lnTo>
                  <a:pt x="81" y="134"/>
                </a:lnTo>
                <a:lnTo>
                  <a:pt x="48" y="107"/>
                </a:lnTo>
                <a:lnTo>
                  <a:pt x="131" y="107"/>
                </a:lnTo>
                <a:lnTo>
                  <a:pt x="204" y="12"/>
                </a:lnTo>
                <a:lnTo>
                  <a:pt x="15" y="0"/>
                </a:lnTo>
                <a:lnTo>
                  <a:pt x="38" y="31"/>
                </a:lnTo>
                <a:lnTo>
                  <a:pt x="0" y="3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reeform 271"/>
          <p:cNvSpPr/>
          <p:nvPr/>
        </p:nvSpPr>
        <p:spPr bwMode="auto">
          <a:xfrm>
            <a:off x="9664065" y="577215"/>
            <a:ext cx="913130" cy="511175"/>
          </a:xfrm>
          <a:custGeom>
            <a:avLst/>
            <a:gdLst>
              <a:gd name="T0" fmla="*/ 1 w 1173"/>
              <a:gd name="T1" fmla="*/ 4 h 695"/>
              <a:gd name="T2" fmla="*/ 3 w 1173"/>
              <a:gd name="T3" fmla="*/ 5 h 695"/>
              <a:gd name="T4" fmla="*/ 7 w 1173"/>
              <a:gd name="T5" fmla="*/ 5 h 695"/>
              <a:gd name="T6" fmla="*/ 6 w 1173"/>
              <a:gd name="T7" fmla="*/ 5 h 695"/>
              <a:gd name="T8" fmla="*/ 5 w 1173"/>
              <a:gd name="T9" fmla="*/ 6 h 695"/>
              <a:gd name="T10" fmla="*/ 7 w 1173"/>
              <a:gd name="T11" fmla="*/ 6 h 695"/>
              <a:gd name="T12" fmla="*/ 11 w 1173"/>
              <a:gd name="T13" fmla="*/ 5 h 695"/>
              <a:gd name="T14" fmla="*/ 15 w 1173"/>
              <a:gd name="T15" fmla="*/ 5 h 695"/>
              <a:gd name="T16" fmla="*/ 11 w 1173"/>
              <a:gd name="T17" fmla="*/ 8 h 695"/>
              <a:gd name="T18" fmla="*/ 5 w 1173"/>
              <a:gd name="T19" fmla="*/ 7 h 695"/>
              <a:gd name="T20" fmla="*/ 5 w 1173"/>
              <a:gd name="T21" fmla="*/ 8 h 695"/>
              <a:gd name="T22" fmla="*/ 9 w 1173"/>
              <a:gd name="T23" fmla="*/ 10 h 695"/>
              <a:gd name="T24" fmla="*/ 6 w 1173"/>
              <a:gd name="T25" fmla="*/ 10 h 695"/>
              <a:gd name="T26" fmla="*/ 5 w 1173"/>
              <a:gd name="T27" fmla="*/ 11 h 695"/>
              <a:gd name="T28" fmla="*/ 7 w 1173"/>
              <a:gd name="T29" fmla="*/ 11 h 695"/>
              <a:gd name="T30" fmla="*/ 5 w 1173"/>
              <a:gd name="T31" fmla="*/ 12 h 695"/>
              <a:gd name="T32" fmla="*/ 6 w 1173"/>
              <a:gd name="T33" fmla="*/ 13 h 695"/>
              <a:gd name="T34" fmla="*/ 7 w 1173"/>
              <a:gd name="T35" fmla="*/ 14 h 695"/>
              <a:gd name="T36" fmla="*/ 5 w 1173"/>
              <a:gd name="T37" fmla="*/ 14 h 695"/>
              <a:gd name="T38" fmla="*/ 3 w 1173"/>
              <a:gd name="T39" fmla="*/ 15 h 695"/>
              <a:gd name="T40" fmla="*/ 6 w 1173"/>
              <a:gd name="T41" fmla="*/ 16 h 695"/>
              <a:gd name="T42" fmla="*/ 7 w 1173"/>
              <a:gd name="T43" fmla="*/ 15 h 695"/>
              <a:gd name="T44" fmla="*/ 9 w 1173"/>
              <a:gd name="T45" fmla="*/ 15 h 695"/>
              <a:gd name="T46" fmla="*/ 10 w 1173"/>
              <a:gd name="T47" fmla="*/ 16 h 695"/>
              <a:gd name="T48" fmla="*/ 11 w 1173"/>
              <a:gd name="T49" fmla="*/ 15 h 695"/>
              <a:gd name="T50" fmla="*/ 12 w 1173"/>
              <a:gd name="T51" fmla="*/ 14 h 695"/>
              <a:gd name="T52" fmla="*/ 14 w 1173"/>
              <a:gd name="T53" fmla="*/ 12 h 695"/>
              <a:gd name="T54" fmla="*/ 15 w 1173"/>
              <a:gd name="T55" fmla="*/ 11 h 695"/>
              <a:gd name="T56" fmla="*/ 15 w 1173"/>
              <a:gd name="T57" fmla="*/ 10 h 695"/>
              <a:gd name="T58" fmla="*/ 13 w 1173"/>
              <a:gd name="T59" fmla="*/ 10 h 695"/>
              <a:gd name="T60" fmla="*/ 13 w 1173"/>
              <a:gd name="T61" fmla="*/ 9 h 695"/>
              <a:gd name="T62" fmla="*/ 18 w 1173"/>
              <a:gd name="T63" fmla="*/ 8 h 695"/>
              <a:gd name="T64" fmla="*/ 19 w 1173"/>
              <a:gd name="T65" fmla="*/ 7 h 695"/>
              <a:gd name="T66" fmla="*/ 24 w 1173"/>
              <a:gd name="T67" fmla="*/ 4 h 695"/>
              <a:gd name="T68" fmla="*/ 20 w 1173"/>
              <a:gd name="T69" fmla="*/ 4 h 695"/>
              <a:gd name="T70" fmla="*/ 27 w 1173"/>
              <a:gd name="T71" fmla="*/ 3 h 695"/>
              <a:gd name="T72" fmla="*/ 25 w 1173"/>
              <a:gd name="T73" fmla="*/ 1 h 695"/>
              <a:gd name="T74" fmla="*/ 16 w 1173"/>
              <a:gd name="T75" fmla="*/ 0 h 695"/>
              <a:gd name="T76" fmla="*/ 15 w 1173"/>
              <a:gd name="T77" fmla="*/ 0 h 695"/>
              <a:gd name="T78" fmla="*/ 13 w 1173"/>
              <a:gd name="T79" fmla="*/ 2 h 695"/>
              <a:gd name="T80" fmla="*/ 10 w 1173"/>
              <a:gd name="T81" fmla="*/ 1 h 695"/>
              <a:gd name="T82" fmla="*/ 8 w 1173"/>
              <a:gd name="T83" fmla="*/ 1 h 695"/>
              <a:gd name="T84" fmla="*/ 9 w 1173"/>
              <a:gd name="T85" fmla="*/ 3 h 695"/>
              <a:gd name="T86" fmla="*/ 6 w 1173"/>
              <a:gd name="T87" fmla="*/ 3 h 69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73"/>
              <a:gd name="T133" fmla="*/ 0 h 695"/>
              <a:gd name="T134" fmla="*/ 1173 w 1173"/>
              <a:gd name="T135" fmla="*/ 695 h 695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73" h="695">
                <a:moveTo>
                  <a:pt x="0" y="165"/>
                </a:moveTo>
                <a:lnTo>
                  <a:pt x="104" y="165"/>
                </a:lnTo>
                <a:lnTo>
                  <a:pt x="67" y="189"/>
                </a:lnTo>
                <a:lnTo>
                  <a:pt x="211" y="170"/>
                </a:lnTo>
                <a:lnTo>
                  <a:pt x="87" y="189"/>
                </a:lnTo>
                <a:lnTo>
                  <a:pt x="126" y="201"/>
                </a:lnTo>
                <a:lnTo>
                  <a:pt x="84" y="204"/>
                </a:lnTo>
                <a:lnTo>
                  <a:pt x="102" y="223"/>
                </a:lnTo>
                <a:lnTo>
                  <a:pt x="287" y="195"/>
                </a:lnTo>
                <a:lnTo>
                  <a:pt x="104" y="238"/>
                </a:lnTo>
                <a:lnTo>
                  <a:pt x="183" y="272"/>
                </a:lnTo>
                <a:lnTo>
                  <a:pt x="255" y="222"/>
                </a:lnTo>
                <a:lnTo>
                  <a:pt x="379" y="214"/>
                </a:lnTo>
                <a:lnTo>
                  <a:pt x="249" y="232"/>
                </a:lnTo>
                <a:lnTo>
                  <a:pt x="219" y="272"/>
                </a:lnTo>
                <a:lnTo>
                  <a:pt x="294" y="276"/>
                </a:lnTo>
                <a:lnTo>
                  <a:pt x="379" y="237"/>
                </a:lnTo>
                <a:lnTo>
                  <a:pt x="322" y="273"/>
                </a:lnTo>
                <a:lnTo>
                  <a:pt x="379" y="273"/>
                </a:lnTo>
                <a:lnTo>
                  <a:pt x="467" y="246"/>
                </a:lnTo>
                <a:lnTo>
                  <a:pt x="456" y="205"/>
                </a:lnTo>
                <a:lnTo>
                  <a:pt x="551" y="176"/>
                </a:lnTo>
                <a:lnTo>
                  <a:pt x="481" y="241"/>
                </a:lnTo>
                <a:lnTo>
                  <a:pt x="631" y="228"/>
                </a:lnTo>
                <a:lnTo>
                  <a:pt x="328" y="293"/>
                </a:lnTo>
                <a:lnTo>
                  <a:pt x="396" y="360"/>
                </a:lnTo>
                <a:lnTo>
                  <a:pt x="458" y="360"/>
                </a:lnTo>
                <a:lnTo>
                  <a:pt x="427" y="373"/>
                </a:lnTo>
                <a:lnTo>
                  <a:pt x="307" y="304"/>
                </a:lnTo>
                <a:lnTo>
                  <a:pt x="209" y="293"/>
                </a:lnTo>
                <a:lnTo>
                  <a:pt x="207" y="322"/>
                </a:lnTo>
                <a:lnTo>
                  <a:pt x="253" y="337"/>
                </a:lnTo>
                <a:lnTo>
                  <a:pt x="208" y="346"/>
                </a:lnTo>
                <a:lnTo>
                  <a:pt x="328" y="423"/>
                </a:lnTo>
                <a:lnTo>
                  <a:pt x="279" y="426"/>
                </a:lnTo>
                <a:lnTo>
                  <a:pt x="399" y="431"/>
                </a:lnTo>
                <a:lnTo>
                  <a:pt x="332" y="448"/>
                </a:lnTo>
                <a:lnTo>
                  <a:pt x="368" y="473"/>
                </a:lnTo>
                <a:lnTo>
                  <a:pt x="260" y="434"/>
                </a:lnTo>
                <a:lnTo>
                  <a:pt x="198" y="450"/>
                </a:lnTo>
                <a:lnTo>
                  <a:pt x="172" y="512"/>
                </a:lnTo>
                <a:lnTo>
                  <a:pt x="235" y="491"/>
                </a:lnTo>
                <a:lnTo>
                  <a:pt x="222" y="514"/>
                </a:lnTo>
                <a:lnTo>
                  <a:pt x="245" y="514"/>
                </a:lnTo>
                <a:lnTo>
                  <a:pt x="283" y="466"/>
                </a:lnTo>
                <a:lnTo>
                  <a:pt x="269" y="506"/>
                </a:lnTo>
                <a:lnTo>
                  <a:pt x="304" y="511"/>
                </a:lnTo>
                <a:lnTo>
                  <a:pt x="239" y="530"/>
                </a:lnTo>
                <a:lnTo>
                  <a:pt x="279" y="531"/>
                </a:lnTo>
                <a:lnTo>
                  <a:pt x="245" y="542"/>
                </a:lnTo>
                <a:lnTo>
                  <a:pt x="273" y="568"/>
                </a:lnTo>
                <a:lnTo>
                  <a:pt x="322" y="568"/>
                </a:lnTo>
                <a:lnTo>
                  <a:pt x="368" y="521"/>
                </a:lnTo>
                <a:lnTo>
                  <a:pt x="287" y="590"/>
                </a:lnTo>
                <a:lnTo>
                  <a:pt x="208" y="535"/>
                </a:lnTo>
                <a:lnTo>
                  <a:pt x="143" y="545"/>
                </a:lnTo>
                <a:lnTo>
                  <a:pt x="199" y="602"/>
                </a:lnTo>
                <a:lnTo>
                  <a:pt x="102" y="632"/>
                </a:lnTo>
                <a:lnTo>
                  <a:pt x="112" y="673"/>
                </a:lnTo>
                <a:lnTo>
                  <a:pt x="129" y="637"/>
                </a:lnTo>
                <a:lnTo>
                  <a:pt x="134" y="673"/>
                </a:lnTo>
                <a:lnTo>
                  <a:pt x="200" y="656"/>
                </a:lnTo>
                <a:lnTo>
                  <a:pt x="249" y="690"/>
                </a:lnTo>
                <a:lnTo>
                  <a:pt x="284" y="687"/>
                </a:lnTo>
                <a:lnTo>
                  <a:pt x="259" y="660"/>
                </a:lnTo>
                <a:lnTo>
                  <a:pt x="328" y="668"/>
                </a:lnTo>
                <a:lnTo>
                  <a:pt x="322" y="642"/>
                </a:lnTo>
                <a:lnTo>
                  <a:pt x="352" y="673"/>
                </a:lnTo>
                <a:lnTo>
                  <a:pt x="371" y="667"/>
                </a:lnTo>
                <a:lnTo>
                  <a:pt x="360" y="648"/>
                </a:lnTo>
                <a:lnTo>
                  <a:pt x="417" y="667"/>
                </a:lnTo>
                <a:lnTo>
                  <a:pt x="418" y="695"/>
                </a:lnTo>
                <a:lnTo>
                  <a:pt x="517" y="667"/>
                </a:lnTo>
                <a:lnTo>
                  <a:pt x="536" y="627"/>
                </a:lnTo>
                <a:lnTo>
                  <a:pt x="489" y="637"/>
                </a:lnTo>
                <a:lnTo>
                  <a:pt x="489" y="598"/>
                </a:lnTo>
                <a:lnTo>
                  <a:pt x="379" y="596"/>
                </a:lnTo>
                <a:lnTo>
                  <a:pt x="526" y="588"/>
                </a:lnTo>
                <a:lnTo>
                  <a:pt x="549" y="560"/>
                </a:lnTo>
                <a:lnTo>
                  <a:pt x="526" y="526"/>
                </a:lnTo>
                <a:lnTo>
                  <a:pt x="610" y="530"/>
                </a:lnTo>
                <a:lnTo>
                  <a:pt x="628" y="514"/>
                </a:lnTo>
                <a:lnTo>
                  <a:pt x="571" y="506"/>
                </a:lnTo>
                <a:lnTo>
                  <a:pt x="647" y="500"/>
                </a:lnTo>
                <a:lnTo>
                  <a:pt x="597" y="477"/>
                </a:lnTo>
                <a:lnTo>
                  <a:pt x="656" y="462"/>
                </a:lnTo>
                <a:lnTo>
                  <a:pt x="653" y="444"/>
                </a:lnTo>
                <a:lnTo>
                  <a:pt x="543" y="434"/>
                </a:lnTo>
                <a:lnTo>
                  <a:pt x="605" y="418"/>
                </a:lnTo>
                <a:lnTo>
                  <a:pt x="541" y="414"/>
                </a:lnTo>
                <a:lnTo>
                  <a:pt x="656" y="426"/>
                </a:lnTo>
                <a:lnTo>
                  <a:pt x="660" y="407"/>
                </a:lnTo>
                <a:lnTo>
                  <a:pt x="541" y="400"/>
                </a:lnTo>
                <a:lnTo>
                  <a:pt x="700" y="373"/>
                </a:lnTo>
                <a:lnTo>
                  <a:pt x="654" y="349"/>
                </a:lnTo>
                <a:lnTo>
                  <a:pt x="774" y="360"/>
                </a:lnTo>
                <a:lnTo>
                  <a:pt x="808" y="322"/>
                </a:lnTo>
                <a:lnTo>
                  <a:pt x="751" y="319"/>
                </a:lnTo>
                <a:lnTo>
                  <a:pt x="825" y="316"/>
                </a:lnTo>
                <a:lnTo>
                  <a:pt x="817" y="287"/>
                </a:lnTo>
                <a:lnTo>
                  <a:pt x="853" y="293"/>
                </a:lnTo>
                <a:lnTo>
                  <a:pt x="1050" y="178"/>
                </a:lnTo>
                <a:lnTo>
                  <a:pt x="833" y="220"/>
                </a:lnTo>
                <a:lnTo>
                  <a:pt x="952" y="170"/>
                </a:lnTo>
                <a:lnTo>
                  <a:pt x="879" y="176"/>
                </a:lnTo>
                <a:lnTo>
                  <a:pt x="863" y="153"/>
                </a:lnTo>
                <a:lnTo>
                  <a:pt x="998" y="165"/>
                </a:lnTo>
                <a:lnTo>
                  <a:pt x="1173" y="107"/>
                </a:lnTo>
                <a:lnTo>
                  <a:pt x="1171" y="78"/>
                </a:lnTo>
                <a:lnTo>
                  <a:pt x="1099" y="78"/>
                </a:lnTo>
                <a:lnTo>
                  <a:pt x="1082" y="28"/>
                </a:lnTo>
                <a:lnTo>
                  <a:pt x="879" y="51"/>
                </a:lnTo>
                <a:lnTo>
                  <a:pt x="964" y="19"/>
                </a:lnTo>
                <a:lnTo>
                  <a:pt x="699" y="0"/>
                </a:lnTo>
                <a:lnTo>
                  <a:pt x="677" y="24"/>
                </a:lnTo>
                <a:lnTo>
                  <a:pt x="698" y="36"/>
                </a:lnTo>
                <a:lnTo>
                  <a:pt x="647" y="13"/>
                </a:lnTo>
                <a:lnTo>
                  <a:pt x="528" y="15"/>
                </a:lnTo>
                <a:lnTo>
                  <a:pt x="613" y="62"/>
                </a:lnTo>
                <a:lnTo>
                  <a:pt x="582" y="78"/>
                </a:lnTo>
                <a:lnTo>
                  <a:pt x="541" y="27"/>
                </a:lnTo>
                <a:lnTo>
                  <a:pt x="430" y="23"/>
                </a:lnTo>
                <a:lnTo>
                  <a:pt x="451" y="44"/>
                </a:lnTo>
                <a:lnTo>
                  <a:pt x="369" y="36"/>
                </a:lnTo>
                <a:lnTo>
                  <a:pt x="411" y="70"/>
                </a:lnTo>
                <a:lnTo>
                  <a:pt x="343" y="50"/>
                </a:lnTo>
                <a:lnTo>
                  <a:pt x="366" y="70"/>
                </a:lnTo>
                <a:lnTo>
                  <a:pt x="326" y="78"/>
                </a:lnTo>
                <a:lnTo>
                  <a:pt x="411" y="123"/>
                </a:lnTo>
                <a:lnTo>
                  <a:pt x="227" y="72"/>
                </a:lnTo>
                <a:lnTo>
                  <a:pt x="182" y="108"/>
                </a:lnTo>
                <a:lnTo>
                  <a:pt x="254" y="126"/>
                </a:lnTo>
                <a:lnTo>
                  <a:pt x="134" y="112"/>
                </a:lnTo>
                <a:lnTo>
                  <a:pt x="0" y="16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272"/>
          <p:cNvSpPr/>
          <p:nvPr/>
        </p:nvSpPr>
        <p:spPr bwMode="auto">
          <a:xfrm>
            <a:off x="9721215" y="1238885"/>
            <a:ext cx="853440" cy="663575"/>
          </a:xfrm>
          <a:custGeom>
            <a:avLst/>
            <a:gdLst>
              <a:gd name="T0" fmla="*/ 0 w 1094"/>
              <a:gd name="T1" fmla="*/ 2 h 902"/>
              <a:gd name="T2" fmla="*/ 3 w 1094"/>
              <a:gd name="T3" fmla="*/ 0 h 902"/>
              <a:gd name="T4" fmla="*/ 3 w 1094"/>
              <a:gd name="T5" fmla="*/ 2 h 902"/>
              <a:gd name="T6" fmla="*/ 4 w 1094"/>
              <a:gd name="T7" fmla="*/ 5 h 902"/>
              <a:gd name="T8" fmla="*/ 5 w 1094"/>
              <a:gd name="T9" fmla="*/ 5 h 902"/>
              <a:gd name="T10" fmla="*/ 4 w 1094"/>
              <a:gd name="T11" fmla="*/ 4 h 902"/>
              <a:gd name="T12" fmla="*/ 4 w 1094"/>
              <a:gd name="T13" fmla="*/ 2 h 902"/>
              <a:gd name="T14" fmla="*/ 4 w 1094"/>
              <a:gd name="T15" fmla="*/ 1 h 902"/>
              <a:gd name="T16" fmla="*/ 4 w 1094"/>
              <a:gd name="T17" fmla="*/ 1 h 902"/>
              <a:gd name="T18" fmla="*/ 7 w 1094"/>
              <a:gd name="T19" fmla="*/ 0 h 902"/>
              <a:gd name="T20" fmla="*/ 8 w 1094"/>
              <a:gd name="T21" fmla="*/ 1 h 902"/>
              <a:gd name="T22" fmla="*/ 8 w 1094"/>
              <a:gd name="T23" fmla="*/ 4 h 902"/>
              <a:gd name="T24" fmla="*/ 10 w 1094"/>
              <a:gd name="T25" fmla="*/ 3 h 902"/>
              <a:gd name="T26" fmla="*/ 13 w 1094"/>
              <a:gd name="T27" fmla="*/ 3 h 902"/>
              <a:gd name="T28" fmla="*/ 13 w 1094"/>
              <a:gd name="T29" fmla="*/ 4 h 902"/>
              <a:gd name="T30" fmla="*/ 14 w 1094"/>
              <a:gd name="T31" fmla="*/ 5 h 902"/>
              <a:gd name="T32" fmla="*/ 15 w 1094"/>
              <a:gd name="T33" fmla="*/ 4 h 902"/>
              <a:gd name="T34" fmla="*/ 17 w 1094"/>
              <a:gd name="T35" fmla="*/ 5 h 902"/>
              <a:gd name="T36" fmla="*/ 17 w 1094"/>
              <a:gd name="T37" fmla="*/ 5 h 902"/>
              <a:gd name="T38" fmla="*/ 18 w 1094"/>
              <a:gd name="T39" fmla="*/ 6 h 902"/>
              <a:gd name="T40" fmla="*/ 19 w 1094"/>
              <a:gd name="T41" fmla="*/ 6 h 902"/>
              <a:gd name="T42" fmla="*/ 19 w 1094"/>
              <a:gd name="T43" fmla="*/ 7 h 902"/>
              <a:gd name="T44" fmla="*/ 19 w 1094"/>
              <a:gd name="T45" fmla="*/ 7 h 902"/>
              <a:gd name="T46" fmla="*/ 19 w 1094"/>
              <a:gd name="T47" fmla="*/ 8 h 902"/>
              <a:gd name="T48" fmla="*/ 19 w 1094"/>
              <a:gd name="T49" fmla="*/ 9 h 902"/>
              <a:gd name="T50" fmla="*/ 19 w 1094"/>
              <a:gd name="T51" fmla="*/ 10 h 902"/>
              <a:gd name="T52" fmla="*/ 23 w 1094"/>
              <a:gd name="T53" fmla="*/ 11 h 902"/>
              <a:gd name="T54" fmla="*/ 24 w 1094"/>
              <a:gd name="T55" fmla="*/ 12 h 902"/>
              <a:gd name="T56" fmla="*/ 25 w 1094"/>
              <a:gd name="T57" fmla="*/ 13 h 902"/>
              <a:gd name="T58" fmla="*/ 25 w 1094"/>
              <a:gd name="T59" fmla="*/ 14 h 902"/>
              <a:gd name="T60" fmla="*/ 25 w 1094"/>
              <a:gd name="T61" fmla="*/ 15 h 902"/>
              <a:gd name="T62" fmla="*/ 23 w 1094"/>
              <a:gd name="T63" fmla="*/ 16 h 902"/>
              <a:gd name="T64" fmla="*/ 19 w 1094"/>
              <a:gd name="T65" fmla="*/ 14 h 902"/>
              <a:gd name="T66" fmla="*/ 20 w 1094"/>
              <a:gd name="T67" fmla="*/ 15 h 902"/>
              <a:gd name="T68" fmla="*/ 21 w 1094"/>
              <a:gd name="T69" fmla="*/ 16 h 902"/>
              <a:gd name="T70" fmla="*/ 22 w 1094"/>
              <a:gd name="T71" fmla="*/ 17 h 902"/>
              <a:gd name="T72" fmla="*/ 23 w 1094"/>
              <a:gd name="T73" fmla="*/ 20 h 902"/>
              <a:gd name="T74" fmla="*/ 21 w 1094"/>
              <a:gd name="T75" fmla="*/ 21 h 902"/>
              <a:gd name="T76" fmla="*/ 16 w 1094"/>
              <a:gd name="T77" fmla="*/ 18 h 902"/>
              <a:gd name="T78" fmla="*/ 15 w 1094"/>
              <a:gd name="T79" fmla="*/ 18 h 902"/>
              <a:gd name="T80" fmla="*/ 14 w 1094"/>
              <a:gd name="T81" fmla="*/ 16 h 902"/>
              <a:gd name="T82" fmla="*/ 13 w 1094"/>
              <a:gd name="T83" fmla="*/ 17 h 902"/>
              <a:gd name="T84" fmla="*/ 11 w 1094"/>
              <a:gd name="T85" fmla="*/ 17 h 902"/>
              <a:gd name="T86" fmla="*/ 15 w 1094"/>
              <a:gd name="T87" fmla="*/ 15 h 902"/>
              <a:gd name="T88" fmla="*/ 16 w 1094"/>
              <a:gd name="T89" fmla="*/ 12 h 902"/>
              <a:gd name="T90" fmla="*/ 13 w 1094"/>
              <a:gd name="T91" fmla="*/ 9 h 902"/>
              <a:gd name="T92" fmla="*/ 12 w 1094"/>
              <a:gd name="T93" fmla="*/ 10 h 902"/>
              <a:gd name="T94" fmla="*/ 13 w 1094"/>
              <a:gd name="T95" fmla="*/ 9 h 902"/>
              <a:gd name="T96" fmla="*/ 11 w 1094"/>
              <a:gd name="T97" fmla="*/ 7 h 902"/>
              <a:gd name="T98" fmla="*/ 10 w 1094"/>
              <a:gd name="T99" fmla="*/ 7 h 902"/>
              <a:gd name="T100" fmla="*/ 8 w 1094"/>
              <a:gd name="T101" fmla="*/ 8 h 902"/>
              <a:gd name="T102" fmla="*/ 1 w 1094"/>
              <a:gd name="T103" fmla="*/ 5 h 902"/>
              <a:gd name="T104" fmla="*/ 0 w 1094"/>
              <a:gd name="T105" fmla="*/ 5 h 90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094"/>
              <a:gd name="T160" fmla="*/ 0 h 902"/>
              <a:gd name="T161" fmla="*/ 1094 w 1094"/>
              <a:gd name="T162" fmla="*/ 902 h 90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094" h="902">
                <a:moveTo>
                  <a:pt x="0" y="202"/>
                </a:moveTo>
                <a:lnTo>
                  <a:pt x="9" y="103"/>
                </a:lnTo>
                <a:lnTo>
                  <a:pt x="54" y="31"/>
                </a:lnTo>
                <a:lnTo>
                  <a:pt x="130" y="0"/>
                </a:lnTo>
                <a:lnTo>
                  <a:pt x="191" y="14"/>
                </a:lnTo>
                <a:lnTo>
                  <a:pt x="125" y="103"/>
                </a:lnTo>
                <a:lnTo>
                  <a:pt x="144" y="158"/>
                </a:lnTo>
                <a:lnTo>
                  <a:pt x="191" y="212"/>
                </a:lnTo>
                <a:lnTo>
                  <a:pt x="130" y="231"/>
                </a:lnTo>
                <a:lnTo>
                  <a:pt x="195" y="230"/>
                </a:lnTo>
                <a:lnTo>
                  <a:pt x="204" y="184"/>
                </a:lnTo>
                <a:lnTo>
                  <a:pt x="155" y="156"/>
                </a:lnTo>
                <a:lnTo>
                  <a:pt x="195" y="123"/>
                </a:lnTo>
                <a:lnTo>
                  <a:pt x="166" y="78"/>
                </a:lnTo>
                <a:lnTo>
                  <a:pt x="229" y="89"/>
                </a:lnTo>
                <a:lnTo>
                  <a:pt x="170" y="68"/>
                </a:lnTo>
                <a:lnTo>
                  <a:pt x="236" y="73"/>
                </a:lnTo>
                <a:lnTo>
                  <a:pt x="190" y="42"/>
                </a:lnTo>
                <a:lnTo>
                  <a:pt x="242" y="43"/>
                </a:lnTo>
                <a:lnTo>
                  <a:pt x="279" y="14"/>
                </a:lnTo>
                <a:lnTo>
                  <a:pt x="324" y="11"/>
                </a:lnTo>
                <a:lnTo>
                  <a:pt x="326" y="51"/>
                </a:lnTo>
                <a:lnTo>
                  <a:pt x="358" y="68"/>
                </a:lnTo>
                <a:lnTo>
                  <a:pt x="348" y="158"/>
                </a:lnTo>
                <a:lnTo>
                  <a:pt x="392" y="115"/>
                </a:lnTo>
                <a:lnTo>
                  <a:pt x="414" y="134"/>
                </a:lnTo>
                <a:lnTo>
                  <a:pt x="476" y="91"/>
                </a:lnTo>
                <a:lnTo>
                  <a:pt x="564" y="115"/>
                </a:lnTo>
                <a:lnTo>
                  <a:pt x="603" y="158"/>
                </a:lnTo>
                <a:lnTo>
                  <a:pt x="575" y="184"/>
                </a:lnTo>
                <a:lnTo>
                  <a:pt x="630" y="173"/>
                </a:lnTo>
                <a:lnTo>
                  <a:pt x="614" y="199"/>
                </a:lnTo>
                <a:lnTo>
                  <a:pt x="646" y="212"/>
                </a:lnTo>
                <a:lnTo>
                  <a:pt x="671" y="180"/>
                </a:lnTo>
                <a:lnTo>
                  <a:pt x="711" y="196"/>
                </a:lnTo>
                <a:lnTo>
                  <a:pt x="724" y="222"/>
                </a:lnTo>
                <a:lnTo>
                  <a:pt x="690" y="230"/>
                </a:lnTo>
                <a:lnTo>
                  <a:pt x="742" y="230"/>
                </a:lnTo>
                <a:lnTo>
                  <a:pt x="733" y="265"/>
                </a:lnTo>
                <a:lnTo>
                  <a:pt x="772" y="246"/>
                </a:lnTo>
                <a:lnTo>
                  <a:pt x="748" y="276"/>
                </a:lnTo>
                <a:lnTo>
                  <a:pt x="826" y="268"/>
                </a:lnTo>
                <a:lnTo>
                  <a:pt x="782" y="299"/>
                </a:lnTo>
                <a:lnTo>
                  <a:pt x="820" y="299"/>
                </a:lnTo>
                <a:lnTo>
                  <a:pt x="804" y="321"/>
                </a:lnTo>
                <a:lnTo>
                  <a:pt x="838" y="291"/>
                </a:lnTo>
                <a:lnTo>
                  <a:pt x="874" y="322"/>
                </a:lnTo>
                <a:lnTo>
                  <a:pt x="810" y="348"/>
                </a:lnTo>
                <a:lnTo>
                  <a:pt x="900" y="371"/>
                </a:lnTo>
                <a:lnTo>
                  <a:pt x="825" y="379"/>
                </a:lnTo>
                <a:lnTo>
                  <a:pt x="853" y="391"/>
                </a:lnTo>
                <a:lnTo>
                  <a:pt x="829" y="419"/>
                </a:lnTo>
                <a:lnTo>
                  <a:pt x="921" y="473"/>
                </a:lnTo>
                <a:lnTo>
                  <a:pt x="968" y="464"/>
                </a:lnTo>
                <a:lnTo>
                  <a:pt x="986" y="529"/>
                </a:lnTo>
                <a:lnTo>
                  <a:pt x="1031" y="523"/>
                </a:lnTo>
                <a:lnTo>
                  <a:pt x="1029" y="551"/>
                </a:lnTo>
                <a:lnTo>
                  <a:pt x="1094" y="565"/>
                </a:lnTo>
                <a:lnTo>
                  <a:pt x="1086" y="599"/>
                </a:lnTo>
                <a:lnTo>
                  <a:pt x="1053" y="594"/>
                </a:lnTo>
                <a:lnTo>
                  <a:pt x="1068" y="614"/>
                </a:lnTo>
                <a:lnTo>
                  <a:pt x="1052" y="647"/>
                </a:lnTo>
                <a:lnTo>
                  <a:pt x="1020" y="632"/>
                </a:lnTo>
                <a:lnTo>
                  <a:pt x="1013" y="697"/>
                </a:lnTo>
                <a:lnTo>
                  <a:pt x="888" y="578"/>
                </a:lnTo>
                <a:lnTo>
                  <a:pt x="842" y="588"/>
                </a:lnTo>
                <a:lnTo>
                  <a:pt x="874" y="618"/>
                </a:lnTo>
                <a:lnTo>
                  <a:pt x="849" y="647"/>
                </a:lnTo>
                <a:lnTo>
                  <a:pt x="868" y="645"/>
                </a:lnTo>
                <a:lnTo>
                  <a:pt x="895" y="703"/>
                </a:lnTo>
                <a:lnTo>
                  <a:pt x="956" y="717"/>
                </a:lnTo>
                <a:lnTo>
                  <a:pt x="950" y="751"/>
                </a:lnTo>
                <a:lnTo>
                  <a:pt x="983" y="778"/>
                </a:lnTo>
                <a:lnTo>
                  <a:pt x="969" y="858"/>
                </a:lnTo>
                <a:lnTo>
                  <a:pt x="810" y="775"/>
                </a:lnTo>
                <a:lnTo>
                  <a:pt x="916" y="902"/>
                </a:lnTo>
                <a:lnTo>
                  <a:pt x="719" y="832"/>
                </a:lnTo>
                <a:lnTo>
                  <a:pt x="691" y="789"/>
                </a:lnTo>
                <a:lnTo>
                  <a:pt x="718" y="785"/>
                </a:lnTo>
                <a:lnTo>
                  <a:pt x="654" y="762"/>
                </a:lnTo>
                <a:lnTo>
                  <a:pt x="635" y="713"/>
                </a:lnTo>
                <a:lnTo>
                  <a:pt x="584" y="697"/>
                </a:lnTo>
                <a:lnTo>
                  <a:pt x="581" y="729"/>
                </a:lnTo>
                <a:lnTo>
                  <a:pt x="553" y="713"/>
                </a:lnTo>
                <a:lnTo>
                  <a:pt x="512" y="744"/>
                </a:lnTo>
                <a:lnTo>
                  <a:pt x="457" y="713"/>
                </a:lnTo>
                <a:lnTo>
                  <a:pt x="483" y="657"/>
                </a:lnTo>
                <a:lnTo>
                  <a:pt x="630" y="657"/>
                </a:lnTo>
                <a:lnTo>
                  <a:pt x="594" y="602"/>
                </a:lnTo>
                <a:lnTo>
                  <a:pt x="677" y="523"/>
                </a:lnTo>
                <a:lnTo>
                  <a:pt x="619" y="417"/>
                </a:lnTo>
                <a:lnTo>
                  <a:pt x="578" y="407"/>
                </a:lnTo>
                <a:lnTo>
                  <a:pt x="602" y="391"/>
                </a:lnTo>
                <a:lnTo>
                  <a:pt x="513" y="418"/>
                </a:lnTo>
                <a:lnTo>
                  <a:pt x="512" y="388"/>
                </a:lnTo>
                <a:lnTo>
                  <a:pt x="544" y="371"/>
                </a:lnTo>
                <a:lnTo>
                  <a:pt x="477" y="329"/>
                </a:lnTo>
                <a:lnTo>
                  <a:pt x="476" y="298"/>
                </a:lnTo>
                <a:lnTo>
                  <a:pt x="412" y="280"/>
                </a:lnTo>
                <a:lnTo>
                  <a:pt x="428" y="325"/>
                </a:lnTo>
                <a:lnTo>
                  <a:pt x="321" y="308"/>
                </a:lnTo>
                <a:lnTo>
                  <a:pt x="350" y="334"/>
                </a:lnTo>
                <a:lnTo>
                  <a:pt x="71" y="289"/>
                </a:lnTo>
                <a:lnTo>
                  <a:pt x="22" y="230"/>
                </a:lnTo>
                <a:lnTo>
                  <a:pt x="111" y="233"/>
                </a:lnTo>
                <a:lnTo>
                  <a:pt x="0" y="20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273"/>
          <p:cNvSpPr/>
          <p:nvPr/>
        </p:nvSpPr>
        <p:spPr bwMode="auto">
          <a:xfrm>
            <a:off x="9808845" y="1695450"/>
            <a:ext cx="196850" cy="144145"/>
          </a:xfrm>
          <a:custGeom>
            <a:avLst/>
            <a:gdLst>
              <a:gd name="T0" fmla="*/ 0 w 254"/>
              <a:gd name="T1" fmla="*/ 4 h 197"/>
              <a:gd name="T2" fmla="*/ 1 w 254"/>
              <a:gd name="T3" fmla="*/ 3 h 197"/>
              <a:gd name="T4" fmla="*/ 1 w 254"/>
              <a:gd name="T5" fmla="*/ 0 h 197"/>
              <a:gd name="T6" fmla="*/ 2 w 254"/>
              <a:gd name="T7" fmla="*/ 1 h 197"/>
              <a:gd name="T8" fmla="*/ 3 w 254"/>
              <a:gd name="T9" fmla="*/ 1 h 197"/>
              <a:gd name="T10" fmla="*/ 6 w 254"/>
              <a:gd name="T11" fmla="*/ 3 h 197"/>
              <a:gd name="T12" fmla="*/ 5 w 254"/>
              <a:gd name="T13" fmla="*/ 4 h 197"/>
              <a:gd name="T14" fmla="*/ 3 w 254"/>
              <a:gd name="T15" fmla="*/ 3 h 197"/>
              <a:gd name="T16" fmla="*/ 2 w 254"/>
              <a:gd name="T17" fmla="*/ 5 h 197"/>
              <a:gd name="T18" fmla="*/ 1 w 254"/>
              <a:gd name="T19" fmla="*/ 3 h 197"/>
              <a:gd name="T20" fmla="*/ 0 w 254"/>
              <a:gd name="T21" fmla="*/ 4 h 1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4"/>
              <a:gd name="T34" fmla="*/ 0 h 197"/>
              <a:gd name="T35" fmla="*/ 254 w 254"/>
              <a:gd name="T36" fmla="*/ 197 h 1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4" h="197">
                <a:moveTo>
                  <a:pt x="0" y="161"/>
                </a:moveTo>
                <a:lnTo>
                  <a:pt x="36" y="123"/>
                </a:lnTo>
                <a:lnTo>
                  <a:pt x="59" y="0"/>
                </a:lnTo>
                <a:lnTo>
                  <a:pt x="80" y="45"/>
                </a:lnTo>
                <a:lnTo>
                  <a:pt x="140" y="55"/>
                </a:lnTo>
                <a:lnTo>
                  <a:pt x="254" y="145"/>
                </a:lnTo>
                <a:lnTo>
                  <a:pt x="239" y="176"/>
                </a:lnTo>
                <a:lnTo>
                  <a:pt x="136" y="134"/>
                </a:lnTo>
                <a:lnTo>
                  <a:pt x="73" y="197"/>
                </a:lnTo>
                <a:lnTo>
                  <a:pt x="57" y="145"/>
                </a:lnTo>
                <a:lnTo>
                  <a:pt x="0" y="1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Freeform 274"/>
          <p:cNvSpPr/>
          <p:nvPr/>
        </p:nvSpPr>
        <p:spPr bwMode="auto">
          <a:xfrm>
            <a:off x="10637520" y="2377440"/>
            <a:ext cx="196850" cy="214630"/>
          </a:xfrm>
          <a:custGeom>
            <a:avLst/>
            <a:gdLst>
              <a:gd name="T0" fmla="*/ 0 w 255"/>
              <a:gd name="T1" fmla="*/ 6 h 286"/>
              <a:gd name="T2" fmla="*/ 2 w 255"/>
              <a:gd name="T3" fmla="*/ 0 h 286"/>
              <a:gd name="T4" fmla="*/ 3 w 255"/>
              <a:gd name="T5" fmla="*/ 0 h 286"/>
              <a:gd name="T6" fmla="*/ 2 w 255"/>
              <a:gd name="T7" fmla="*/ 3 h 286"/>
              <a:gd name="T8" fmla="*/ 3 w 255"/>
              <a:gd name="T9" fmla="*/ 2 h 286"/>
              <a:gd name="T10" fmla="*/ 3 w 255"/>
              <a:gd name="T11" fmla="*/ 3 h 286"/>
              <a:gd name="T12" fmla="*/ 5 w 255"/>
              <a:gd name="T13" fmla="*/ 3 h 286"/>
              <a:gd name="T14" fmla="*/ 5 w 255"/>
              <a:gd name="T15" fmla="*/ 4 h 286"/>
              <a:gd name="T16" fmla="*/ 5 w 255"/>
              <a:gd name="T17" fmla="*/ 4 h 286"/>
              <a:gd name="T18" fmla="*/ 5 w 255"/>
              <a:gd name="T19" fmla="*/ 6 h 286"/>
              <a:gd name="T20" fmla="*/ 6 w 255"/>
              <a:gd name="T21" fmla="*/ 5 h 286"/>
              <a:gd name="T22" fmla="*/ 6 w 255"/>
              <a:gd name="T23" fmla="*/ 6 h 286"/>
              <a:gd name="T24" fmla="*/ 5 w 255"/>
              <a:gd name="T25" fmla="*/ 7 h 286"/>
              <a:gd name="T26" fmla="*/ 5 w 255"/>
              <a:gd name="T27" fmla="*/ 6 h 286"/>
              <a:gd name="T28" fmla="*/ 5 w 255"/>
              <a:gd name="T29" fmla="*/ 7 h 286"/>
              <a:gd name="T30" fmla="*/ 5 w 255"/>
              <a:gd name="T31" fmla="*/ 5 h 286"/>
              <a:gd name="T32" fmla="*/ 3 w 255"/>
              <a:gd name="T33" fmla="*/ 7 h 286"/>
              <a:gd name="T34" fmla="*/ 4 w 255"/>
              <a:gd name="T35" fmla="*/ 6 h 286"/>
              <a:gd name="T36" fmla="*/ 3 w 255"/>
              <a:gd name="T37" fmla="*/ 6 h 286"/>
              <a:gd name="T38" fmla="*/ 3 w 255"/>
              <a:gd name="T39" fmla="*/ 5 h 286"/>
              <a:gd name="T40" fmla="*/ 0 w 255"/>
              <a:gd name="T41" fmla="*/ 6 h 28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55"/>
              <a:gd name="T64" fmla="*/ 0 h 286"/>
              <a:gd name="T65" fmla="*/ 255 w 255"/>
              <a:gd name="T66" fmla="*/ 286 h 28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55" h="286">
                <a:moveTo>
                  <a:pt x="0" y="223"/>
                </a:moveTo>
                <a:lnTo>
                  <a:pt x="106" y="15"/>
                </a:lnTo>
                <a:lnTo>
                  <a:pt x="146" y="0"/>
                </a:lnTo>
                <a:lnTo>
                  <a:pt x="97" y="112"/>
                </a:lnTo>
                <a:lnTo>
                  <a:pt x="130" y="87"/>
                </a:lnTo>
                <a:lnTo>
                  <a:pt x="152" y="135"/>
                </a:lnTo>
                <a:lnTo>
                  <a:pt x="219" y="135"/>
                </a:lnTo>
                <a:lnTo>
                  <a:pt x="205" y="177"/>
                </a:lnTo>
                <a:lnTo>
                  <a:pt x="240" y="173"/>
                </a:lnTo>
                <a:lnTo>
                  <a:pt x="214" y="219"/>
                </a:lnTo>
                <a:lnTo>
                  <a:pt x="248" y="194"/>
                </a:lnTo>
                <a:lnTo>
                  <a:pt x="255" y="237"/>
                </a:lnTo>
                <a:lnTo>
                  <a:pt x="222" y="286"/>
                </a:lnTo>
                <a:lnTo>
                  <a:pt x="219" y="250"/>
                </a:lnTo>
                <a:lnTo>
                  <a:pt x="204" y="269"/>
                </a:lnTo>
                <a:lnTo>
                  <a:pt x="204" y="214"/>
                </a:lnTo>
                <a:lnTo>
                  <a:pt x="140" y="269"/>
                </a:lnTo>
                <a:lnTo>
                  <a:pt x="178" y="233"/>
                </a:lnTo>
                <a:lnTo>
                  <a:pt x="123" y="237"/>
                </a:lnTo>
                <a:lnTo>
                  <a:pt x="138" y="217"/>
                </a:lnTo>
                <a:lnTo>
                  <a:pt x="0" y="22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75"/>
          <p:cNvSpPr/>
          <p:nvPr/>
        </p:nvSpPr>
        <p:spPr bwMode="auto">
          <a:xfrm>
            <a:off x="10156190" y="4789170"/>
            <a:ext cx="246380" cy="1361440"/>
          </a:xfrm>
          <a:custGeom>
            <a:avLst/>
            <a:gdLst>
              <a:gd name="T0" fmla="*/ 0 w 317"/>
              <a:gd name="T1" fmla="*/ 33 h 1850"/>
              <a:gd name="T2" fmla="*/ 1 w 317"/>
              <a:gd name="T3" fmla="*/ 32 h 1850"/>
              <a:gd name="T4" fmla="*/ 1 w 317"/>
              <a:gd name="T5" fmla="*/ 33 h 1850"/>
              <a:gd name="T6" fmla="*/ 3 w 317"/>
              <a:gd name="T7" fmla="*/ 31 h 1850"/>
              <a:gd name="T8" fmla="*/ 2 w 317"/>
              <a:gd name="T9" fmla="*/ 30 h 1850"/>
              <a:gd name="T10" fmla="*/ 3 w 317"/>
              <a:gd name="T11" fmla="*/ 27 h 1850"/>
              <a:gd name="T12" fmla="*/ 1 w 317"/>
              <a:gd name="T13" fmla="*/ 27 h 1850"/>
              <a:gd name="T14" fmla="*/ 2 w 317"/>
              <a:gd name="T15" fmla="*/ 22 h 1850"/>
              <a:gd name="T16" fmla="*/ 3 w 317"/>
              <a:gd name="T17" fmla="*/ 17 h 1850"/>
              <a:gd name="T18" fmla="*/ 3 w 317"/>
              <a:gd name="T19" fmla="*/ 13 h 1850"/>
              <a:gd name="T20" fmla="*/ 5 w 317"/>
              <a:gd name="T21" fmla="*/ 4 h 1850"/>
              <a:gd name="T22" fmla="*/ 4 w 317"/>
              <a:gd name="T23" fmla="*/ 1 h 1850"/>
              <a:gd name="T24" fmla="*/ 5 w 317"/>
              <a:gd name="T25" fmla="*/ 0 h 1850"/>
              <a:gd name="T26" fmla="*/ 6 w 317"/>
              <a:gd name="T27" fmla="*/ 2 h 1850"/>
              <a:gd name="T28" fmla="*/ 7 w 317"/>
              <a:gd name="T29" fmla="*/ 6 h 1850"/>
              <a:gd name="T30" fmla="*/ 7 w 317"/>
              <a:gd name="T31" fmla="*/ 6 h 1850"/>
              <a:gd name="T32" fmla="*/ 7 w 317"/>
              <a:gd name="T33" fmla="*/ 7 h 1850"/>
              <a:gd name="T34" fmla="*/ 6 w 317"/>
              <a:gd name="T35" fmla="*/ 7 h 1850"/>
              <a:gd name="T36" fmla="*/ 6 w 317"/>
              <a:gd name="T37" fmla="*/ 10 h 1850"/>
              <a:gd name="T38" fmla="*/ 5 w 317"/>
              <a:gd name="T39" fmla="*/ 11 h 1850"/>
              <a:gd name="T40" fmla="*/ 5 w 317"/>
              <a:gd name="T41" fmla="*/ 15 h 1850"/>
              <a:gd name="T42" fmla="*/ 5 w 317"/>
              <a:gd name="T43" fmla="*/ 18 h 1850"/>
              <a:gd name="T44" fmla="*/ 4 w 317"/>
              <a:gd name="T45" fmla="*/ 21 h 1850"/>
              <a:gd name="T46" fmla="*/ 3 w 317"/>
              <a:gd name="T47" fmla="*/ 28 h 1850"/>
              <a:gd name="T48" fmla="*/ 4 w 317"/>
              <a:gd name="T49" fmla="*/ 31 h 1850"/>
              <a:gd name="T50" fmla="*/ 3 w 317"/>
              <a:gd name="T51" fmla="*/ 31 h 1850"/>
              <a:gd name="T52" fmla="*/ 3 w 317"/>
              <a:gd name="T53" fmla="*/ 33 h 1850"/>
              <a:gd name="T54" fmla="*/ 2 w 317"/>
              <a:gd name="T55" fmla="*/ 38 h 1850"/>
              <a:gd name="T56" fmla="*/ 2 w 317"/>
              <a:gd name="T57" fmla="*/ 39 h 1850"/>
              <a:gd name="T58" fmla="*/ 3 w 317"/>
              <a:gd name="T59" fmla="*/ 38 h 1850"/>
              <a:gd name="T60" fmla="*/ 3 w 317"/>
              <a:gd name="T61" fmla="*/ 40 h 1850"/>
              <a:gd name="T62" fmla="*/ 6 w 317"/>
              <a:gd name="T63" fmla="*/ 41 h 1850"/>
              <a:gd name="T64" fmla="*/ 4 w 317"/>
              <a:gd name="T65" fmla="*/ 41 h 1850"/>
              <a:gd name="T66" fmla="*/ 4 w 317"/>
              <a:gd name="T67" fmla="*/ 43 h 1850"/>
              <a:gd name="T68" fmla="*/ 3 w 317"/>
              <a:gd name="T69" fmla="*/ 42 h 1850"/>
              <a:gd name="T70" fmla="*/ 4 w 317"/>
              <a:gd name="T71" fmla="*/ 42 h 1850"/>
              <a:gd name="T72" fmla="*/ 3 w 317"/>
              <a:gd name="T73" fmla="*/ 41 h 1850"/>
              <a:gd name="T74" fmla="*/ 2 w 317"/>
              <a:gd name="T75" fmla="*/ 40 h 1850"/>
              <a:gd name="T76" fmla="*/ 2 w 317"/>
              <a:gd name="T77" fmla="*/ 40 h 1850"/>
              <a:gd name="T78" fmla="*/ 1 w 317"/>
              <a:gd name="T79" fmla="*/ 39 h 1850"/>
              <a:gd name="T80" fmla="*/ 1 w 317"/>
              <a:gd name="T81" fmla="*/ 38 h 1850"/>
              <a:gd name="T82" fmla="*/ 1 w 317"/>
              <a:gd name="T83" fmla="*/ 38 h 1850"/>
              <a:gd name="T84" fmla="*/ 1 w 317"/>
              <a:gd name="T85" fmla="*/ 37 h 1850"/>
              <a:gd name="T86" fmla="*/ 1 w 317"/>
              <a:gd name="T87" fmla="*/ 35 h 1850"/>
              <a:gd name="T88" fmla="*/ 2 w 317"/>
              <a:gd name="T89" fmla="*/ 35 h 1850"/>
              <a:gd name="T90" fmla="*/ 1 w 317"/>
              <a:gd name="T91" fmla="*/ 34 h 1850"/>
              <a:gd name="T92" fmla="*/ 1 w 317"/>
              <a:gd name="T93" fmla="*/ 33 h 1850"/>
              <a:gd name="T94" fmla="*/ 0 w 317"/>
              <a:gd name="T95" fmla="*/ 33 h 185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17"/>
              <a:gd name="T145" fmla="*/ 0 h 1850"/>
              <a:gd name="T146" fmla="*/ 317 w 317"/>
              <a:gd name="T147" fmla="*/ 1850 h 185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17" h="1850">
                <a:moveTo>
                  <a:pt x="0" y="1447"/>
                </a:moveTo>
                <a:lnTo>
                  <a:pt x="22" y="1397"/>
                </a:lnTo>
                <a:lnTo>
                  <a:pt x="68" y="1434"/>
                </a:lnTo>
                <a:lnTo>
                  <a:pt x="108" y="1339"/>
                </a:lnTo>
                <a:lnTo>
                  <a:pt x="91" y="1302"/>
                </a:lnTo>
                <a:lnTo>
                  <a:pt x="124" y="1171"/>
                </a:lnTo>
                <a:lnTo>
                  <a:pt x="67" y="1160"/>
                </a:lnTo>
                <a:lnTo>
                  <a:pt x="74" y="948"/>
                </a:lnTo>
                <a:lnTo>
                  <a:pt x="153" y="726"/>
                </a:lnTo>
                <a:lnTo>
                  <a:pt x="152" y="541"/>
                </a:lnTo>
                <a:lnTo>
                  <a:pt x="207" y="188"/>
                </a:lnTo>
                <a:lnTo>
                  <a:pt x="188" y="32"/>
                </a:lnTo>
                <a:lnTo>
                  <a:pt x="226" y="0"/>
                </a:lnTo>
                <a:lnTo>
                  <a:pt x="266" y="81"/>
                </a:lnTo>
                <a:lnTo>
                  <a:pt x="289" y="246"/>
                </a:lnTo>
                <a:lnTo>
                  <a:pt x="317" y="249"/>
                </a:lnTo>
                <a:lnTo>
                  <a:pt x="312" y="304"/>
                </a:lnTo>
                <a:lnTo>
                  <a:pt x="270" y="327"/>
                </a:lnTo>
                <a:lnTo>
                  <a:pt x="271" y="435"/>
                </a:lnTo>
                <a:lnTo>
                  <a:pt x="226" y="496"/>
                </a:lnTo>
                <a:lnTo>
                  <a:pt x="192" y="648"/>
                </a:lnTo>
                <a:lnTo>
                  <a:pt x="218" y="791"/>
                </a:lnTo>
                <a:lnTo>
                  <a:pt x="168" y="913"/>
                </a:lnTo>
                <a:lnTo>
                  <a:pt x="135" y="1218"/>
                </a:lnTo>
                <a:lnTo>
                  <a:pt x="162" y="1329"/>
                </a:lnTo>
                <a:lnTo>
                  <a:pt x="137" y="1339"/>
                </a:lnTo>
                <a:lnTo>
                  <a:pt x="148" y="1438"/>
                </a:lnTo>
                <a:lnTo>
                  <a:pt x="83" y="1643"/>
                </a:lnTo>
                <a:lnTo>
                  <a:pt x="90" y="1677"/>
                </a:lnTo>
                <a:lnTo>
                  <a:pt x="121" y="1664"/>
                </a:lnTo>
                <a:lnTo>
                  <a:pt x="135" y="1743"/>
                </a:lnTo>
                <a:lnTo>
                  <a:pt x="271" y="1761"/>
                </a:lnTo>
                <a:lnTo>
                  <a:pt x="180" y="1792"/>
                </a:lnTo>
                <a:lnTo>
                  <a:pt x="168" y="1850"/>
                </a:lnTo>
                <a:lnTo>
                  <a:pt x="129" y="1834"/>
                </a:lnTo>
                <a:lnTo>
                  <a:pt x="171" y="1797"/>
                </a:lnTo>
                <a:lnTo>
                  <a:pt x="107" y="1780"/>
                </a:lnTo>
                <a:lnTo>
                  <a:pt x="98" y="1715"/>
                </a:lnTo>
                <a:lnTo>
                  <a:pt x="80" y="1746"/>
                </a:lnTo>
                <a:lnTo>
                  <a:pt x="56" y="1685"/>
                </a:lnTo>
                <a:lnTo>
                  <a:pt x="68" y="1668"/>
                </a:lnTo>
                <a:lnTo>
                  <a:pt x="36" y="1638"/>
                </a:lnTo>
                <a:lnTo>
                  <a:pt x="67" y="1607"/>
                </a:lnTo>
                <a:lnTo>
                  <a:pt x="38" y="1516"/>
                </a:lnTo>
                <a:lnTo>
                  <a:pt x="89" y="1526"/>
                </a:lnTo>
                <a:lnTo>
                  <a:pt x="38" y="1478"/>
                </a:lnTo>
                <a:lnTo>
                  <a:pt x="51" y="1446"/>
                </a:lnTo>
                <a:lnTo>
                  <a:pt x="0" y="14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0" name="Freeform 276"/>
          <p:cNvSpPr/>
          <p:nvPr/>
        </p:nvSpPr>
        <p:spPr bwMode="auto">
          <a:xfrm>
            <a:off x="10167620" y="5932805"/>
            <a:ext cx="19685" cy="51435"/>
          </a:xfrm>
          <a:custGeom>
            <a:avLst/>
            <a:gdLst>
              <a:gd name="T0" fmla="*/ 0 w 23"/>
              <a:gd name="T1" fmla="*/ 1 h 69"/>
              <a:gd name="T2" fmla="*/ 0 w 23"/>
              <a:gd name="T3" fmla="*/ 0 h 69"/>
              <a:gd name="T4" fmla="*/ 1 w 23"/>
              <a:gd name="T5" fmla="*/ 2 h 69"/>
              <a:gd name="T6" fmla="*/ 0 w 23"/>
              <a:gd name="T7" fmla="*/ 1 h 69"/>
              <a:gd name="T8" fmla="*/ 0 60000 65536"/>
              <a:gd name="T9" fmla="*/ 0 60000 65536"/>
              <a:gd name="T10" fmla="*/ 0 60000 65536"/>
              <a:gd name="T11" fmla="*/ 0 60000 65536"/>
              <a:gd name="T12" fmla="*/ 0 w 23"/>
              <a:gd name="T13" fmla="*/ 0 h 69"/>
              <a:gd name="T14" fmla="*/ 23 w 23"/>
              <a:gd name="T15" fmla="*/ 69 h 6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3" h="69">
                <a:moveTo>
                  <a:pt x="0" y="31"/>
                </a:moveTo>
                <a:lnTo>
                  <a:pt x="7" y="0"/>
                </a:lnTo>
                <a:lnTo>
                  <a:pt x="23" y="69"/>
                </a:lnTo>
                <a:lnTo>
                  <a:pt x="0" y="3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1" name="Freeform 277"/>
          <p:cNvSpPr/>
          <p:nvPr/>
        </p:nvSpPr>
        <p:spPr bwMode="auto">
          <a:xfrm>
            <a:off x="10189210" y="5657215"/>
            <a:ext cx="16510" cy="61595"/>
          </a:xfrm>
          <a:custGeom>
            <a:avLst/>
            <a:gdLst>
              <a:gd name="T0" fmla="*/ 0 w 23"/>
              <a:gd name="T1" fmla="*/ 2 h 85"/>
              <a:gd name="T2" fmla="*/ 1 w 23"/>
              <a:gd name="T3" fmla="*/ 0 h 85"/>
              <a:gd name="T4" fmla="*/ 1 w 23"/>
              <a:gd name="T5" fmla="*/ 2 h 85"/>
              <a:gd name="T6" fmla="*/ 0 w 23"/>
              <a:gd name="T7" fmla="*/ 2 h 85"/>
              <a:gd name="T8" fmla="*/ 0 60000 65536"/>
              <a:gd name="T9" fmla="*/ 0 60000 65536"/>
              <a:gd name="T10" fmla="*/ 0 60000 65536"/>
              <a:gd name="T11" fmla="*/ 0 60000 65536"/>
              <a:gd name="T12" fmla="*/ 0 w 23"/>
              <a:gd name="T13" fmla="*/ 0 h 85"/>
              <a:gd name="T14" fmla="*/ 23 w 23"/>
              <a:gd name="T15" fmla="*/ 85 h 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3" h="85">
                <a:moveTo>
                  <a:pt x="0" y="75"/>
                </a:moveTo>
                <a:lnTo>
                  <a:pt x="23" y="0"/>
                </a:lnTo>
                <a:lnTo>
                  <a:pt x="23" y="85"/>
                </a:lnTo>
                <a:lnTo>
                  <a:pt x="0" y="7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2" name="Freeform 278"/>
          <p:cNvSpPr/>
          <p:nvPr/>
        </p:nvSpPr>
        <p:spPr bwMode="auto">
          <a:xfrm>
            <a:off x="10207625" y="6135370"/>
            <a:ext cx="41275" cy="28575"/>
          </a:xfrm>
          <a:custGeom>
            <a:avLst/>
            <a:gdLst>
              <a:gd name="T0" fmla="*/ 0 w 51"/>
              <a:gd name="T1" fmla="*/ 0 h 39"/>
              <a:gd name="T2" fmla="*/ 1 w 51"/>
              <a:gd name="T3" fmla="*/ 0 h 39"/>
              <a:gd name="T4" fmla="*/ 1 w 51"/>
              <a:gd name="T5" fmla="*/ 1 h 39"/>
              <a:gd name="T6" fmla="*/ 0 w 51"/>
              <a:gd name="T7" fmla="*/ 0 h 39"/>
              <a:gd name="T8" fmla="*/ 0 60000 65536"/>
              <a:gd name="T9" fmla="*/ 0 60000 65536"/>
              <a:gd name="T10" fmla="*/ 0 60000 65536"/>
              <a:gd name="T11" fmla="*/ 0 60000 65536"/>
              <a:gd name="T12" fmla="*/ 0 w 51"/>
              <a:gd name="T13" fmla="*/ 0 h 39"/>
              <a:gd name="T14" fmla="*/ 51 w 51"/>
              <a:gd name="T15" fmla="*/ 39 h 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1" h="39">
                <a:moveTo>
                  <a:pt x="0" y="0"/>
                </a:moveTo>
                <a:lnTo>
                  <a:pt x="49" y="9"/>
                </a:lnTo>
                <a:lnTo>
                  <a:pt x="51" y="39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3" name="Freeform 279"/>
          <p:cNvSpPr/>
          <p:nvPr/>
        </p:nvSpPr>
        <p:spPr bwMode="auto">
          <a:xfrm>
            <a:off x="10215880" y="6073140"/>
            <a:ext cx="57785" cy="64770"/>
          </a:xfrm>
          <a:custGeom>
            <a:avLst/>
            <a:gdLst>
              <a:gd name="T0" fmla="*/ 0 w 75"/>
              <a:gd name="T1" fmla="*/ 0 h 88"/>
              <a:gd name="T2" fmla="*/ 1 w 75"/>
              <a:gd name="T3" fmla="*/ 0 h 88"/>
              <a:gd name="T4" fmla="*/ 0 w 75"/>
              <a:gd name="T5" fmla="*/ 1 h 88"/>
              <a:gd name="T6" fmla="*/ 2 w 75"/>
              <a:gd name="T7" fmla="*/ 1 h 88"/>
              <a:gd name="T8" fmla="*/ 1 w 75"/>
              <a:gd name="T9" fmla="*/ 2 h 88"/>
              <a:gd name="T10" fmla="*/ 0 w 75"/>
              <a:gd name="T11" fmla="*/ 0 h 8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5"/>
              <a:gd name="T19" fmla="*/ 0 h 88"/>
              <a:gd name="T20" fmla="*/ 75 w 75"/>
              <a:gd name="T21" fmla="*/ 88 h 8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5" h="88">
                <a:moveTo>
                  <a:pt x="0" y="15"/>
                </a:moveTo>
                <a:lnTo>
                  <a:pt x="21" y="0"/>
                </a:lnTo>
                <a:lnTo>
                  <a:pt x="19" y="42"/>
                </a:lnTo>
                <a:lnTo>
                  <a:pt x="75" y="57"/>
                </a:lnTo>
                <a:lnTo>
                  <a:pt x="39" y="88"/>
                </a:lnTo>
                <a:lnTo>
                  <a:pt x="0" y="1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4" name="Freeform 280"/>
          <p:cNvSpPr/>
          <p:nvPr/>
        </p:nvSpPr>
        <p:spPr bwMode="auto">
          <a:xfrm>
            <a:off x="10260330" y="6155690"/>
            <a:ext cx="29845" cy="18415"/>
          </a:xfrm>
          <a:custGeom>
            <a:avLst/>
            <a:gdLst>
              <a:gd name="T0" fmla="*/ 0 w 40"/>
              <a:gd name="T1" fmla="*/ 1 h 23"/>
              <a:gd name="T2" fmla="*/ 0 w 40"/>
              <a:gd name="T3" fmla="*/ 0 h 23"/>
              <a:gd name="T4" fmla="*/ 1 w 40"/>
              <a:gd name="T5" fmla="*/ 1 h 23"/>
              <a:gd name="T6" fmla="*/ 0 w 40"/>
              <a:gd name="T7" fmla="*/ 1 h 23"/>
              <a:gd name="T8" fmla="*/ 0 60000 65536"/>
              <a:gd name="T9" fmla="*/ 0 60000 65536"/>
              <a:gd name="T10" fmla="*/ 0 60000 65536"/>
              <a:gd name="T11" fmla="*/ 0 60000 65536"/>
              <a:gd name="T12" fmla="*/ 0 w 40"/>
              <a:gd name="T13" fmla="*/ 0 h 23"/>
              <a:gd name="T14" fmla="*/ 40 w 40"/>
              <a:gd name="T15" fmla="*/ 23 h 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" h="23">
                <a:moveTo>
                  <a:pt x="0" y="17"/>
                </a:moveTo>
                <a:lnTo>
                  <a:pt x="11" y="0"/>
                </a:lnTo>
                <a:lnTo>
                  <a:pt x="40" y="23"/>
                </a:lnTo>
                <a:lnTo>
                  <a:pt x="0" y="1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5" name="Freeform 281"/>
          <p:cNvSpPr/>
          <p:nvPr/>
        </p:nvSpPr>
        <p:spPr bwMode="auto">
          <a:xfrm>
            <a:off x="10281920" y="6104255"/>
            <a:ext cx="82550" cy="95885"/>
          </a:xfrm>
          <a:custGeom>
            <a:avLst/>
            <a:gdLst>
              <a:gd name="T0" fmla="*/ 0 w 104"/>
              <a:gd name="T1" fmla="*/ 2 h 134"/>
              <a:gd name="T2" fmla="*/ 0 w 104"/>
              <a:gd name="T3" fmla="*/ 2 h 134"/>
              <a:gd name="T4" fmla="*/ 2 w 104"/>
              <a:gd name="T5" fmla="*/ 2 h 134"/>
              <a:gd name="T6" fmla="*/ 1 w 104"/>
              <a:gd name="T7" fmla="*/ 1 h 134"/>
              <a:gd name="T8" fmla="*/ 2 w 104"/>
              <a:gd name="T9" fmla="*/ 1 h 134"/>
              <a:gd name="T10" fmla="*/ 1 w 104"/>
              <a:gd name="T11" fmla="*/ 1 h 134"/>
              <a:gd name="T12" fmla="*/ 1 w 104"/>
              <a:gd name="T13" fmla="*/ 0 h 134"/>
              <a:gd name="T14" fmla="*/ 2 w 104"/>
              <a:gd name="T15" fmla="*/ 0 h 134"/>
              <a:gd name="T16" fmla="*/ 3 w 104"/>
              <a:gd name="T17" fmla="*/ 3 h 134"/>
              <a:gd name="T18" fmla="*/ 0 w 104"/>
              <a:gd name="T19" fmla="*/ 2 h 1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4"/>
              <a:gd name="T31" fmla="*/ 0 h 134"/>
              <a:gd name="T32" fmla="*/ 104 w 104"/>
              <a:gd name="T33" fmla="*/ 134 h 1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4" h="134">
                <a:moveTo>
                  <a:pt x="0" y="108"/>
                </a:moveTo>
                <a:lnTo>
                  <a:pt x="15" y="88"/>
                </a:lnTo>
                <a:lnTo>
                  <a:pt x="73" y="100"/>
                </a:lnTo>
                <a:lnTo>
                  <a:pt x="47" y="65"/>
                </a:lnTo>
                <a:lnTo>
                  <a:pt x="74" y="44"/>
                </a:lnTo>
                <a:lnTo>
                  <a:pt x="32" y="40"/>
                </a:lnTo>
                <a:lnTo>
                  <a:pt x="32" y="7"/>
                </a:lnTo>
                <a:lnTo>
                  <a:pt x="102" y="0"/>
                </a:lnTo>
                <a:lnTo>
                  <a:pt x="104" y="134"/>
                </a:lnTo>
                <a:lnTo>
                  <a:pt x="0" y="10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Freeform 282"/>
          <p:cNvSpPr/>
          <p:nvPr/>
        </p:nvSpPr>
        <p:spPr bwMode="auto">
          <a:xfrm>
            <a:off x="10323195" y="6214745"/>
            <a:ext cx="59690" cy="20320"/>
          </a:xfrm>
          <a:custGeom>
            <a:avLst/>
            <a:gdLst>
              <a:gd name="T0" fmla="*/ 0 w 78"/>
              <a:gd name="T1" fmla="*/ 0 h 28"/>
              <a:gd name="T2" fmla="*/ 2 w 78"/>
              <a:gd name="T3" fmla="*/ 0 h 28"/>
              <a:gd name="T4" fmla="*/ 2 w 78"/>
              <a:gd name="T5" fmla="*/ 1 h 28"/>
              <a:gd name="T6" fmla="*/ 0 w 78"/>
              <a:gd name="T7" fmla="*/ 0 h 28"/>
              <a:gd name="T8" fmla="*/ 0 60000 65536"/>
              <a:gd name="T9" fmla="*/ 0 60000 65536"/>
              <a:gd name="T10" fmla="*/ 0 60000 65536"/>
              <a:gd name="T11" fmla="*/ 0 60000 65536"/>
              <a:gd name="T12" fmla="*/ 0 w 78"/>
              <a:gd name="T13" fmla="*/ 0 h 28"/>
              <a:gd name="T14" fmla="*/ 78 w 78"/>
              <a:gd name="T15" fmla="*/ 28 h 2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8" h="28">
                <a:moveTo>
                  <a:pt x="0" y="0"/>
                </a:moveTo>
                <a:lnTo>
                  <a:pt x="71" y="7"/>
                </a:lnTo>
                <a:lnTo>
                  <a:pt x="78" y="28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reeform 283"/>
          <p:cNvSpPr/>
          <p:nvPr/>
        </p:nvSpPr>
        <p:spPr bwMode="auto">
          <a:xfrm>
            <a:off x="10380980" y="6202045"/>
            <a:ext cx="29845" cy="13335"/>
          </a:xfrm>
          <a:custGeom>
            <a:avLst/>
            <a:gdLst>
              <a:gd name="T0" fmla="*/ 0 w 37"/>
              <a:gd name="T1" fmla="*/ 0 h 18"/>
              <a:gd name="T2" fmla="*/ 0 w 37"/>
              <a:gd name="T3" fmla="*/ 0 h 18"/>
              <a:gd name="T4" fmla="*/ 1 w 37"/>
              <a:gd name="T5" fmla="*/ 0 h 18"/>
              <a:gd name="T6" fmla="*/ 0 w 37"/>
              <a:gd name="T7" fmla="*/ 0 h 18"/>
              <a:gd name="T8" fmla="*/ 0 60000 65536"/>
              <a:gd name="T9" fmla="*/ 0 60000 65536"/>
              <a:gd name="T10" fmla="*/ 0 60000 65536"/>
              <a:gd name="T11" fmla="*/ 0 60000 65536"/>
              <a:gd name="T12" fmla="*/ 0 w 37"/>
              <a:gd name="T13" fmla="*/ 0 h 18"/>
              <a:gd name="T14" fmla="*/ 37 w 3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" h="18">
                <a:moveTo>
                  <a:pt x="0" y="18"/>
                </a:moveTo>
                <a:lnTo>
                  <a:pt x="8" y="0"/>
                </a:lnTo>
                <a:lnTo>
                  <a:pt x="37" y="18"/>
                </a:lnTo>
                <a:lnTo>
                  <a:pt x="0" y="1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reeform 284"/>
          <p:cNvSpPr/>
          <p:nvPr/>
        </p:nvSpPr>
        <p:spPr bwMode="auto">
          <a:xfrm>
            <a:off x="10057765" y="3815080"/>
            <a:ext cx="355600" cy="537210"/>
          </a:xfrm>
          <a:custGeom>
            <a:avLst/>
            <a:gdLst>
              <a:gd name="T0" fmla="*/ 0 w 459"/>
              <a:gd name="T1" fmla="*/ 11 h 730"/>
              <a:gd name="T2" fmla="*/ 1 w 459"/>
              <a:gd name="T3" fmla="*/ 13 h 730"/>
              <a:gd name="T4" fmla="*/ 3 w 459"/>
              <a:gd name="T5" fmla="*/ 13 h 730"/>
              <a:gd name="T6" fmla="*/ 5 w 459"/>
              <a:gd name="T7" fmla="*/ 15 h 730"/>
              <a:gd name="T8" fmla="*/ 7 w 459"/>
              <a:gd name="T9" fmla="*/ 15 h 730"/>
              <a:gd name="T10" fmla="*/ 7 w 459"/>
              <a:gd name="T11" fmla="*/ 17 h 730"/>
              <a:gd name="T12" fmla="*/ 8 w 459"/>
              <a:gd name="T13" fmla="*/ 17 h 730"/>
              <a:gd name="T14" fmla="*/ 8 w 459"/>
              <a:gd name="T15" fmla="*/ 14 h 730"/>
              <a:gd name="T16" fmla="*/ 8 w 459"/>
              <a:gd name="T17" fmla="*/ 12 h 730"/>
              <a:gd name="T18" fmla="*/ 8 w 459"/>
              <a:gd name="T19" fmla="*/ 12 h 730"/>
              <a:gd name="T20" fmla="*/ 8 w 459"/>
              <a:gd name="T21" fmla="*/ 11 h 730"/>
              <a:gd name="T22" fmla="*/ 10 w 459"/>
              <a:gd name="T23" fmla="*/ 11 h 730"/>
              <a:gd name="T24" fmla="*/ 10 w 459"/>
              <a:gd name="T25" fmla="*/ 11 h 730"/>
              <a:gd name="T26" fmla="*/ 10 w 459"/>
              <a:gd name="T27" fmla="*/ 10 h 730"/>
              <a:gd name="T28" fmla="*/ 10 w 459"/>
              <a:gd name="T29" fmla="*/ 6 h 730"/>
              <a:gd name="T30" fmla="*/ 8 w 459"/>
              <a:gd name="T31" fmla="*/ 7 h 730"/>
              <a:gd name="T32" fmla="*/ 8 w 459"/>
              <a:gd name="T33" fmla="*/ 6 h 730"/>
              <a:gd name="T34" fmla="*/ 6 w 459"/>
              <a:gd name="T35" fmla="*/ 5 h 730"/>
              <a:gd name="T36" fmla="*/ 5 w 459"/>
              <a:gd name="T37" fmla="*/ 3 h 730"/>
              <a:gd name="T38" fmla="*/ 7 w 459"/>
              <a:gd name="T39" fmla="*/ 1 h 730"/>
              <a:gd name="T40" fmla="*/ 6 w 459"/>
              <a:gd name="T41" fmla="*/ 0 h 730"/>
              <a:gd name="T42" fmla="*/ 3 w 459"/>
              <a:gd name="T43" fmla="*/ 1 h 730"/>
              <a:gd name="T44" fmla="*/ 2 w 459"/>
              <a:gd name="T45" fmla="*/ 5 h 730"/>
              <a:gd name="T46" fmla="*/ 1 w 459"/>
              <a:gd name="T47" fmla="*/ 4 h 730"/>
              <a:gd name="T48" fmla="*/ 1 w 459"/>
              <a:gd name="T49" fmla="*/ 5 h 730"/>
              <a:gd name="T50" fmla="*/ 1 w 459"/>
              <a:gd name="T51" fmla="*/ 9 h 730"/>
              <a:gd name="T52" fmla="*/ 2 w 459"/>
              <a:gd name="T53" fmla="*/ 9 h 730"/>
              <a:gd name="T54" fmla="*/ 0 w 459"/>
              <a:gd name="T55" fmla="*/ 11 h 73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59"/>
              <a:gd name="T85" fmla="*/ 0 h 730"/>
              <a:gd name="T86" fmla="*/ 459 w 459"/>
              <a:gd name="T87" fmla="*/ 730 h 73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59" h="730">
                <a:moveTo>
                  <a:pt x="0" y="488"/>
                </a:moveTo>
                <a:lnTo>
                  <a:pt x="56" y="540"/>
                </a:lnTo>
                <a:lnTo>
                  <a:pt x="138" y="552"/>
                </a:lnTo>
                <a:lnTo>
                  <a:pt x="220" y="653"/>
                </a:lnTo>
                <a:lnTo>
                  <a:pt x="330" y="663"/>
                </a:lnTo>
                <a:lnTo>
                  <a:pt x="314" y="713"/>
                </a:lnTo>
                <a:lnTo>
                  <a:pt x="342" y="730"/>
                </a:lnTo>
                <a:lnTo>
                  <a:pt x="359" y="604"/>
                </a:lnTo>
                <a:lnTo>
                  <a:pt x="338" y="525"/>
                </a:lnTo>
                <a:lnTo>
                  <a:pt x="375" y="522"/>
                </a:lnTo>
                <a:lnTo>
                  <a:pt x="349" y="477"/>
                </a:lnTo>
                <a:lnTo>
                  <a:pt x="437" y="461"/>
                </a:lnTo>
                <a:lnTo>
                  <a:pt x="459" y="491"/>
                </a:lnTo>
                <a:lnTo>
                  <a:pt x="424" y="427"/>
                </a:lnTo>
                <a:lnTo>
                  <a:pt x="436" y="274"/>
                </a:lnTo>
                <a:lnTo>
                  <a:pt x="362" y="280"/>
                </a:lnTo>
                <a:lnTo>
                  <a:pt x="338" y="242"/>
                </a:lnTo>
                <a:lnTo>
                  <a:pt x="264" y="231"/>
                </a:lnTo>
                <a:lnTo>
                  <a:pt x="216" y="143"/>
                </a:lnTo>
                <a:lnTo>
                  <a:pt x="289" y="27"/>
                </a:lnTo>
                <a:lnTo>
                  <a:pt x="279" y="0"/>
                </a:lnTo>
                <a:lnTo>
                  <a:pt x="148" y="63"/>
                </a:lnTo>
                <a:lnTo>
                  <a:pt x="78" y="195"/>
                </a:lnTo>
                <a:lnTo>
                  <a:pt x="54" y="165"/>
                </a:lnTo>
                <a:lnTo>
                  <a:pt x="39" y="228"/>
                </a:lnTo>
                <a:lnTo>
                  <a:pt x="54" y="373"/>
                </a:lnTo>
                <a:lnTo>
                  <a:pt x="71" y="373"/>
                </a:lnTo>
                <a:lnTo>
                  <a:pt x="0" y="48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Freeform 285"/>
          <p:cNvSpPr/>
          <p:nvPr/>
        </p:nvSpPr>
        <p:spPr bwMode="auto">
          <a:xfrm>
            <a:off x="9853295" y="3859530"/>
            <a:ext cx="92710" cy="87630"/>
          </a:xfrm>
          <a:custGeom>
            <a:avLst/>
            <a:gdLst>
              <a:gd name="T0" fmla="*/ 0 w 118"/>
              <a:gd name="T1" fmla="*/ 0 h 118"/>
              <a:gd name="T2" fmla="*/ 0 w 118"/>
              <a:gd name="T3" fmla="*/ 1 h 118"/>
              <a:gd name="T4" fmla="*/ 1 w 118"/>
              <a:gd name="T5" fmla="*/ 1 h 118"/>
              <a:gd name="T6" fmla="*/ 2 w 118"/>
              <a:gd name="T7" fmla="*/ 3 h 118"/>
              <a:gd name="T8" fmla="*/ 3 w 118"/>
              <a:gd name="T9" fmla="*/ 1 h 118"/>
              <a:gd name="T10" fmla="*/ 2 w 118"/>
              <a:gd name="T11" fmla="*/ 0 h 118"/>
              <a:gd name="T12" fmla="*/ 0 w 118"/>
              <a:gd name="T13" fmla="*/ 0 h 1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8"/>
              <a:gd name="T22" fmla="*/ 0 h 118"/>
              <a:gd name="T23" fmla="*/ 118 w 118"/>
              <a:gd name="T24" fmla="*/ 118 h 1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8" h="118">
                <a:moveTo>
                  <a:pt x="0" y="0"/>
                </a:moveTo>
                <a:lnTo>
                  <a:pt x="1" y="46"/>
                </a:lnTo>
                <a:lnTo>
                  <a:pt x="26" y="39"/>
                </a:lnTo>
                <a:lnTo>
                  <a:pt x="100" y="118"/>
                </a:lnTo>
                <a:lnTo>
                  <a:pt x="118" y="58"/>
                </a:lnTo>
                <a:lnTo>
                  <a:pt x="79" y="4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0" name="Freeform 286"/>
          <p:cNvSpPr/>
          <p:nvPr/>
        </p:nvSpPr>
        <p:spPr bwMode="auto">
          <a:xfrm>
            <a:off x="9874885" y="3456305"/>
            <a:ext cx="319405" cy="107950"/>
          </a:xfrm>
          <a:custGeom>
            <a:avLst/>
            <a:gdLst>
              <a:gd name="T0" fmla="*/ 0 w 412"/>
              <a:gd name="T1" fmla="*/ 1 h 149"/>
              <a:gd name="T2" fmla="*/ 1 w 412"/>
              <a:gd name="T3" fmla="*/ 0 h 149"/>
              <a:gd name="T4" fmla="*/ 4 w 412"/>
              <a:gd name="T5" fmla="*/ 0 h 149"/>
              <a:gd name="T6" fmla="*/ 9 w 412"/>
              <a:gd name="T7" fmla="*/ 3 h 149"/>
              <a:gd name="T8" fmla="*/ 6 w 412"/>
              <a:gd name="T9" fmla="*/ 3 h 149"/>
              <a:gd name="T10" fmla="*/ 7 w 412"/>
              <a:gd name="T11" fmla="*/ 3 h 149"/>
              <a:gd name="T12" fmla="*/ 5 w 412"/>
              <a:gd name="T13" fmla="*/ 2 h 149"/>
              <a:gd name="T14" fmla="*/ 3 w 412"/>
              <a:gd name="T15" fmla="*/ 1 h 149"/>
              <a:gd name="T16" fmla="*/ 3 w 412"/>
              <a:gd name="T17" fmla="*/ 1 h 149"/>
              <a:gd name="T18" fmla="*/ 0 w 412"/>
              <a:gd name="T19" fmla="*/ 1 h 1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2"/>
              <a:gd name="T31" fmla="*/ 0 h 149"/>
              <a:gd name="T32" fmla="*/ 412 w 412"/>
              <a:gd name="T33" fmla="*/ 149 h 1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2" h="149">
                <a:moveTo>
                  <a:pt x="0" y="58"/>
                </a:moveTo>
                <a:lnTo>
                  <a:pt x="56" y="7"/>
                </a:lnTo>
                <a:lnTo>
                  <a:pt x="161" y="0"/>
                </a:lnTo>
                <a:lnTo>
                  <a:pt x="412" y="127"/>
                </a:lnTo>
                <a:lnTo>
                  <a:pt x="279" y="149"/>
                </a:lnTo>
                <a:lnTo>
                  <a:pt x="301" y="120"/>
                </a:lnTo>
                <a:lnTo>
                  <a:pt x="236" y="72"/>
                </a:lnTo>
                <a:lnTo>
                  <a:pt x="115" y="43"/>
                </a:lnTo>
                <a:lnTo>
                  <a:pt x="119" y="24"/>
                </a:lnTo>
                <a:lnTo>
                  <a:pt x="0" y="5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1" name="Freeform 287"/>
          <p:cNvSpPr/>
          <p:nvPr/>
        </p:nvSpPr>
        <p:spPr bwMode="auto">
          <a:xfrm>
            <a:off x="10268585" y="3564890"/>
            <a:ext cx="95885" cy="59690"/>
          </a:xfrm>
          <a:custGeom>
            <a:avLst/>
            <a:gdLst>
              <a:gd name="T0" fmla="*/ 0 w 127"/>
              <a:gd name="T1" fmla="*/ 0 h 82"/>
              <a:gd name="T2" fmla="*/ 0 w 127"/>
              <a:gd name="T3" fmla="*/ 2 h 82"/>
              <a:gd name="T4" fmla="*/ 3 w 127"/>
              <a:gd name="T5" fmla="*/ 1 h 82"/>
              <a:gd name="T6" fmla="*/ 2 w 127"/>
              <a:gd name="T7" fmla="*/ 0 h 82"/>
              <a:gd name="T8" fmla="*/ 0 w 127"/>
              <a:gd name="T9" fmla="*/ 0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7"/>
              <a:gd name="T16" fmla="*/ 0 h 82"/>
              <a:gd name="T17" fmla="*/ 127 w 127"/>
              <a:gd name="T18" fmla="*/ 82 h 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7" h="82">
                <a:moveTo>
                  <a:pt x="0" y="0"/>
                </a:moveTo>
                <a:lnTo>
                  <a:pt x="0" y="82"/>
                </a:lnTo>
                <a:lnTo>
                  <a:pt x="127" y="58"/>
                </a:lnTo>
                <a:lnTo>
                  <a:pt x="72" y="9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2" name="Freeform 288"/>
          <p:cNvSpPr/>
          <p:nvPr/>
        </p:nvSpPr>
        <p:spPr bwMode="auto">
          <a:xfrm>
            <a:off x="9997440" y="4171950"/>
            <a:ext cx="167005" cy="203835"/>
          </a:xfrm>
          <a:custGeom>
            <a:avLst/>
            <a:gdLst>
              <a:gd name="T0" fmla="*/ 0 w 212"/>
              <a:gd name="T1" fmla="*/ 3 h 275"/>
              <a:gd name="T2" fmla="*/ 0 w 212"/>
              <a:gd name="T3" fmla="*/ 4 h 275"/>
              <a:gd name="T4" fmla="*/ 1 w 212"/>
              <a:gd name="T5" fmla="*/ 4 h 275"/>
              <a:gd name="T6" fmla="*/ 0 w 212"/>
              <a:gd name="T7" fmla="*/ 5 h 275"/>
              <a:gd name="T8" fmla="*/ 0 w 212"/>
              <a:gd name="T9" fmla="*/ 6 h 275"/>
              <a:gd name="T10" fmla="*/ 1 w 212"/>
              <a:gd name="T11" fmla="*/ 7 h 275"/>
              <a:gd name="T12" fmla="*/ 3 w 212"/>
              <a:gd name="T13" fmla="*/ 5 h 275"/>
              <a:gd name="T14" fmla="*/ 5 w 212"/>
              <a:gd name="T15" fmla="*/ 3 h 275"/>
              <a:gd name="T16" fmla="*/ 5 w 212"/>
              <a:gd name="T17" fmla="*/ 1 h 275"/>
              <a:gd name="T18" fmla="*/ 3 w 212"/>
              <a:gd name="T19" fmla="*/ 1 h 275"/>
              <a:gd name="T20" fmla="*/ 2 w 212"/>
              <a:gd name="T21" fmla="*/ 0 h 275"/>
              <a:gd name="T22" fmla="*/ 1 w 212"/>
              <a:gd name="T23" fmla="*/ 1 h 275"/>
              <a:gd name="T24" fmla="*/ 0 w 212"/>
              <a:gd name="T25" fmla="*/ 3 h 27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2"/>
              <a:gd name="T40" fmla="*/ 0 h 275"/>
              <a:gd name="T41" fmla="*/ 212 w 212"/>
              <a:gd name="T42" fmla="*/ 275 h 27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2" h="275">
                <a:moveTo>
                  <a:pt x="0" y="106"/>
                </a:moveTo>
                <a:lnTo>
                  <a:pt x="1" y="160"/>
                </a:lnTo>
                <a:lnTo>
                  <a:pt x="42" y="175"/>
                </a:lnTo>
                <a:lnTo>
                  <a:pt x="18" y="215"/>
                </a:lnTo>
                <a:lnTo>
                  <a:pt x="12" y="263"/>
                </a:lnTo>
                <a:lnTo>
                  <a:pt x="62" y="275"/>
                </a:lnTo>
                <a:lnTo>
                  <a:pt x="107" y="196"/>
                </a:lnTo>
                <a:lnTo>
                  <a:pt x="194" y="139"/>
                </a:lnTo>
                <a:lnTo>
                  <a:pt x="212" y="64"/>
                </a:lnTo>
                <a:lnTo>
                  <a:pt x="130" y="52"/>
                </a:lnTo>
                <a:lnTo>
                  <a:pt x="74" y="0"/>
                </a:lnTo>
                <a:lnTo>
                  <a:pt x="28" y="26"/>
                </a:lnTo>
                <a:lnTo>
                  <a:pt x="0" y="10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3" name="Freeform 289"/>
          <p:cNvSpPr/>
          <p:nvPr/>
        </p:nvSpPr>
        <p:spPr bwMode="auto">
          <a:xfrm>
            <a:off x="9721215" y="3746500"/>
            <a:ext cx="71120" cy="34290"/>
          </a:xfrm>
          <a:custGeom>
            <a:avLst/>
            <a:gdLst>
              <a:gd name="T0" fmla="*/ 0 w 89"/>
              <a:gd name="T1" fmla="*/ 1 h 44"/>
              <a:gd name="T2" fmla="*/ 1 w 89"/>
              <a:gd name="T3" fmla="*/ 0 h 44"/>
              <a:gd name="T4" fmla="*/ 2 w 89"/>
              <a:gd name="T5" fmla="*/ 1 h 44"/>
              <a:gd name="T6" fmla="*/ 0 w 89"/>
              <a:gd name="T7" fmla="*/ 1 h 44"/>
              <a:gd name="T8" fmla="*/ 0 60000 65536"/>
              <a:gd name="T9" fmla="*/ 0 60000 65536"/>
              <a:gd name="T10" fmla="*/ 0 60000 65536"/>
              <a:gd name="T11" fmla="*/ 0 60000 65536"/>
              <a:gd name="T12" fmla="*/ 0 w 89"/>
              <a:gd name="T13" fmla="*/ 0 h 44"/>
              <a:gd name="T14" fmla="*/ 89 w 89"/>
              <a:gd name="T15" fmla="*/ 44 h 4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9" h="44">
                <a:moveTo>
                  <a:pt x="0" y="32"/>
                </a:moveTo>
                <a:lnTo>
                  <a:pt x="27" y="0"/>
                </a:lnTo>
                <a:lnTo>
                  <a:pt x="89" y="44"/>
                </a:lnTo>
                <a:lnTo>
                  <a:pt x="0" y="3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4" name="Freeform 290"/>
          <p:cNvSpPr/>
          <p:nvPr/>
        </p:nvSpPr>
        <p:spPr bwMode="auto">
          <a:xfrm>
            <a:off x="10591165" y="6044565"/>
            <a:ext cx="46355" cy="31115"/>
          </a:xfrm>
          <a:custGeom>
            <a:avLst/>
            <a:gdLst>
              <a:gd name="T0" fmla="*/ 0 w 59"/>
              <a:gd name="T1" fmla="*/ 1 h 41"/>
              <a:gd name="T2" fmla="*/ 1 w 59"/>
              <a:gd name="T3" fmla="*/ 1 h 41"/>
              <a:gd name="T4" fmla="*/ 0 w 59"/>
              <a:gd name="T5" fmla="*/ 0 h 41"/>
              <a:gd name="T6" fmla="*/ 1 w 59"/>
              <a:gd name="T7" fmla="*/ 0 h 41"/>
              <a:gd name="T8" fmla="*/ 0 w 59"/>
              <a:gd name="T9" fmla="*/ 1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"/>
              <a:gd name="T16" fmla="*/ 0 h 41"/>
              <a:gd name="T17" fmla="*/ 59 w 59"/>
              <a:gd name="T18" fmla="*/ 41 h 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" h="41">
                <a:moveTo>
                  <a:pt x="0" y="41"/>
                </a:moveTo>
                <a:lnTo>
                  <a:pt x="32" y="19"/>
                </a:lnTo>
                <a:lnTo>
                  <a:pt x="19" y="0"/>
                </a:lnTo>
                <a:lnTo>
                  <a:pt x="59" y="6"/>
                </a:lnTo>
                <a:lnTo>
                  <a:pt x="0" y="4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reeform 291"/>
          <p:cNvSpPr/>
          <p:nvPr/>
        </p:nvSpPr>
        <p:spPr bwMode="auto">
          <a:xfrm>
            <a:off x="10626090" y="6044565"/>
            <a:ext cx="51435" cy="31115"/>
          </a:xfrm>
          <a:custGeom>
            <a:avLst/>
            <a:gdLst>
              <a:gd name="T0" fmla="*/ 0 w 68"/>
              <a:gd name="T1" fmla="*/ 1 h 47"/>
              <a:gd name="T2" fmla="*/ 1 w 68"/>
              <a:gd name="T3" fmla="*/ 0 h 47"/>
              <a:gd name="T4" fmla="*/ 1 w 68"/>
              <a:gd name="T5" fmla="*/ 0 h 47"/>
              <a:gd name="T6" fmla="*/ 0 w 68"/>
              <a:gd name="T7" fmla="*/ 1 h 47"/>
              <a:gd name="T8" fmla="*/ 0 60000 65536"/>
              <a:gd name="T9" fmla="*/ 0 60000 65536"/>
              <a:gd name="T10" fmla="*/ 0 60000 65536"/>
              <a:gd name="T11" fmla="*/ 0 60000 65536"/>
              <a:gd name="T12" fmla="*/ 0 w 68"/>
              <a:gd name="T13" fmla="*/ 0 h 47"/>
              <a:gd name="T14" fmla="*/ 68 w 68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8" h="47">
                <a:moveTo>
                  <a:pt x="0" y="47"/>
                </a:moveTo>
                <a:lnTo>
                  <a:pt x="34" y="0"/>
                </a:lnTo>
                <a:lnTo>
                  <a:pt x="68" y="16"/>
                </a:lnTo>
                <a:lnTo>
                  <a:pt x="0" y="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292"/>
          <p:cNvSpPr/>
          <p:nvPr/>
        </p:nvSpPr>
        <p:spPr bwMode="auto">
          <a:xfrm>
            <a:off x="10784840" y="4037965"/>
            <a:ext cx="84455" cy="113665"/>
          </a:xfrm>
          <a:custGeom>
            <a:avLst/>
            <a:gdLst>
              <a:gd name="T0" fmla="*/ 0 w 107"/>
              <a:gd name="T1" fmla="*/ 3 h 154"/>
              <a:gd name="T2" fmla="*/ 0 w 107"/>
              <a:gd name="T3" fmla="*/ 0 h 154"/>
              <a:gd name="T4" fmla="*/ 3 w 107"/>
              <a:gd name="T5" fmla="*/ 1 h 154"/>
              <a:gd name="T6" fmla="*/ 1 w 107"/>
              <a:gd name="T7" fmla="*/ 4 h 154"/>
              <a:gd name="T8" fmla="*/ 0 w 107"/>
              <a:gd name="T9" fmla="*/ 3 h 1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7"/>
              <a:gd name="T16" fmla="*/ 0 h 154"/>
              <a:gd name="T17" fmla="*/ 107 w 107"/>
              <a:gd name="T18" fmla="*/ 154 h 1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7" h="154">
                <a:moveTo>
                  <a:pt x="0" y="149"/>
                </a:moveTo>
                <a:lnTo>
                  <a:pt x="13" y="0"/>
                </a:lnTo>
                <a:lnTo>
                  <a:pt x="107" y="67"/>
                </a:lnTo>
                <a:lnTo>
                  <a:pt x="52" y="154"/>
                </a:lnTo>
                <a:lnTo>
                  <a:pt x="0" y="14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reeform 293"/>
          <p:cNvSpPr/>
          <p:nvPr/>
        </p:nvSpPr>
        <p:spPr bwMode="auto">
          <a:xfrm>
            <a:off x="10232390" y="544195"/>
            <a:ext cx="1807845" cy="1445895"/>
          </a:xfrm>
          <a:custGeom>
            <a:avLst/>
            <a:gdLst>
              <a:gd name="T0" fmla="*/ 6 w 2319"/>
              <a:gd name="T1" fmla="*/ 11 h 1964"/>
              <a:gd name="T2" fmla="*/ 7 w 2319"/>
              <a:gd name="T3" fmla="*/ 9 h 1964"/>
              <a:gd name="T4" fmla="*/ 5 w 2319"/>
              <a:gd name="T5" fmla="*/ 8 h 1964"/>
              <a:gd name="T6" fmla="*/ 10 w 2319"/>
              <a:gd name="T7" fmla="*/ 4 h 1964"/>
              <a:gd name="T8" fmla="*/ 15 w 2319"/>
              <a:gd name="T9" fmla="*/ 3 h 1964"/>
              <a:gd name="T10" fmla="*/ 20 w 2319"/>
              <a:gd name="T11" fmla="*/ 5 h 1964"/>
              <a:gd name="T12" fmla="*/ 19 w 2319"/>
              <a:gd name="T13" fmla="*/ 3 h 1964"/>
              <a:gd name="T14" fmla="*/ 25 w 2319"/>
              <a:gd name="T15" fmla="*/ 4 h 1964"/>
              <a:gd name="T16" fmla="*/ 29 w 2319"/>
              <a:gd name="T17" fmla="*/ 3 h 1964"/>
              <a:gd name="T18" fmla="*/ 24 w 2319"/>
              <a:gd name="T19" fmla="*/ 1 h 1964"/>
              <a:gd name="T20" fmla="*/ 29 w 2319"/>
              <a:gd name="T21" fmla="*/ 2 h 1964"/>
              <a:gd name="T22" fmla="*/ 29 w 2319"/>
              <a:gd name="T23" fmla="*/ 0 h 1964"/>
              <a:gd name="T24" fmla="*/ 40 w 2319"/>
              <a:gd name="T25" fmla="*/ 1 h 1964"/>
              <a:gd name="T26" fmla="*/ 41 w 2319"/>
              <a:gd name="T27" fmla="*/ 1 h 1964"/>
              <a:gd name="T28" fmla="*/ 45 w 2319"/>
              <a:gd name="T29" fmla="*/ 3 h 1964"/>
              <a:gd name="T30" fmla="*/ 34 w 2319"/>
              <a:gd name="T31" fmla="*/ 4 h 1964"/>
              <a:gd name="T32" fmla="*/ 40 w 2319"/>
              <a:gd name="T33" fmla="*/ 5 h 1964"/>
              <a:gd name="T34" fmla="*/ 46 w 2319"/>
              <a:gd name="T35" fmla="*/ 5 h 1964"/>
              <a:gd name="T36" fmla="*/ 51 w 2319"/>
              <a:gd name="T37" fmla="*/ 4 h 1964"/>
              <a:gd name="T38" fmla="*/ 46 w 2319"/>
              <a:gd name="T39" fmla="*/ 7 h 1964"/>
              <a:gd name="T40" fmla="*/ 49 w 2319"/>
              <a:gd name="T41" fmla="*/ 9 h 1964"/>
              <a:gd name="T42" fmla="*/ 46 w 2319"/>
              <a:gd name="T43" fmla="*/ 11 h 1964"/>
              <a:gd name="T44" fmla="*/ 46 w 2319"/>
              <a:gd name="T45" fmla="*/ 14 h 1964"/>
              <a:gd name="T46" fmla="*/ 45 w 2319"/>
              <a:gd name="T47" fmla="*/ 15 h 1964"/>
              <a:gd name="T48" fmla="*/ 47 w 2319"/>
              <a:gd name="T49" fmla="*/ 17 h 1964"/>
              <a:gd name="T50" fmla="*/ 45 w 2319"/>
              <a:gd name="T51" fmla="*/ 19 h 1964"/>
              <a:gd name="T52" fmla="*/ 46 w 2319"/>
              <a:gd name="T53" fmla="*/ 20 h 1964"/>
              <a:gd name="T54" fmla="*/ 46 w 2319"/>
              <a:gd name="T55" fmla="*/ 22 h 1964"/>
              <a:gd name="T56" fmla="*/ 41 w 2319"/>
              <a:gd name="T57" fmla="*/ 23 h 1964"/>
              <a:gd name="T58" fmla="*/ 42 w 2319"/>
              <a:gd name="T59" fmla="*/ 25 h 1964"/>
              <a:gd name="T60" fmla="*/ 45 w 2319"/>
              <a:gd name="T61" fmla="*/ 26 h 1964"/>
              <a:gd name="T62" fmla="*/ 44 w 2319"/>
              <a:gd name="T63" fmla="*/ 28 h 1964"/>
              <a:gd name="T64" fmla="*/ 40 w 2319"/>
              <a:gd name="T65" fmla="*/ 26 h 1964"/>
              <a:gd name="T66" fmla="*/ 41 w 2319"/>
              <a:gd name="T67" fmla="*/ 29 h 1964"/>
              <a:gd name="T68" fmla="*/ 41 w 2319"/>
              <a:gd name="T69" fmla="*/ 32 h 1964"/>
              <a:gd name="T70" fmla="*/ 36 w 2319"/>
              <a:gd name="T71" fmla="*/ 33 h 1964"/>
              <a:gd name="T72" fmla="*/ 32 w 2319"/>
              <a:gd name="T73" fmla="*/ 36 h 1964"/>
              <a:gd name="T74" fmla="*/ 31 w 2319"/>
              <a:gd name="T75" fmla="*/ 36 h 1964"/>
              <a:gd name="T76" fmla="*/ 28 w 2319"/>
              <a:gd name="T77" fmla="*/ 38 h 1964"/>
              <a:gd name="T78" fmla="*/ 28 w 2319"/>
              <a:gd name="T79" fmla="*/ 40 h 1964"/>
              <a:gd name="T80" fmla="*/ 28 w 2319"/>
              <a:gd name="T81" fmla="*/ 41 h 1964"/>
              <a:gd name="T82" fmla="*/ 26 w 2319"/>
              <a:gd name="T83" fmla="*/ 45 h 1964"/>
              <a:gd name="T84" fmla="*/ 22 w 2319"/>
              <a:gd name="T85" fmla="*/ 44 h 1964"/>
              <a:gd name="T86" fmla="*/ 21 w 2319"/>
              <a:gd name="T87" fmla="*/ 43 h 1964"/>
              <a:gd name="T88" fmla="*/ 19 w 2319"/>
              <a:gd name="T89" fmla="*/ 39 h 1964"/>
              <a:gd name="T90" fmla="*/ 19 w 2319"/>
              <a:gd name="T91" fmla="*/ 37 h 1964"/>
              <a:gd name="T92" fmla="*/ 18 w 2319"/>
              <a:gd name="T93" fmla="*/ 33 h 1964"/>
              <a:gd name="T94" fmla="*/ 18 w 2319"/>
              <a:gd name="T95" fmla="*/ 32 h 1964"/>
              <a:gd name="T96" fmla="*/ 18 w 2319"/>
              <a:gd name="T97" fmla="*/ 29 h 1964"/>
              <a:gd name="T98" fmla="*/ 20 w 2319"/>
              <a:gd name="T99" fmla="*/ 28 h 1964"/>
              <a:gd name="T100" fmla="*/ 19 w 2319"/>
              <a:gd name="T101" fmla="*/ 27 h 1964"/>
              <a:gd name="T102" fmla="*/ 17 w 2319"/>
              <a:gd name="T103" fmla="*/ 27 h 1964"/>
              <a:gd name="T104" fmla="*/ 15 w 2319"/>
              <a:gd name="T105" fmla="*/ 25 h 1964"/>
              <a:gd name="T106" fmla="*/ 14 w 2319"/>
              <a:gd name="T107" fmla="*/ 21 h 1964"/>
              <a:gd name="T108" fmla="*/ 11 w 2319"/>
              <a:gd name="T109" fmla="*/ 17 h 1964"/>
              <a:gd name="T110" fmla="*/ 6 w 2319"/>
              <a:gd name="T111" fmla="*/ 18 h 1964"/>
              <a:gd name="T112" fmla="*/ 1 w 2319"/>
              <a:gd name="T113" fmla="*/ 15 h 1964"/>
              <a:gd name="T114" fmla="*/ 6 w 2319"/>
              <a:gd name="T115" fmla="*/ 14 h 196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319"/>
              <a:gd name="T175" fmla="*/ 0 h 1964"/>
              <a:gd name="T176" fmla="*/ 2319 w 2319"/>
              <a:gd name="T177" fmla="*/ 1964 h 196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319" h="1964">
                <a:moveTo>
                  <a:pt x="0" y="551"/>
                </a:moveTo>
                <a:lnTo>
                  <a:pt x="13" y="521"/>
                </a:lnTo>
                <a:lnTo>
                  <a:pt x="162" y="463"/>
                </a:lnTo>
                <a:lnTo>
                  <a:pt x="261" y="463"/>
                </a:lnTo>
                <a:lnTo>
                  <a:pt x="315" y="418"/>
                </a:lnTo>
                <a:lnTo>
                  <a:pt x="296" y="405"/>
                </a:lnTo>
                <a:lnTo>
                  <a:pt x="329" y="390"/>
                </a:lnTo>
                <a:lnTo>
                  <a:pt x="302" y="380"/>
                </a:lnTo>
                <a:lnTo>
                  <a:pt x="354" y="363"/>
                </a:lnTo>
                <a:lnTo>
                  <a:pt x="335" y="346"/>
                </a:lnTo>
                <a:lnTo>
                  <a:pt x="267" y="376"/>
                </a:lnTo>
                <a:lnTo>
                  <a:pt x="200" y="338"/>
                </a:lnTo>
                <a:lnTo>
                  <a:pt x="284" y="317"/>
                </a:lnTo>
                <a:lnTo>
                  <a:pt x="332" y="254"/>
                </a:lnTo>
                <a:lnTo>
                  <a:pt x="437" y="250"/>
                </a:lnTo>
                <a:lnTo>
                  <a:pt x="432" y="185"/>
                </a:lnTo>
                <a:lnTo>
                  <a:pt x="507" y="184"/>
                </a:lnTo>
                <a:lnTo>
                  <a:pt x="586" y="230"/>
                </a:lnTo>
                <a:lnTo>
                  <a:pt x="493" y="168"/>
                </a:lnTo>
                <a:lnTo>
                  <a:pt x="669" y="126"/>
                </a:lnTo>
                <a:lnTo>
                  <a:pt x="713" y="156"/>
                </a:lnTo>
                <a:lnTo>
                  <a:pt x="719" y="214"/>
                </a:lnTo>
                <a:lnTo>
                  <a:pt x="740" y="165"/>
                </a:lnTo>
                <a:lnTo>
                  <a:pt x="854" y="199"/>
                </a:lnTo>
                <a:lnTo>
                  <a:pt x="814" y="172"/>
                </a:lnTo>
                <a:lnTo>
                  <a:pt x="868" y="176"/>
                </a:lnTo>
                <a:lnTo>
                  <a:pt x="821" y="142"/>
                </a:lnTo>
                <a:lnTo>
                  <a:pt x="808" y="115"/>
                </a:lnTo>
                <a:lnTo>
                  <a:pt x="832" y="108"/>
                </a:lnTo>
                <a:lnTo>
                  <a:pt x="1056" y="192"/>
                </a:lnTo>
                <a:lnTo>
                  <a:pt x="1039" y="165"/>
                </a:lnTo>
                <a:lnTo>
                  <a:pt x="1086" y="161"/>
                </a:lnTo>
                <a:lnTo>
                  <a:pt x="1056" y="137"/>
                </a:lnTo>
                <a:lnTo>
                  <a:pt x="1132" y="142"/>
                </a:lnTo>
                <a:lnTo>
                  <a:pt x="1012" y="81"/>
                </a:lnTo>
                <a:lnTo>
                  <a:pt x="1228" y="115"/>
                </a:lnTo>
                <a:lnTo>
                  <a:pt x="1181" y="80"/>
                </a:lnTo>
                <a:lnTo>
                  <a:pt x="1054" y="73"/>
                </a:lnTo>
                <a:lnTo>
                  <a:pt x="1096" y="71"/>
                </a:lnTo>
                <a:lnTo>
                  <a:pt x="1017" y="42"/>
                </a:lnTo>
                <a:lnTo>
                  <a:pt x="1110" y="48"/>
                </a:lnTo>
                <a:lnTo>
                  <a:pt x="1073" y="35"/>
                </a:lnTo>
                <a:lnTo>
                  <a:pt x="1112" y="26"/>
                </a:lnTo>
                <a:lnTo>
                  <a:pt x="1272" y="81"/>
                </a:lnTo>
                <a:lnTo>
                  <a:pt x="1253" y="61"/>
                </a:lnTo>
                <a:lnTo>
                  <a:pt x="1326" y="42"/>
                </a:lnTo>
                <a:lnTo>
                  <a:pt x="1264" y="35"/>
                </a:lnTo>
                <a:lnTo>
                  <a:pt x="1262" y="8"/>
                </a:lnTo>
                <a:lnTo>
                  <a:pt x="1303" y="0"/>
                </a:lnTo>
                <a:lnTo>
                  <a:pt x="1732" y="10"/>
                </a:lnTo>
                <a:lnTo>
                  <a:pt x="1762" y="25"/>
                </a:lnTo>
                <a:lnTo>
                  <a:pt x="1746" y="35"/>
                </a:lnTo>
                <a:lnTo>
                  <a:pt x="1462" y="38"/>
                </a:lnTo>
                <a:lnTo>
                  <a:pt x="1495" y="54"/>
                </a:lnTo>
                <a:lnTo>
                  <a:pt x="1384" y="71"/>
                </a:lnTo>
                <a:lnTo>
                  <a:pt x="1789" y="42"/>
                </a:lnTo>
                <a:lnTo>
                  <a:pt x="1802" y="68"/>
                </a:lnTo>
                <a:lnTo>
                  <a:pt x="1746" y="83"/>
                </a:lnTo>
                <a:lnTo>
                  <a:pt x="1842" y="72"/>
                </a:lnTo>
                <a:lnTo>
                  <a:pt x="1951" y="104"/>
                </a:lnTo>
                <a:lnTo>
                  <a:pt x="1789" y="156"/>
                </a:lnTo>
                <a:lnTo>
                  <a:pt x="1529" y="152"/>
                </a:lnTo>
                <a:lnTo>
                  <a:pt x="1591" y="161"/>
                </a:lnTo>
                <a:lnTo>
                  <a:pt x="1482" y="184"/>
                </a:lnTo>
                <a:lnTo>
                  <a:pt x="1482" y="207"/>
                </a:lnTo>
                <a:lnTo>
                  <a:pt x="1767" y="168"/>
                </a:lnTo>
                <a:lnTo>
                  <a:pt x="1790" y="185"/>
                </a:lnTo>
                <a:lnTo>
                  <a:pt x="1732" y="223"/>
                </a:lnTo>
                <a:lnTo>
                  <a:pt x="1912" y="161"/>
                </a:lnTo>
                <a:lnTo>
                  <a:pt x="1923" y="221"/>
                </a:lnTo>
                <a:lnTo>
                  <a:pt x="1833" y="328"/>
                </a:lnTo>
                <a:lnTo>
                  <a:pt x="2009" y="204"/>
                </a:lnTo>
                <a:lnTo>
                  <a:pt x="2006" y="223"/>
                </a:lnTo>
                <a:lnTo>
                  <a:pt x="2090" y="222"/>
                </a:lnTo>
                <a:lnTo>
                  <a:pt x="2116" y="184"/>
                </a:lnTo>
                <a:lnTo>
                  <a:pt x="2206" y="176"/>
                </a:lnTo>
                <a:lnTo>
                  <a:pt x="2319" y="211"/>
                </a:lnTo>
                <a:lnTo>
                  <a:pt x="2207" y="265"/>
                </a:lnTo>
                <a:lnTo>
                  <a:pt x="2214" y="286"/>
                </a:lnTo>
                <a:lnTo>
                  <a:pt x="1963" y="317"/>
                </a:lnTo>
                <a:lnTo>
                  <a:pt x="2166" y="319"/>
                </a:lnTo>
                <a:lnTo>
                  <a:pt x="2002" y="364"/>
                </a:lnTo>
                <a:lnTo>
                  <a:pt x="2013" y="394"/>
                </a:lnTo>
                <a:lnTo>
                  <a:pt x="2122" y="364"/>
                </a:lnTo>
                <a:lnTo>
                  <a:pt x="2043" y="405"/>
                </a:lnTo>
                <a:lnTo>
                  <a:pt x="2033" y="459"/>
                </a:lnTo>
                <a:lnTo>
                  <a:pt x="2056" y="445"/>
                </a:lnTo>
                <a:lnTo>
                  <a:pt x="1981" y="493"/>
                </a:lnTo>
                <a:lnTo>
                  <a:pt x="1954" y="593"/>
                </a:lnTo>
                <a:lnTo>
                  <a:pt x="1996" y="571"/>
                </a:lnTo>
                <a:lnTo>
                  <a:pt x="2050" y="593"/>
                </a:lnTo>
                <a:lnTo>
                  <a:pt x="1998" y="593"/>
                </a:lnTo>
                <a:lnTo>
                  <a:pt x="1998" y="622"/>
                </a:lnTo>
                <a:lnTo>
                  <a:pt x="2088" y="635"/>
                </a:lnTo>
                <a:lnTo>
                  <a:pt x="2090" y="672"/>
                </a:lnTo>
                <a:lnTo>
                  <a:pt x="1959" y="664"/>
                </a:lnTo>
                <a:lnTo>
                  <a:pt x="1996" y="682"/>
                </a:lnTo>
                <a:lnTo>
                  <a:pt x="1919" y="693"/>
                </a:lnTo>
                <a:lnTo>
                  <a:pt x="1959" y="732"/>
                </a:lnTo>
                <a:lnTo>
                  <a:pt x="2027" y="735"/>
                </a:lnTo>
                <a:lnTo>
                  <a:pt x="1986" y="758"/>
                </a:lnTo>
                <a:lnTo>
                  <a:pt x="2039" y="779"/>
                </a:lnTo>
                <a:lnTo>
                  <a:pt x="2037" y="829"/>
                </a:lnTo>
                <a:lnTo>
                  <a:pt x="1941" y="800"/>
                </a:lnTo>
                <a:lnTo>
                  <a:pt x="1997" y="827"/>
                </a:lnTo>
                <a:lnTo>
                  <a:pt x="1961" y="844"/>
                </a:lnTo>
                <a:lnTo>
                  <a:pt x="1996" y="842"/>
                </a:lnTo>
                <a:lnTo>
                  <a:pt x="1986" y="874"/>
                </a:lnTo>
                <a:lnTo>
                  <a:pt x="2054" y="890"/>
                </a:lnTo>
                <a:lnTo>
                  <a:pt x="1947" y="881"/>
                </a:lnTo>
                <a:lnTo>
                  <a:pt x="1923" y="900"/>
                </a:lnTo>
                <a:lnTo>
                  <a:pt x="2009" y="942"/>
                </a:lnTo>
                <a:lnTo>
                  <a:pt x="1997" y="974"/>
                </a:lnTo>
                <a:lnTo>
                  <a:pt x="1926" y="994"/>
                </a:lnTo>
                <a:lnTo>
                  <a:pt x="1861" y="947"/>
                </a:lnTo>
                <a:lnTo>
                  <a:pt x="1758" y="986"/>
                </a:lnTo>
                <a:lnTo>
                  <a:pt x="1830" y="1013"/>
                </a:lnTo>
                <a:lnTo>
                  <a:pt x="1762" y="1038"/>
                </a:lnTo>
                <a:lnTo>
                  <a:pt x="1837" y="1040"/>
                </a:lnTo>
                <a:lnTo>
                  <a:pt x="1813" y="1090"/>
                </a:lnTo>
                <a:lnTo>
                  <a:pt x="1842" y="1061"/>
                </a:lnTo>
                <a:lnTo>
                  <a:pt x="1923" y="1101"/>
                </a:lnTo>
                <a:lnTo>
                  <a:pt x="1897" y="1135"/>
                </a:lnTo>
                <a:lnTo>
                  <a:pt x="1947" y="1122"/>
                </a:lnTo>
                <a:lnTo>
                  <a:pt x="1923" y="1155"/>
                </a:lnTo>
                <a:lnTo>
                  <a:pt x="1957" y="1139"/>
                </a:lnTo>
                <a:lnTo>
                  <a:pt x="1961" y="1223"/>
                </a:lnTo>
                <a:lnTo>
                  <a:pt x="1923" y="1192"/>
                </a:lnTo>
                <a:lnTo>
                  <a:pt x="1923" y="1223"/>
                </a:lnTo>
                <a:lnTo>
                  <a:pt x="1889" y="1220"/>
                </a:lnTo>
                <a:lnTo>
                  <a:pt x="1842" y="1151"/>
                </a:lnTo>
                <a:lnTo>
                  <a:pt x="1732" y="1113"/>
                </a:lnTo>
                <a:lnTo>
                  <a:pt x="1808" y="1158"/>
                </a:lnTo>
                <a:lnTo>
                  <a:pt x="1706" y="1182"/>
                </a:lnTo>
                <a:lnTo>
                  <a:pt x="1678" y="1223"/>
                </a:lnTo>
                <a:lnTo>
                  <a:pt x="1774" y="1232"/>
                </a:lnTo>
                <a:lnTo>
                  <a:pt x="1692" y="1255"/>
                </a:lnTo>
                <a:lnTo>
                  <a:pt x="1814" y="1227"/>
                </a:lnTo>
                <a:lnTo>
                  <a:pt x="1932" y="1264"/>
                </a:lnTo>
                <a:lnTo>
                  <a:pt x="1779" y="1360"/>
                </a:lnTo>
                <a:lnTo>
                  <a:pt x="1631" y="1402"/>
                </a:lnTo>
                <a:lnTo>
                  <a:pt x="1579" y="1406"/>
                </a:lnTo>
                <a:lnTo>
                  <a:pt x="1543" y="1361"/>
                </a:lnTo>
                <a:lnTo>
                  <a:pt x="1559" y="1406"/>
                </a:lnTo>
                <a:lnTo>
                  <a:pt x="1516" y="1431"/>
                </a:lnTo>
                <a:lnTo>
                  <a:pt x="1462" y="1535"/>
                </a:lnTo>
                <a:lnTo>
                  <a:pt x="1417" y="1531"/>
                </a:lnTo>
                <a:lnTo>
                  <a:pt x="1407" y="1564"/>
                </a:lnTo>
                <a:lnTo>
                  <a:pt x="1365" y="1571"/>
                </a:lnTo>
                <a:lnTo>
                  <a:pt x="1339" y="1557"/>
                </a:lnTo>
                <a:lnTo>
                  <a:pt x="1372" y="1537"/>
                </a:lnTo>
                <a:lnTo>
                  <a:pt x="1338" y="1531"/>
                </a:lnTo>
                <a:lnTo>
                  <a:pt x="1324" y="1587"/>
                </a:lnTo>
                <a:lnTo>
                  <a:pt x="1251" y="1591"/>
                </a:lnTo>
                <a:lnTo>
                  <a:pt x="1253" y="1634"/>
                </a:lnTo>
                <a:lnTo>
                  <a:pt x="1213" y="1637"/>
                </a:lnTo>
                <a:lnTo>
                  <a:pt x="1247" y="1672"/>
                </a:lnTo>
                <a:lnTo>
                  <a:pt x="1199" y="1680"/>
                </a:lnTo>
                <a:lnTo>
                  <a:pt x="1236" y="1717"/>
                </a:lnTo>
                <a:lnTo>
                  <a:pt x="1204" y="1717"/>
                </a:lnTo>
                <a:lnTo>
                  <a:pt x="1230" y="1726"/>
                </a:lnTo>
                <a:lnTo>
                  <a:pt x="1204" y="1768"/>
                </a:lnTo>
                <a:lnTo>
                  <a:pt x="1181" y="1761"/>
                </a:lnTo>
                <a:lnTo>
                  <a:pt x="1199" y="1779"/>
                </a:lnTo>
                <a:lnTo>
                  <a:pt x="1152" y="1797"/>
                </a:lnTo>
                <a:lnTo>
                  <a:pt x="1181" y="1856"/>
                </a:lnTo>
                <a:lnTo>
                  <a:pt x="1152" y="1935"/>
                </a:lnTo>
                <a:lnTo>
                  <a:pt x="1118" y="1936"/>
                </a:lnTo>
                <a:lnTo>
                  <a:pt x="1143" y="1964"/>
                </a:lnTo>
                <a:lnTo>
                  <a:pt x="1065" y="1964"/>
                </a:lnTo>
                <a:lnTo>
                  <a:pt x="1056" y="1910"/>
                </a:lnTo>
                <a:lnTo>
                  <a:pt x="945" y="1918"/>
                </a:lnTo>
                <a:lnTo>
                  <a:pt x="973" y="1903"/>
                </a:lnTo>
                <a:lnTo>
                  <a:pt x="917" y="1883"/>
                </a:lnTo>
                <a:lnTo>
                  <a:pt x="941" y="1874"/>
                </a:lnTo>
                <a:lnTo>
                  <a:pt x="901" y="1874"/>
                </a:lnTo>
                <a:lnTo>
                  <a:pt x="918" y="1832"/>
                </a:lnTo>
                <a:lnTo>
                  <a:pt x="892" y="1840"/>
                </a:lnTo>
                <a:lnTo>
                  <a:pt x="821" y="1726"/>
                </a:lnTo>
                <a:lnTo>
                  <a:pt x="821" y="1694"/>
                </a:lnTo>
                <a:lnTo>
                  <a:pt x="877" y="1656"/>
                </a:lnTo>
                <a:lnTo>
                  <a:pt x="854" y="1645"/>
                </a:lnTo>
                <a:lnTo>
                  <a:pt x="798" y="1687"/>
                </a:lnTo>
                <a:lnTo>
                  <a:pt x="798" y="1602"/>
                </a:lnTo>
                <a:lnTo>
                  <a:pt x="747" y="1557"/>
                </a:lnTo>
                <a:lnTo>
                  <a:pt x="763" y="1492"/>
                </a:lnTo>
                <a:lnTo>
                  <a:pt x="729" y="1466"/>
                </a:lnTo>
                <a:lnTo>
                  <a:pt x="774" y="1410"/>
                </a:lnTo>
                <a:lnTo>
                  <a:pt x="747" y="1402"/>
                </a:lnTo>
                <a:lnTo>
                  <a:pt x="839" y="1402"/>
                </a:lnTo>
                <a:lnTo>
                  <a:pt x="830" y="1379"/>
                </a:lnTo>
                <a:lnTo>
                  <a:pt x="769" y="1381"/>
                </a:lnTo>
                <a:lnTo>
                  <a:pt x="861" y="1331"/>
                </a:lnTo>
                <a:lnTo>
                  <a:pt x="839" y="1314"/>
                </a:lnTo>
                <a:lnTo>
                  <a:pt x="861" y="1255"/>
                </a:lnTo>
                <a:lnTo>
                  <a:pt x="785" y="1254"/>
                </a:lnTo>
                <a:lnTo>
                  <a:pt x="703" y="1207"/>
                </a:lnTo>
                <a:lnTo>
                  <a:pt x="854" y="1232"/>
                </a:lnTo>
                <a:lnTo>
                  <a:pt x="828" y="1211"/>
                </a:lnTo>
                <a:lnTo>
                  <a:pt x="854" y="1203"/>
                </a:lnTo>
                <a:lnTo>
                  <a:pt x="793" y="1168"/>
                </a:lnTo>
                <a:lnTo>
                  <a:pt x="814" y="1151"/>
                </a:lnTo>
                <a:lnTo>
                  <a:pt x="782" y="1163"/>
                </a:lnTo>
                <a:lnTo>
                  <a:pt x="804" y="1142"/>
                </a:lnTo>
                <a:lnTo>
                  <a:pt x="765" y="1145"/>
                </a:lnTo>
                <a:lnTo>
                  <a:pt x="808" y="1126"/>
                </a:lnTo>
                <a:lnTo>
                  <a:pt x="740" y="1099"/>
                </a:lnTo>
                <a:lnTo>
                  <a:pt x="726" y="1142"/>
                </a:lnTo>
                <a:lnTo>
                  <a:pt x="669" y="1145"/>
                </a:lnTo>
                <a:lnTo>
                  <a:pt x="659" y="1126"/>
                </a:lnTo>
                <a:lnTo>
                  <a:pt x="698" y="1099"/>
                </a:lnTo>
                <a:lnTo>
                  <a:pt x="667" y="1099"/>
                </a:lnTo>
                <a:lnTo>
                  <a:pt x="703" y="1023"/>
                </a:lnTo>
                <a:lnTo>
                  <a:pt x="661" y="1011"/>
                </a:lnTo>
                <a:lnTo>
                  <a:pt x="680" y="978"/>
                </a:lnTo>
                <a:lnTo>
                  <a:pt x="618" y="889"/>
                </a:lnTo>
                <a:lnTo>
                  <a:pt x="637" y="888"/>
                </a:lnTo>
                <a:lnTo>
                  <a:pt x="554" y="808"/>
                </a:lnTo>
                <a:lnTo>
                  <a:pt x="554" y="779"/>
                </a:lnTo>
                <a:lnTo>
                  <a:pt x="461" y="741"/>
                </a:lnTo>
                <a:lnTo>
                  <a:pt x="376" y="720"/>
                </a:lnTo>
                <a:lnTo>
                  <a:pt x="293" y="756"/>
                </a:lnTo>
                <a:lnTo>
                  <a:pt x="230" y="732"/>
                </a:lnTo>
                <a:lnTo>
                  <a:pt x="254" y="762"/>
                </a:lnTo>
                <a:lnTo>
                  <a:pt x="188" y="748"/>
                </a:lnTo>
                <a:lnTo>
                  <a:pt x="128" y="718"/>
                </a:lnTo>
                <a:lnTo>
                  <a:pt x="188" y="693"/>
                </a:lnTo>
                <a:lnTo>
                  <a:pt x="57" y="664"/>
                </a:lnTo>
                <a:lnTo>
                  <a:pt x="105" y="639"/>
                </a:lnTo>
                <a:lnTo>
                  <a:pt x="261" y="647"/>
                </a:lnTo>
                <a:lnTo>
                  <a:pt x="275" y="637"/>
                </a:lnTo>
                <a:lnTo>
                  <a:pt x="251" y="620"/>
                </a:lnTo>
                <a:lnTo>
                  <a:pt x="274" y="605"/>
                </a:lnTo>
                <a:lnTo>
                  <a:pt x="138" y="616"/>
                </a:lnTo>
                <a:lnTo>
                  <a:pt x="0" y="55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reeform 294"/>
          <p:cNvSpPr/>
          <p:nvPr/>
        </p:nvSpPr>
        <p:spPr bwMode="auto">
          <a:xfrm>
            <a:off x="9655810" y="3629660"/>
            <a:ext cx="117475" cy="142240"/>
          </a:xfrm>
          <a:custGeom>
            <a:avLst/>
            <a:gdLst>
              <a:gd name="T0" fmla="*/ 0 w 154"/>
              <a:gd name="T1" fmla="*/ 4 h 190"/>
              <a:gd name="T2" fmla="*/ 1 w 154"/>
              <a:gd name="T3" fmla="*/ 2 h 190"/>
              <a:gd name="T4" fmla="*/ 2 w 154"/>
              <a:gd name="T5" fmla="*/ 2 h 190"/>
              <a:gd name="T6" fmla="*/ 1 w 154"/>
              <a:gd name="T7" fmla="*/ 1 h 190"/>
              <a:gd name="T8" fmla="*/ 3 w 154"/>
              <a:gd name="T9" fmla="*/ 0 h 190"/>
              <a:gd name="T10" fmla="*/ 3 w 154"/>
              <a:gd name="T11" fmla="*/ 2 h 190"/>
              <a:gd name="T12" fmla="*/ 3 w 154"/>
              <a:gd name="T13" fmla="*/ 2 h 190"/>
              <a:gd name="T14" fmla="*/ 3 w 154"/>
              <a:gd name="T15" fmla="*/ 4 h 190"/>
              <a:gd name="T16" fmla="*/ 2 w 154"/>
              <a:gd name="T17" fmla="*/ 5 h 190"/>
              <a:gd name="T18" fmla="*/ 0 w 154"/>
              <a:gd name="T19" fmla="*/ 4 h 19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54"/>
              <a:gd name="T31" fmla="*/ 0 h 190"/>
              <a:gd name="T32" fmla="*/ 154 w 154"/>
              <a:gd name="T33" fmla="*/ 190 h 19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54" h="190">
                <a:moveTo>
                  <a:pt x="0" y="154"/>
                </a:moveTo>
                <a:lnTo>
                  <a:pt x="35" y="83"/>
                </a:lnTo>
                <a:lnTo>
                  <a:pt x="74" y="82"/>
                </a:lnTo>
                <a:lnTo>
                  <a:pt x="33" y="24"/>
                </a:lnTo>
                <a:lnTo>
                  <a:pt x="123" y="0"/>
                </a:lnTo>
                <a:lnTo>
                  <a:pt x="134" y="90"/>
                </a:lnTo>
                <a:lnTo>
                  <a:pt x="154" y="98"/>
                </a:lnTo>
                <a:lnTo>
                  <a:pt x="114" y="158"/>
                </a:lnTo>
                <a:lnTo>
                  <a:pt x="87" y="190"/>
                </a:lnTo>
                <a:lnTo>
                  <a:pt x="0" y="15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9" name="Freeform 295"/>
          <p:cNvSpPr/>
          <p:nvPr/>
        </p:nvSpPr>
        <p:spPr bwMode="auto">
          <a:xfrm>
            <a:off x="10579735" y="3947160"/>
            <a:ext cx="139065" cy="221615"/>
          </a:xfrm>
          <a:custGeom>
            <a:avLst/>
            <a:gdLst>
              <a:gd name="T0" fmla="*/ 0 w 181"/>
              <a:gd name="T1" fmla="*/ 2 h 301"/>
              <a:gd name="T2" fmla="*/ 1 w 181"/>
              <a:gd name="T3" fmla="*/ 3 h 301"/>
              <a:gd name="T4" fmla="*/ 1 w 181"/>
              <a:gd name="T5" fmla="*/ 4 h 301"/>
              <a:gd name="T6" fmla="*/ 1 w 181"/>
              <a:gd name="T7" fmla="*/ 6 h 301"/>
              <a:gd name="T8" fmla="*/ 2 w 181"/>
              <a:gd name="T9" fmla="*/ 7 h 301"/>
              <a:gd name="T10" fmla="*/ 4 w 181"/>
              <a:gd name="T11" fmla="*/ 7 h 301"/>
              <a:gd name="T12" fmla="*/ 3 w 181"/>
              <a:gd name="T13" fmla="*/ 4 h 301"/>
              <a:gd name="T14" fmla="*/ 4 w 181"/>
              <a:gd name="T15" fmla="*/ 3 h 301"/>
              <a:gd name="T16" fmla="*/ 1 w 181"/>
              <a:gd name="T17" fmla="*/ 0 h 301"/>
              <a:gd name="T18" fmla="*/ 1 w 181"/>
              <a:gd name="T19" fmla="*/ 1 h 301"/>
              <a:gd name="T20" fmla="*/ 1 w 181"/>
              <a:gd name="T21" fmla="*/ 1 h 301"/>
              <a:gd name="T22" fmla="*/ 0 w 181"/>
              <a:gd name="T23" fmla="*/ 2 h 30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1"/>
              <a:gd name="T37" fmla="*/ 0 h 301"/>
              <a:gd name="T38" fmla="*/ 181 w 181"/>
              <a:gd name="T39" fmla="*/ 301 h 30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1" h="301">
                <a:moveTo>
                  <a:pt x="0" y="100"/>
                </a:moveTo>
                <a:lnTo>
                  <a:pt x="30" y="140"/>
                </a:lnTo>
                <a:lnTo>
                  <a:pt x="59" y="171"/>
                </a:lnTo>
                <a:lnTo>
                  <a:pt x="52" y="255"/>
                </a:lnTo>
                <a:lnTo>
                  <a:pt x="75" y="301"/>
                </a:lnTo>
                <a:lnTo>
                  <a:pt x="181" y="284"/>
                </a:lnTo>
                <a:lnTo>
                  <a:pt x="119" y="190"/>
                </a:lnTo>
                <a:lnTo>
                  <a:pt x="163" y="111"/>
                </a:lnTo>
                <a:lnTo>
                  <a:pt x="53" y="0"/>
                </a:lnTo>
                <a:lnTo>
                  <a:pt x="20" y="32"/>
                </a:lnTo>
                <a:lnTo>
                  <a:pt x="34" y="61"/>
                </a:lnTo>
                <a:lnTo>
                  <a:pt x="0" y="10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0" name="Freeform 296"/>
          <p:cNvSpPr/>
          <p:nvPr/>
        </p:nvSpPr>
        <p:spPr bwMode="auto">
          <a:xfrm>
            <a:off x="10189210" y="3564890"/>
            <a:ext cx="79375" cy="59690"/>
          </a:xfrm>
          <a:custGeom>
            <a:avLst/>
            <a:gdLst>
              <a:gd name="T0" fmla="*/ 0 w 99"/>
              <a:gd name="T1" fmla="*/ 1 h 82"/>
              <a:gd name="T2" fmla="*/ 2 w 99"/>
              <a:gd name="T3" fmla="*/ 1 h 82"/>
              <a:gd name="T4" fmla="*/ 1 w 99"/>
              <a:gd name="T5" fmla="*/ 0 h 82"/>
              <a:gd name="T6" fmla="*/ 2 w 99"/>
              <a:gd name="T7" fmla="*/ 0 h 82"/>
              <a:gd name="T8" fmla="*/ 2 w 99"/>
              <a:gd name="T9" fmla="*/ 2 h 82"/>
              <a:gd name="T10" fmla="*/ 0 w 99"/>
              <a:gd name="T11" fmla="*/ 1 h 8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9"/>
              <a:gd name="T19" fmla="*/ 0 h 82"/>
              <a:gd name="T20" fmla="*/ 99 w 99"/>
              <a:gd name="T21" fmla="*/ 82 h 8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9" h="82">
                <a:moveTo>
                  <a:pt x="0" y="63"/>
                </a:moveTo>
                <a:lnTo>
                  <a:pt x="74" y="60"/>
                </a:lnTo>
                <a:lnTo>
                  <a:pt x="37" y="6"/>
                </a:lnTo>
                <a:lnTo>
                  <a:pt x="99" y="0"/>
                </a:lnTo>
                <a:lnTo>
                  <a:pt x="99" y="82"/>
                </a:lnTo>
                <a:lnTo>
                  <a:pt x="0" y="6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1" name="Freeform 297"/>
          <p:cNvSpPr/>
          <p:nvPr/>
        </p:nvSpPr>
        <p:spPr bwMode="auto">
          <a:xfrm>
            <a:off x="9743440" y="3696970"/>
            <a:ext cx="180340" cy="97790"/>
          </a:xfrm>
          <a:custGeom>
            <a:avLst/>
            <a:gdLst>
              <a:gd name="T0" fmla="*/ 0 w 231"/>
              <a:gd name="T1" fmla="*/ 1 h 133"/>
              <a:gd name="T2" fmla="*/ 1 w 231"/>
              <a:gd name="T3" fmla="*/ 0 h 133"/>
              <a:gd name="T4" fmla="*/ 4 w 231"/>
              <a:gd name="T5" fmla="*/ 0 h 133"/>
              <a:gd name="T6" fmla="*/ 5 w 231"/>
              <a:gd name="T7" fmla="*/ 1 h 133"/>
              <a:gd name="T8" fmla="*/ 4 w 231"/>
              <a:gd name="T9" fmla="*/ 1 h 133"/>
              <a:gd name="T10" fmla="*/ 2 w 231"/>
              <a:gd name="T11" fmla="*/ 3 h 133"/>
              <a:gd name="T12" fmla="*/ 1 w 231"/>
              <a:gd name="T13" fmla="*/ 3 h 133"/>
              <a:gd name="T14" fmla="*/ 0 w 231"/>
              <a:gd name="T15" fmla="*/ 1 h 1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31"/>
              <a:gd name="T25" fmla="*/ 0 h 133"/>
              <a:gd name="T26" fmla="*/ 231 w 231"/>
              <a:gd name="T27" fmla="*/ 133 h 1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31" h="133">
                <a:moveTo>
                  <a:pt x="0" y="68"/>
                </a:moveTo>
                <a:lnTo>
                  <a:pt x="40" y="8"/>
                </a:lnTo>
                <a:lnTo>
                  <a:pt x="163" y="0"/>
                </a:lnTo>
                <a:lnTo>
                  <a:pt x="231" y="42"/>
                </a:lnTo>
                <a:lnTo>
                  <a:pt x="176" y="52"/>
                </a:lnTo>
                <a:lnTo>
                  <a:pt x="79" y="133"/>
                </a:lnTo>
                <a:lnTo>
                  <a:pt x="62" y="112"/>
                </a:lnTo>
                <a:lnTo>
                  <a:pt x="0" y="6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2" name="Freeform 298"/>
          <p:cNvSpPr/>
          <p:nvPr/>
        </p:nvSpPr>
        <p:spPr bwMode="auto">
          <a:xfrm>
            <a:off x="11671300" y="1662430"/>
            <a:ext cx="327660" cy="168275"/>
          </a:xfrm>
          <a:custGeom>
            <a:avLst/>
            <a:gdLst>
              <a:gd name="T0" fmla="*/ 0 w 420"/>
              <a:gd name="T1" fmla="*/ 2 h 223"/>
              <a:gd name="T2" fmla="*/ 1 w 420"/>
              <a:gd name="T3" fmla="*/ 2 h 223"/>
              <a:gd name="T4" fmla="*/ 0 w 420"/>
              <a:gd name="T5" fmla="*/ 1 h 223"/>
              <a:gd name="T6" fmla="*/ 1 w 420"/>
              <a:gd name="T7" fmla="*/ 1 h 223"/>
              <a:gd name="T8" fmla="*/ 1 w 420"/>
              <a:gd name="T9" fmla="*/ 1 h 223"/>
              <a:gd name="T10" fmla="*/ 2 w 420"/>
              <a:gd name="T11" fmla="*/ 1 h 223"/>
              <a:gd name="T12" fmla="*/ 1 w 420"/>
              <a:gd name="T13" fmla="*/ 0 h 223"/>
              <a:gd name="T14" fmla="*/ 3 w 420"/>
              <a:gd name="T15" fmla="*/ 1 h 223"/>
              <a:gd name="T16" fmla="*/ 3 w 420"/>
              <a:gd name="T17" fmla="*/ 2 h 223"/>
              <a:gd name="T18" fmla="*/ 4 w 420"/>
              <a:gd name="T19" fmla="*/ 1 h 223"/>
              <a:gd name="T20" fmla="*/ 5 w 420"/>
              <a:gd name="T21" fmla="*/ 1 h 223"/>
              <a:gd name="T22" fmla="*/ 5 w 420"/>
              <a:gd name="T23" fmla="*/ 1 h 223"/>
              <a:gd name="T24" fmla="*/ 6 w 420"/>
              <a:gd name="T25" fmla="*/ 1 h 223"/>
              <a:gd name="T26" fmla="*/ 5 w 420"/>
              <a:gd name="T27" fmla="*/ 1 h 223"/>
              <a:gd name="T28" fmla="*/ 7 w 420"/>
              <a:gd name="T29" fmla="*/ 1 h 223"/>
              <a:gd name="T30" fmla="*/ 7 w 420"/>
              <a:gd name="T31" fmla="*/ 0 h 223"/>
              <a:gd name="T32" fmla="*/ 8 w 420"/>
              <a:gd name="T33" fmla="*/ 1 h 223"/>
              <a:gd name="T34" fmla="*/ 9 w 420"/>
              <a:gd name="T35" fmla="*/ 0 h 223"/>
              <a:gd name="T36" fmla="*/ 8 w 420"/>
              <a:gd name="T37" fmla="*/ 1 h 223"/>
              <a:gd name="T38" fmla="*/ 10 w 420"/>
              <a:gd name="T39" fmla="*/ 3 h 223"/>
              <a:gd name="T40" fmla="*/ 9 w 420"/>
              <a:gd name="T41" fmla="*/ 4 h 223"/>
              <a:gd name="T42" fmla="*/ 5 w 420"/>
              <a:gd name="T43" fmla="*/ 6 h 223"/>
              <a:gd name="T44" fmla="*/ 2 w 420"/>
              <a:gd name="T45" fmla="*/ 5 h 223"/>
              <a:gd name="T46" fmla="*/ 3 w 420"/>
              <a:gd name="T47" fmla="*/ 3 h 223"/>
              <a:gd name="T48" fmla="*/ 1 w 420"/>
              <a:gd name="T49" fmla="*/ 3 h 223"/>
              <a:gd name="T50" fmla="*/ 3 w 420"/>
              <a:gd name="T51" fmla="*/ 3 h 223"/>
              <a:gd name="T52" fmla="*/ 2 w 420"/>
              <a:gd name="T53" fmla="*/ 2 h 223"/>
              <a:gd name="T54" fmla="*/ 3 w 420"/>
              <a:gd name="T55" fmla="*/ 2 h 223"/>
              <a:gd name="T56" fmla="*/ 0 w 420"/>
              <a:gd name="T57" fmla="*/ 2 h 22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20"/>
              <a:gd name="T88" fmla="*/ 0 h 223"/>
              <a:gd name="T89" fmla="*/ 420 w 420"/>
              <a:gd name="T90" fmla="*/ 223 h 22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20" h="223">
                <a:moveTo>
                  <a:pt x="0" y="79"/>
                </a:moveTo>
                <a:lnTo>
                  <a:pt x="29" y="69"/>
                </a:lnTo>
                <a:lnTo>
                  <a:pt x="12" y="50"/>
                </a:lnTo>
                <a:lnTo>
                  <a:pt x="47" y="62"/>
                </a:lnTo>
                <a:lnTo>
                  <a:pt x="31" y="24"/>
                </a:lnTo>
                <a:lnTo>
                  <a:pt x="73" y="46"/>
                </a:lnTo>
                <a:lnTo>
                  <a:pt x="52" y="2"/>
                </a:lnTo>
                <a:lnTo>
                  <a:pt x="116" y="36"/>
                </a:lnTo>
                <a:lnTo>
                  <a:pt x="124" y="94"/>
                </a:lnTo>
                <a:lnTo>
                  <a:pt x="159" y="31"/>
                </a:lnTo>
                <a:lnTo>
                  <a:pt x="193" y="54"/>
                </a:lnTo>
                <a:lnTo>
                  <a:pt x="220" y="23"/>
                </a:lnTo>
                <a:lnTo>
                  <a:pt x="245" y="63"/>
                </a:lnTo>
                <a:lnTo>
                  <a:pt x="238" y="24"/>
                </a:lnTo>
                <a:lnTo>
                  <a:pt x="305" y="24"/>
                </a:lnTo>
                <a:lnTo>
                  <a:pt x="316" y="0"/>
                </a:lnTo>
                <a:lnTo>
                  <a:pt x="346" y="23"/>
                </a:lnTo>
                <a:lnTo>
                  <a:pt x="383" y="14"/>
                </a:lnTo>
                <a:lnTo>
                  <a:pt x="356" y="31"/>
                </a:lnTo>
                <a:lnTo>
                  <a:pt x="420" y="102"/>
                </a:lnTo>
                <a:lnTo>
                  <a:pt x="364" y="165"/>
                </a:lnTo>
                <a:lnTo>
                  <a:pt x="209" y="223"/>
                </a:lnTo>
                <a:lnTo>
                  <a:pt x="70" y="196"/>
                </a:lnTo>
                <a:lnTo>
                  <a:pt x="107" y="139"/>
                </a:lnTo>
                <a:lnTo>
                  <a:pt x="23" y="119"/>
                </a:lnTo>
                <a:lnTo>
                  <a:pt x="104" y="113"/>
                </a:lnTo>
                <a:lnTo>
                  <a:pt x="73" y="97"/>
                </a:lnTo>
                <a:lnTo>
                  <a:pt x="105" y="79"/>
                </a:lnTo>
                <a:lnTo>
                  <a:pt x="0" y="7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3" name="Freeform 299"/>
          <p:cNvSpPr/>
          <p:nvPr/>
        </p:nvSpPr>
        <p:spPr bwMode="auto">
          <a:xfrm>
            <a:off x="8920480" y="3120390"/>
            <a:ext cx="896620" cy="624840"/>
          </a:xfrm>
          <a:custGeom>
            <a:avLst/>
            <a:gdLst>
              <a:gd name="T0" fmla="*/ 0 w 1151"/>
              <a:gd name="T1" fmla="*/ 0 h 847"/>
              <a:gd name="T2" fmla="*/ 1 w 1151"/>
              <a:gd name="T3" fmla="*/ 3 h 847"/>
              <a:gd name="T4" fmla="*/ 3 w 1151"/>
              <a:gd name="T5" fmla="*/ 5 h 847"/>
              <a:gd name="T6" fmla="*/ 3 w 1151"/>
              <a:gd name="T7" fmla="*/ 5 h 847"/>
              <a:gd name="T8" fmla="*/ 2 w 1151"/>
              <a:gd name="T9" fmla="*/ 6 h 847"/>
              <a:gd name="T10" fmla="*/ 3 w 1151"/>
              <a:gd name="T11" fmla="*/ 7 h 847"/>
              <a:gd name="T12" fmla="*/ 4 w 1151"/>
              <a:gd name="T13" fmla="*/ 8 h 847"/>
              <a:gd name="T14" fmla="*/ 4 w 1151"/>
              <a:gd name="T15" fmla="*/ 9 h 847"/>
              <a:gd name="T16" fmla="*/ 6 w 1151"/>
              <a:gd name="T17" fmla="*/ 11 h 847"/>
              <a:gd name="T18" fmla="*/ 7 w 1151"/>
              <a:gd name="T19" fmla="*/ 10 h 847"/>
              <a:gd name="T20" fmla="*/ 2 w 1151"/>
              <a:gd name="T21" fmla="*/ 3 h 847"/>
              <a:gd name="T22" fmla="*/ 2 w 1151"/>
              <a:gd name="T23" fmla="*/ 1 h 847"/>
              <a:gd name="T24" fmla="*/ 3 w 1151"/>
              <a:gd name="T25" fmla="*/ 1 h 847"/>
              <a:gd name="T26" fmla="*/ 5 w 1151"/>
              <a:gd name="T27" fmla="*/ 5 h 847"/>
              <a:gd name="T28" fmla="*/ 7 w 1151"/>
              <a:gd name="T29" fmla="*/ 7 h 847"/>
              <a:gd name="T30" fmla="*/ 7 w 1151"/>
              <a:gd name="T31" fmla="*/ 8 h 847"/>
              <a:gd name="T32" fmla="*/ 10 w 1151"/>
              <a:gd name="T33" fmla="*/ 11 h 847"/>
              <a:gd name="T34" fmla="*/ 11 w 1151"/>
              <a:gd name="T35" fmla="*/ 13 h 847"/>
              <a:gd name="T36" fmla="*/ 10 w 1151"/>
              <a:gd name="T37" fmla="*/ 14 h 847"/>
              <a:gd name="T38" fmla="*/ 11 w 1151"/>
              <a:gd name="T39" fmla="*/ 15 h 847"/>
              <a:gd name="T40" fmla="*/ 17 w 1151"/>
              <a:gd name="T41" fmla="*/ 18 h 847"/>
              <a:gd name="T42" fmla="*/ 20 w 1151"/>
              <a:gd name="T43" fmla="*/ 18 h 847"/>
              <a:gd name="T44" fmla="*/ 22 w 1151"/>
              <a:gd name="T45" fmla="*/ 20 h 847"/>
              <a:gd name="T46" fmla="*/ 23 w 1151"/>
              <a:gd name="T47" fmla="*/ 18 h 847"/>
              <a:gd name="T48" fmla="*/ 23 w 1151"/>
              <a:gd name="T49" fmla="*/ 18 h 847"/>
              <a:gd name="T50" fmla="*/ 23 w 1151"/>
              <a:gd name="T51" fmla="*/ 17 h 847"/>
              <a:gd name="T52" fmla="*/ 25 w 1151"/>
              <a:gd name="T53" fmla="*/ 16 h 847"/>
              <a:gd name="T54" fmla="*/ 25 w 1151"/>
              <a:gd name="T55" fmla="*/ 16 h 847"/>
              <a:gd name="T56" fmla="*/ 25 w 1151"/>
              <a:gd name="T57" fmla="*/ 15 h 847"/>
              <a:gd name="T58" fmla="*/ 26 w 1151"/>
              <a:gd name="T59" fmla="*/ 16 h 847"/>
              <a:gd name="T60" fmla="*/ 27 w 1151"/>
              <a:gd name="T61" fmla="*/ 13 h 847"/>
              <a:gd name="T62" fmla="*/ 25 w 1151"/>
              <a:gd name="T63" fmla="*/ 12 h 847"/>
              <a:gd name="T64" fmla="*/ 24 w 1151"/>
              <a:gd name="T65" fmla="*/ 13 h 847"/>
              <a:gd name="T66" fmla="*/ 23 w 1151"/>
              <a:gd name="T67" fmla="*/ 16 h 847"/>
              <a:gd name="T68" fmla="*/ 20 w 1151"/>
              <a:gd name="T69" fmla="*/ 16 h 847"/>
              <a:gd name="T70" fmla="*/ 19 w 1151"/>
              <a:gd name="T71" fmla="*/ 15 h 847"/>
              <a:gd name="T72" fmla="*/ 17 w 1151"/>
              <a:gd name="T73" fmla="*/ 12 h 847"/>
              <a:gd name="T74" fmla="*/ 17 w 1151"/>
              <a:gd name="T75" fmla="*/ 9 h 847"/>
              <a:gd name="T76" fmla="*/ 18 w 1151"/>
              <a:gd name="T77" fmla="*/ 8 h 847"/>
              <a:gd name="T78" fmla="*/ 16 w 1151"/>
              <a:gd name="T79" fmla="*/ 7 h 847"/>
              <a:gd name="T80" fmla="*/ 14 w 1151"/>
              <a:gd name="T81" fmla="*/ 3 h 847"/>
              <a:gd name="T82" fmla="*/ 12 w 1151"/>
              <a:gd name="T83" fmla="*/ 4 h 847"/>
              <a:gd name="T84" fmla="*/ 9 w 1151"/>
              <a:gd name="T85" fmla="*/ 1 h 847"/>
              <a:gd name="T86" fmla="*/ 5 w 1151"/>
              <a:gd name="T87" fmla="*/ 2 h 847"/>
              <a:gd name="T88" fmla="*/ 2 w 1151"/>
              <a:gd name="T89" fmla="*/ 0 h 847"/>
              <a:gd name="T90" fmla="*/ 0 w 1151"/>
              <a:gd name="T91" fmla="*/ 0 h 84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151"/>
              <a:gd name="T139" fmla="*/ 0 h 847"/>
              <a:gd name="T140" fmla="*/ 1151 w 1151"/>
              <a:gd name="T141" fmla="*/ 847 h 84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151" h="847">
                <a:moveTo>
                  <a:pt x="0" y="9"/>
                </a:moveTo>
                <a:lnTo>
                  <a:pt x="55" y="141"/>
                </a:lnTo>
                <a:lnTo>
                  <a:pt x="118" y="202"/>
                </a:lnTo>
                <a:lnTo>
                  <a:pt x="112" y="238"/>
                </a:lnTo>
                <a:lnTo>
                  <a:pt x="80" y="246"/>
                </a:lnTo>
                <a:lnTo>
                  <a:pt x="152" y="275"/>
                </a:lnTo>
                <a:lnTo>
                  <a:pt x="191" y="334"/>
                </a:lnTo>
                <a:lnTo>
                  <a:pt x="190" y="384"/>
                </a:lnTo>
                <a:lnTo>
                  <a:pt x="272" y="468"/>
                </a:lnTo>
                <a:lnTo>
                  <a:pt x="289" y="438"/>
                </a:lnTo>
                <a:lnTo>
                  <a:pt x="97" y="120"/>
                </a:lnTo>
                <a:lnTo>
                  <a:pt x="85" y="35"/>
                </a:lnTo>
                <a:lnTo>
                  <a:pt x="128" y="58"/>
                </a:lnTo>
                <a:lnTo>
                  <a:pt x="196" y="196"/>
                </a:lnTo>
                <a:lnTo>
                  <a:pt x="299" y="300"/>
                </a:lnTo>
                <a:lnTo>
                  <a:pt x="297" y="339"/>
                </a:lnTo>
                <a:lnTo>
                  <a:pt x="439" y="483"/>
                </a:lnTo>
                <a:lnTo>
                  <a:pt x="456" y="542"/>
                </a:lnTo>
                <a:lnTo>
                  <a:pt x="439" y="583"/>
                </a:lnTo>
                <a:lnTo>
                  <a:pt x="473" y="638"/>
                </a:lnTo>
                <a:lnTo>
                  <a:pt x="746" y="785"/>
                </a:lnTo>
                <a:lnTo>
                  <a:pt x="863" y="775"/>
                </a:lnTo>
                <a:lnTo>
                  <a:pt x="941" y="847"/>
                </a:lnTo>
                <a:lnTo>
                  <a:pt x="976" y="776"/>
                </a:lnTo>
                <a:lnTo>
                  <a:pt x="1015" y="775"/>
                </a:lnTo>
                <a:lnTo>
                  <a:pt x="974" y="717"/>
                </a:lnTo>
                <a:lnTo>
                  <a:pt x="1064" y="693"/>
                </a:lnTo>
                <a:lnTo>
                  <a:pt x="1095" y="668"/>
                </a:lnTo>
                <a:lnTo>
                  <a:pt x="1103" y="653"/>
                </a:lnTo>
                <a:lnTo>
                  <a:pt x="1112" y="684"/>
                </a:lnTo>
                <a:lnTo>
                  <a:pt x="1151" y="544"/>
                </a:lnTo>
                <a:lnTo>
                  <a:pt x="1101" y="522"/>
                </a:lnTo>
                <a:lnTo>
                  <a:pt x="1016" y="544"/>
                </a:lnTo>
                <a:lnTo>
                  <a:pt x="971" y="668"/>
                </a:lnTo>
                <a:lnTo>
                  <a:pt x="857" y="678"/>
                </a:lnTo>
                <a:lnTo>
                  <a:pt x="814" y="649"/>
                </a:lnTo>
                <a:lnTo>
                  <a:pt x="738" y="498"/>
                </a:lnTo>
                <a:lnTo>
                  <a:pt x="737" y="384"/>
                </a:lnTo>
                <a:lnTo>
                  <a:pt x="762" y="327"/>
                </a:lnTo>
                <a:lnTo>
                  <a:pt x="687" y="300"/>
                </a:lnTo>
                <a:lnTo>
                  <a:pt x="588" y="139"/>
                </a:lnTo>
                <a:lnTo>
                  <a:pt x="509" y="174"/>
                </a:lnTo>
                <a:lnTo>
                  <a:pt x="407" y="43"/>
                </a:lnTo>
                <a:lnTo>
                  <a:pt x="233" y="70"/>
                </a:lnTo>
                <a:lnTo>
                  <a:pt x="87" y="0"/>
                </a:lnTo>
                <a:lnTo>
                  <a:pt x="0" y="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4" name="Freeform 300"/>
          <p:cNvSpPr/>
          <p:nvPr/>
        </p:nvSpPr>
        <p:spPr bwMode="auto">
          <a:xfrm>
            <a:off x="9803765" y="3727450"/>
            <a:ext cx="120650" cy="137160"/>
          </a:xfrm>
          <a:custGeom>
            <a:avLst/>
            <a:gdLst>
              <a:gd name="T0" fmla="*/ 0 w 152"/>
              <a:gd name="T1" fmla="*/ 2 h 184"/>
              <a:gd name="T2" fmla="*/ 1 w 152"/>
              <a:gd name="T3" fmla="*/ 4 h 184"/>
              <a:gd name="T4" fmla="*/ 3 w 152"/>
              <a:gd name="T5" fmla="*/ 4 h 184"/>
              <a:gd name="T6" fmla="*/ 4 w 152"/>
              <a:gd name="T7" fmla="*/ 0 h 184"/>
              <a:gd name="T8" fmla="*/ 2 w 152"/>
              <a:gd name="T9" fmla="*/ 0 h 184"/>
              <a:gd name="T10" fmla="*/ 0 w 152"/>
              <a:gd name="T11" fmla="*/ 2 h 1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2"/>
              <a:gd name="T19" fmla="*/ 0 h 184"/>
              <a:gd name="T20" fmla="*/ 152 w 152"/>
              <a:gd name="T21" fmla="*/ 184 h 1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2" h="184">
                <a:moveTo>
                  <a:pt x="0" y="91"/>
                </a:moveTo>
                <a:lnTo>
                  <a:pt x="61" y="180"/>
                </a:lnTo>
                <a:lnTo>
                  <a:pt x="140" y="184"/>
                </a:lnTo>
                <a:lnTo>
                  <a:pt x="152" y="0"/>
                </a:lnTo>
                <a:lnTo>
                  <a:pt x="97" y="10"/>
                </a:lnTo>
                <a:lnTo>
                  <a:pt x="0" y="9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5" name="Freeform 301"/>
          <p:cNvSpPr/>
          <p:nvPr/>
        </p:nvSpPr>
        <p:spPr bwMode="auto">
          <a:xfrm>
            <a:off x="9929495" y="3903980"/>
            <a:ext cx="168910" cy="82550"/>
          </a:xfrm>
          <a:custGeom>
            <a:avLst/>
            <a:gdLst>
              <a:gd name="T0" fmla="*/ 0 w 215"/>
              <a:gd name="T1" fmla="*/ 1 h 111"/>
              <a:gd name="T2" fmla="*/ 0 w 215"/>
              <a:gd name="T3" fmla="*/ 0 h 111"/>
              <a:gd name="T4" fmla="*/ 1 w 215"/>
              <a:gd name="T5" fmla="*/ 1 h 111"/>
              <a:gd name="T6" fmla="*/ 3 w 215"/>
              <a:gd name="T7" fmla="*/ 0 h 111"/>
              <a:gd name="T8" fmla="*/ 5 w 215"/>
              <a:gd name="T9" fmla="*/ 1 h 111"/>
              <a:gd name="T10" fmla="*/ 5 w 215"/>
              <a:gd name="T11" fmla="*/ 3 h 111"/>
              <a:gd name="T12" fmla="*/ 5 w 215"/>
              <a:gd name="T13" fmla="*/ 1 h 111"/>
              <a:gd name="T14" fmla="*/ 3 w 215"/>
              <a:gd name="T15" fmla="*/ 1 h 111"/>
              <a:gd name="T16" fmla="*/ 3 w 215"/>
              <a:gd name="T17" fmla="*/ 1 h 111"/>
              <a:gd name="T18" fmla="*/ 3 w 215"/>
              <a:gd name="T19" fmla="*/ 2 h 111"/>
              <a:gd name="T20" fmla="*/ 2 w 215"/>
              <a:gd name="T21" fmla="*/ 3 h 111"/>
              <a:gd name="T22" fmla="*/ 0 w 215"/>
              <a:gd name="T23" fmla="*/ 1 h 1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15"/>
              <a:gd name="T37" fmla="*/ 0 h 111"/>
              <a:gd name="T38" fmla="*/ 215 w 215"/>
              <a:gd name="T39" fmla="*/ 111 h 1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15" h="111">
                <a:moveTo>
                  <a:pt x="0" y="60"/>
                </a:moveTo>
                <a:lnTo>
                  <a:pt x="18" y="0"/>
                </a:lnTo>
                <a:lnTo>
                  <a:pt x="65" y="37"/>
                </a:lnTo>
                <a:lnTo>
                  <a:pt x="146" y="2"/>
                </a:lnTo>
                <a:lnTo>
                  <a:pt x="215" y="45"/>
                </a:lnTo>
                <a:lnTo>
                  <a:pt x="200" y="108"/>
                </a:lnTo>
                <a:lnTo>
                  <a:pt x="193" y="54"/>
                </a:lnTo>
                <a:lnTo>
                  <a:pt x="146" y="35"/>
                </a:lnTo>
                <a:lnTo>
                  <a:pt x="103" y="66"/>
                </a:lnTo>
                <a:lnTo>
                  <a:pt x="115" y="98"/>
                </a:lnTo>
                <a:lnTo>
                  <a:pt x="96" y="111"/>
                </a:lnTo>
                <a:lnTo>
                  <a:pt x="0" y="6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6" name="Freeform 302"/>
          <p:cNvSpPr/>
          <p:nvPr/>
        </p:nvSpPr>
        <p:spPr bwMode="auto">
          <a:xfrm>
            <a:off x="10541635" y="4848860"/>
            <a:ext cx="243205" cy="276225"/>
          </a:xfrm>
          <a:custGeom>
            <a:avLst/>
            <a:gdLst>
              <a:gd name="T0" fmla="*/ 0 w 311"/>
              <a:gd name="T1" fmla="*/ 3 h 377"/>
              <a:gd name="T2" fmla="*/ 1 w 311"/>
              <a:gd name="T3" fmla="*/ 1 h 377"/>
              <a:gd name="T4" fmla="*/ 3 w 311"/>
              <a:gd name="T5" fmla="*/ 0 h 377"/>
              <a:gd name="T6" fmla="*/ 4 w 311"/>
              <a:gd name="T7" fmla="*/ 1 h 377"/>
              <a:gd name="T8" fmla="*/ 4 w 311"/>
              <a:gd name="T9" fmla="*/ 3 h 377"/>
              <a:gd name="T10" fmla="*/ 6 w 311"/>
              <a:gd name="T11" fmla="*/ 3 h 377"/>
              <a:gd name="T12" fmla="*/ 6 w 311"/>
              <a:gd name="T13" fmla="*/ 5 h 377"/>
              <a:gd name="T14" fmla="*/ 7 w 311"/>
              <a:gd name="T15" fmla="*/ 5 h 377"/>
              <a:gd name="T16" fmla="*/ 7 w 311"/>
              <a:gd name="T17" fmla="*/ 7 h 377"/>
              <a:gd name="T18" fmla="*/ 6 w 311"/>
              <a:gd name="T19" fmla="*/ 9 h 377"/>
              <a:gd name="T20" fmla="*/ 4 w 311"/>
              <a:gd name="T21" fmla="*/ 9 h 377"/>
              <a:gd name="T22" fmla="*/ 4 w 311"/>
              <a:gd name="T23" fmla="*/ 7 h 377"/>
              <a:gd name="T24" fmla="*/ 0 w 311"/>
              <a:gd name="T25" fmla="*/ 3 h 37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11"/>
              <a:gd name="T40" fmla="*/ 0 h 377"/>
              <a:gd name="T41" fmla="*/ 311 w 311"/>
              <a:gd name="T42" fmla="*/ 377 h 37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11" h="377">
                <a:moveTo>
                  <a:pt x="0" y="141"/>
                </a:moveTo>
                <a:lnTo>
                  <a:pt x="21" y="23"/>
                </a:lnTo>
                <a:lnTo>
                  <a:pt x="134" y="0"/>
                </a:lnTo>
                <a:lnTo>
                  <a:pt x="169" y="39"/>
                </a:lnTo>
                <a:lnTo>
                  <a:pt x="177" y="130"/>
                </a:lnTo>
                <a:lnTo>
                  <a:pt x="260" y="143"/>
                </a:lnTo>
                <a:lnTo>
                  <a:pt x="270" y="205"/>
                </a:lnTo>
                <a:lnTo>
                  <a:pt x="311" y="218"/>
                </a:lnTo>
                <a:lnTo>
                  <a:pt x="305" y="295"/>
                </a:lnTo>
                <a:lnTo>
                  <a:pt x="263" y="377"/>
                </a:lnTo>
                <a:lnTo>
                  <a:pt x="159" y="371"/>
                </a:lnTo>
                <a:lnTo>
                  <a:pt x="180" y="281"/>
                </a:lnTo>
                <a:lnTo>
                  <a:pt x="0" y="14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7" name="Freeform 303"/>
          <p:cNvSpPr/>
          <p:nvPr/>
        </p:nvSpPr>
        <p:spPr bwMode="auto">
          <a:xfrm>
            <a:off x="9984105" y="4221480"/>
            <a:ext cx="368935" cy="591820"/>
          </a:xfrm>
          <a:custGeom>
            <a:avLst/>
            <a:gdLst>
              <a:gd name="T0" fmla="*/ 0 w 476"/>
              <a:gd name="T1" fmla="*/ 4 h 803"/>
              <a:gd name="T2" fmla="*/ 0 w 476"/>
              <a:gd name="T3" fmla="*/ 6 h 803"/>
              <a:gd name="T4" fmla="*/ 2 w 476"/>
              <a:gd name="T5" fmla="*/ 9 h 803"/>
              <a:gd name="T6" fmla="*/ 4 w 476"/>
              <a:gd name="T7" fmla="*/ 15 h 803"/>
              <a:gd name="T8" fmla="*/ 9 w 476"/>
              <a:gd name="T9" fmla="*/ 19 h 803"/>
              <a:gd name="T10" fmla="*/ 10 w 476"/>
              <a:gd name="T11" fmla="*/ 18 h 803"/>
              <a:gd name="T12" fmla="*/ 11 w 476"/>
              <a:gd name="T13" fmla="*/ 17 h 803"/>
              <a:gd name="T14" fmla="*/ 10 w 476"/>
              <a:gd name="T15" fmla="*/ 16 h 803"/>
              <a:gd name="T16" fmla="*/ 10 w 476"/>
              <a:gd name="T17" fmla="*/ 16 h 803"/>
              <a:gd name="T18" fmla="*/ 11 w 476"/>
              <a:gd name="T19" fmla="*/ 13 h 803"/>
              <a:gd name="T20" fmla="*/ 10 w 476"/>
              <a:gd name="T21" fmla="*/ 11 h 803"/>
              <a:gd name="T22" fmla="*/ 9 w 476"/>
              <a:gd name="T23" fmla="*/ 11 h 803"/>
              <a:gd name="T24" fmla="*/ 9 w 476"/>
              <a:gd name="T25" fmla="*/ 9 h 803"/>
              <a:gd name="T26" fmla="*/ 9 w 476"/>
              <a:gd name="T27" fmla="*/ 10 h 803"/>
              <a:gd name="T28" fmla="*/ 7 w 476"/>
              <a:gd name="T29" fmla="*/ 9 h 803"/>
              <a:gd name="T30" fmla="*/ 7 w 476"/>
              <a:gd name="T31" fmla="*/ 8 h 803"/>
              <a:gd name="T32" fmla="*/ 8 w 476"/>
              <a:gd name="T33" fmla="*/ 5 h 803"/>
              <a:gd name="T34" fmla="*/ 10 w 476"/>
              <a:gd name="T35" fmla="*/ 4 h 803"/>
              <a:gd name="T36" fmla="*/ 9 w 476"/>
              <a:gd name="T37" fmla="*/ 4 h 803"/>
              <a:gd name="T38" fmla="*/ 10 w 476"/>
              <a:gd name="T39" fmla="*/ 3 h 803"/>
              <a:gd name="T40" fmla="*/ 7 w 476"/>
              <a:gd name="T41" fmla="*/ 2 h 803"/>
              <a:gd name="T42" fmla="*/ 5 w 476"/>
              <a:gd name="T43" fmla="*/ 0 h 803"/>
              <a:gd name="T44" fmla="*/ 5 w 476"/>
              <a:gd name="T45" fmla="*/ 2 h 803"/>
              <a:gd name="T46" fmla="*/ 3 w 476"/>
              <a:gd name="T47" fmla="*/ 3 h 803"/>
              <a:gd name="T48" fmla="*/ 2 w 476"/>
              <a:gd name="T49" fmla="*/ 5 h 803"/>
              <a:gd name="T50" fmla="*/ 1 w 476"/>
              <a:gd name="T51" fmla="*/ 5 h 803"/>
              <a:gd name="T52" fmla="*/ 1 w 476"/>
              <a:gd name="T53" fmla="*/ 3 h 803"/>
              <a:gd name="T54" fmla="*/ 0 w 476"/>
              <a:gd name="T55" fmla="*/ 4 h 803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76"/>
              <a:gd name="T85" fmla="*/ 0 h 803"/>
              <a:gd name="T86" fmla="*/ 476 w 476"/>
              <a:gd name="T87" fmla="*/ 803 h 803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76" h="803">
                <a:moveTo>
                  <a:pt x="0" y="188"/>
                </a:moveTo>
                <a:lnTo>
                  <a:pt x="8" y="254"/>
                </a:lnTo>
                <a:lnTo>
                  <a:pt x="93" y="364"/>
                </a:lnTo>
                <a:lnTo>
                  <a:pt x="188" y="627"/>
                </a:lnTo>
                <a:lnTo>
                  <a:pt x="408" y="803"/>
                </a:lnTo>
                <a:lnTo>
                  <a:pt x="446" y="771"/>
                </a:lnTo>
                <a:lnTo>
                  <a:pt x="468" y="714"/>
                </a:lnTo>
                <a:lnTo>
                  <a:pt x="435" y="696"/>
                </a:lnTo>
                <a:lnTo>
                  <a:pt x="455" y="681"/>
                </a:lnTo>
                <a:lnTo>
                  <a:pt x="476" y="542"/>
                </a:lnTo>
                <a:lnTo>
                  <a:pt x="444" y="480"/>
                </a:lnTo>
                <a:lnTo>
                  <a:pt x="412" y="480"/>
                </a:lnTo>
                <a:lnTo>
                  <a:pt x="412" y="405"/>
                </a:lnTo>
                <a:lnTo>
                  <a:pt x="369" y="438"/>
                </a:lnTo>
                <a:lnTo>
                  <a:pt x="318" y="410"/>
                </a:lnTo>
                <a:lnTo>
                  <a:pt x="287" y="327"/>
                </a:lnTo>
                <a:lnTo>
                  <a:pt x="338" y="226"/>
                </a:lnTo>
                <a:lnTo>
                  <a:pt x="435" y="178"/>
                </a:lnTo>
                <a:lnTo>
                  <a:pt x="407" y="161"/>
                </a:lnTo>
                <a:lnTo>
                  <a:pt x="423" y="111"/>
                </a:lnTo>
                <a:lnTo>
                  <a:pt x="313" y="101"/>
                </a:lnTo>
                <a:lnTo>
                  <a:pt x="231" y="0"/>
                </a:lnTo>
                <a:lnTo>
                  <a:pt x="213" y="75"/>
                </a:lnTo>
                <a:lnTo>
                  <a:pt x="126" y="132"/>
                </a:lnTo>
                <a:lnTo>
                  <a:pt x="81" y="211"/>
                </a:lnTo>
                <a:lnTo>
                  <a:pt x="31" y="199"/>
                </a:lnTo>
                <a:lnTo>
                  <a:pt x="37" y="151"/>
                </a:lnTo>
                <a:lnTo>
                  <a:pt x="0" y="18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 304"/>
          <p:cNvSpPr/>
          <p:nvPr/>
        </p:nvSpPr>
        <p:spPr bwMode="auto">
          <a:xfrm>
            <a:off x="10672445" y="4029710"/>
            <a:ext cx="125730" cy="127000"/>
          </a:xfrm>
          <a:custGeom>
            <a:avLst/>
            <a:gdLst>
              <a:gd name="T0" fmla="*/ 0 w 159"/>
              <a:gd name="T1" fmla="*/ 2 h 173"/>
              <a:gd name="T2" fmla="*/ 1 w 159"/>
              <a:gd name="T3" fmla="*/ 0 h 173"/>
              <a:gd name="T4" fmla="*/ 4 w 159"/>
              <a:gd name="T5" fmla="*/ 0 h 173"/>
              <a:gd name="T6" fmla="*/ 3 w 159"/>
              <a:gd name="T7" fmla="*/ 4 h 173"/>
              <a:gd name="T8" fmla="*/ 1 w 159"/>
              <a:gd name="T9" fmla="*/ 4 h 173"/>
              <a:gd name="T10" fmla="*/ 0 w 159"/>
              <a:gd name="T11" fmla="*/ 2 h 1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9"/>
              <a:gd name="T19" fmla="*/ 0 h 173"/>
              <a:gd name="T20" fmla="*/ 159 w 159"/>
              <a:gd name="T21" fmla="*/ 173 h 17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9" h="173">
                <a:moveTo>
                  <a:pt x="0" y="79"/>
                </a:moveTo>
                <a:lnTo>
                  <a:pt x="44" y="0"/>
                </a:lnTo>
                <a:lnTo>
                  <a:pt x="159" y="12"/>
                </a:lnTo>
                <a:lnTo>
                  <a:pt x="146" y="161"/>
                </a:lnTo>
                <a:lnTo>
                  <a:pt x="62" y="173"/>
                </a:lnTo>
                <a:lnTo>
                  <a:pt x="0" y="7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reeform 305"/>
          <p:cNvSpPr/>
          <p:nvPr/>
        </p:nvSpPr>
        <p:spPr bwMode="auto">
          <a:xfrm>
            <a:off x="10558145" y="3869690"/>
            <a:ext cx="29845" cy="23495"/>
          </a:xfrm>
          <a:custGeom>
            <a:avLst/>
            <a:gdLst>
              <a:gd name="T0" fmla="*/ 0 w 39"/>
              <a:gd name="T1" fmla="*/ 1 h 32"/>
              <a:gd name="T2" fmla="*/ 1 w 39"/>
              <a:gd name="T3" fmla="*/ 1 h 32"/>
              <a:gd name="T4" fmla="*/ 1 w 39"/>
              <a:gd name="T5" fmla="*/ 0 h 32"/>
              <a:gd name="T6" fmla="*/ 0 w 39"/>
              <a:gd name="T7" fmla="*/ 1 h 32"/>
              <a:gd name="T8" fmla="*/ 0 60000 65536"/>
              <a:gd name="T9" fmla="*/ 0 60000 65536"/>
              <a:gd name="T10" fmla="*/ 0 60000 65536"/>
              <a:gd name="T11" fmla="*/ 0 60000 65536"/>
              <a:gd name="T12" fmla="*/ 0 w 39"/>
              <a:gd name="T13" fmla="*/ 0 h 32"/>
              <a:gd name="T14" fmla="*/ 39 w 39"/>
              <a:gd name="T15" fmla="*/ 32 h 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9" h="32">
                <a:moveTo>
                  <a:pt x="0" y="32"/>
                </a:moveTo>
                <a:lnTo>
                  <a:pt x="36" y="26"/>
                </a:lnTo>
                <a:lnTo>
                  <a:pt x="39" y="0"/>
                </a:lnTo>
                <a:lnTo>
                  <a:pt x="0" y="3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4" name="Freeform 306"/>
          <p:cNvSpPr/>
          <p:nvPr/>
        </p:nvSpPr>
        <p:spPr bwMode="auto">
          <a:xfrm>
            <a:off x="7402830" y="1388110"/>
            <a:ext cx="886460" cy="847090"/>
          </a:xfrm>
          <a:custGeom>
            <a:avLst/>
            <a:gdLst>
              <a:gd name="T0" fmla="*/ 2 w 1139"/>
              <a:gd name="T1" fmla="*/ 11 h 1152"/>
              <a:gd name="T2" fmla="*/ 2 w 1139"/>
              <a:gd name="T3" fmla="*/ 12 h 1152"/>
              <a:gd name="T4" fmla="*/ 5 w 1139"/>
              <a:gd name="T5" fmla="*/ 13 h 1152"/>
              <a:gd name="T6" fmla="*/ 6 w 1139"/>
              <a:gd name="T7" fmla="*/ 12 h 1152"/>
              <a:gd name="T8" fmla="*/ 3 w 1139"/>
              <a:gd name="T9" fmla="*/ 15 h 1152"/>
              <a:gd name="T10" fmla="*/ 3 w 1139"/>
              <a:gd name="T11" fmla="*/ 17 h 1152"/>
              <a:gd name="T12" fmla="*/ 3 w 1139"/>
              <a:gd name="T13" fmla="*/ 18 h 1152"/>
              <a:gd name="T14" fmla="*/ 3 w 1139"/>
              <a:gd name="T15" fmla="*/ 19 h 1152"/>
              <a:gd name="T16" fmla="*/ 4 w 1139"/>
              <a:gd name="T17" fmla="*/ 20 h 1152"/>
              <a:gd name="T18" fmla="*/ 5 w 1139"/>
              <a:gd name="T19" fmla="*/ 19 h 1152"/>
              <a:gd name="T20" fmla="*/ 5 w 1139"/>
              <a:gd name="T21" fmla="*/ 21 h 1152"/>
              <a:gd name="T22" fmla="*/ 8 w 1139"/>
              <a:gd name="T23" fmla="*/ 21 h 1152"/>
              <a:gd name="T24" fmla="*/ 9 w 1139"/>
              <a:gd name="T25" fmla="*/ 21 h 1152"/>
              <a:gd name="T26" fmla="*/ 8 w 1139"/>
              <a:gd name="T27" fmla="*/ 24 h 1152"/>
              <a:gd name="T28" fmla="*/ 7 w 1139"/>
              <a:gd name="T29" fmla="*/ 25 h 1152"/>
              <a:gd name="T30" fmla="*/ 4 w 1139"/>
              <a:gd name="T31" fmla="*/ 26 h 1152"/>
              <a:gd name="T32" fmla="*/ 7 w 1139"/>
              <a:gd name="T33" fmla="*/ 26 h 1152"/>
              <a:gd name="T34" fmla="*/ 8 w 1139"/>
              <a:gd name="T35" fmla="*/ 24 h 1152"/>
              <a:gd name="T36" fmla="*/ 12 w 1139"/>
              <a:gd name="T37" fmla="*/ 22 h 1152"/>
              <a:gd name="T38" fmla="*/ 12 w 1139"/>
              <a:gd name="T39" fmla="*/ 20 h 1152"/>
              <a:gd name="T40" fmla="*/ 16 w 1139"/>
              <a:gd name="T41" fmla="*/ 16 h 1152"/>
              <a:gd name="T42" fmla="*/ 16 w 1139"/>
              <a:gd name="T43" fmla="*/ 17 h 1152"/>
              <a:gd name="T44" fmla="*/ 17 w 1139"/>
              <a:gd name="T45" fmla="*/ 18 h 1152"/>
              <a:gd name="T46" fmla="*/ 14 w 1139"/>
              <a:gd name="T47" fmla="*/ 19 h 1152"/>
              <a:gd name="T48" fmla="*/ 14 w 1139"/>
              <a:gd name="T49" fmla="*/ 20 h 1152"/>
              <a:gd name="T50" fmla="*/ 17 w 1139"/>
              <a:gd name="T51" fmla="*/ 18 h 1152"/>
              <a:gd name="T52" fmla="*/ 18 w 1139"/>
              <a:gd name="T53" fmla="*/ 17 h 1152"/>
              <a:gd name="T54" fmla="*/ 19 w 1139"/>
              <a:gd name="T55" fmla="*/ 17 h 1152"/>
              <a:gd name="T56" fmla="*/ 21 w 1139"/>
              <a:gd name="T57" fmla="*/ 19 h 1152"/>
              <a:gd name="T58" fmla="*/ 25 w 1139"/>
              <a:gd name="T59" fmla="*/ 19 h 1152"/>
              <a:gd name="T60" fmla="*/ 25 w 1139"/>
              <a:gd name="T61" fmla="*/ 20 h 1152"/>
              <a:gd name="T62" fmla="*/ 26 w 1139"/>
              <a:gd name="T63" fmla="*/ 20 h 1152"/>
              <a:gd name="T64" fmla="*/ 24 w 1139"/>
              <a:gd name="T65" fmla="*/ 19 h 1152"/>
              <a:gd name="T66" fmla="*/ 14 w 1139"/>
              <a:gd name="T67" fmla="*/ 2 h 1152"/>
              <a:gd name="T68" fmla="*/ 11 w 1139"/>
              <a:gd name="T69" fmla="*/ 1 h 1152"/>
              <a:gd name="T70" fmla="*/ 10 w 1139"/>
              <a:gd name="T71" fmla="*/ 1 h 1152"/>
              <a:gd name="T72" fmla="*/ 10 w 1139"/>
              <a:gd name="T73" fmla="*/ 0 h 1152"/>
              <a:gd name="T74" fmla="*/ 7 w 1139"/>
              <a:gd name="T75" fmla="*/ 1 h 1152"/>
              <a:gd name="T76" fmla="*/ 7 w 1139"/>
              <a:gd name="T77" fmla="*/ 1 h 1152"/>
              <a:gd name="T78" fmla="*/ 6 w 1139"/>
              <a:gd name="T79" fmla="*/ 3 h 1152"/>
              <a:gd name="T80" fmla="*/ 4 w 1139"/>
              <a:gd name="T81" fmla="*/ 4 h 1152"/>
              <a:gd name="T82" fmla="*/ 2 w 1139"/>
              <a:gd name="T83" fmla="*/ 5 h 1152"/>
              <a:gd name="T84" fmla="*/ 4 w 1139"/>
              <a:gd name="T85" fmla="*/ 8 h 1152"/>
              <a:gd name="T86" fmla="*/ 5 w 1139"/>
              <a:gd name="T87" fmla="*/ 9 h 1152"/>
              <a:gd name="T88" fmla="*/ 6 w 1139"/>
              <a:gd name="T89" fmla="*/ 9 h 1152"/>
              <a:gd name="T90" fmla="*/ 4 w 1139"/>
              <a:gd name="T91" fmla="*/ 9 h 1152"/>
              <a:gd name="T92" fmla="*/ 3 w 1139"/>
              <a:gd name="T93" fmla="*/ 9 h 115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139"/>
              <a:gd name="T142" fmla="*/ 0 h 1152"/>
              <a:gd name="T143" fmla="*/ 1139 w 1139"/>
              <a:gd name="T144" fmla="*/ 1152 h 115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139" h="1152">
                <a:moveTo>
                  <a:pt x="0" y="441"/>
                </a:moveTo>
                <a:lnTo>
                  <a:pt x="74" y="463"/>
                </a:lnTo>
                <a:lnTo>
                  <a:pt x="45" y="472"/>
                </a:lnTo>
                <a:lnTo>
                  <a:pt x="75" y="514"/>
                </a:lnTo>
                <a:lnTo>
                  <a:pt x="190" y="510"/>
                </a:lnTo>
                <a:lnTo>
                  <a:pt x="205" y="538"/>
                </a:lnTo>
                <a:lnTo>
                  <a:pt x="278" y="503"/>
                </a:lnTo>
                <a:lnTo>
                  <a:pt x="253" y="517"/>
                </a:lnTo>
                <a:lnTo>
                  <a:pt x="267" y="587"/>
                </a:lnTo>
                <a:lnTo>
                  <a:pt x="111" y="655"/>
                </a:lnTo>
                <a:lnTo>
                  <a:pt x="72" y="729"/>
                </a:lnTo>
                <a:lnTo>
                  <a:pt x="107" y="718"/>
                </a:lnTo>
                <a:lnTo>
                  <a:pt x="79" y="737"/>
                </a:lnTo>
                <a:lnTo>
                  <a:pt x="107" y="761"/>
                </a:lnTo>
                <a:lnTo>
                  <a:pt x="165" y="771"/>
                </a:lnTo>
                <a:lnTo>
                  <a:pt x="134" y="809"/>
                </a:lnTo>
                <a:lnTo>
                  <a:pt x="159" y="847"/>
                </a:lnTo>
                <a:lnTo>
                  <a:pt x="190" y="852"/>
                </a:lnTo>
                <a:lnTo>
                  <a:pt x="250" y="771"/>
                </a:lnTo>
                <a:lnTo>
                  <a:pt x="213" y="809"/>
                </a:lnTo>
                <a:lnTo>
                  <a:pt x="244" y="887"/>
                </a:lnTo>
                <a:lnTo>
                  <a:pt x="228" y="917"/>
                </a:lnTo>
                <a:lnTo>
                  <a:pt x="298" y="872"/>
                </a:lnTo>
                <a:lnTo>
                  <a:pt x="346" y="928"/>
                </a:lnTo>
                <a:lnTo>
                  <a:pt x="363" y="895"/>
                </a:lnTo>
                <a:lnTo>
                  <a:pt x="378" y="917"/>
                </a:lnTo>
                <a:lnTo>
                  <a:pt x="431" y="889"/>
                </a:lnTo>
                <a:lnTo>
                  <a:pt x="360" y="1032"/>
                </a:lnTo>
                <a:lnTo>
                  <a:pt x="299" y="1060"/>
                </a:lnTo>
                <a:lnTo>
                  <a:pt x="298" y="1093"/>
                </a:lnTo>
                <a:lnTo>
                  <a:pt x="228" y="1094"/>
                </a:lnTo>
                <a:lnTo>
                  <a:pt x="176" y="1152"/>
                </a:lnTo>
                <a:lnTo>
                  <a:pt x="244" y="1109"/>
                </a:lnTo>
                <a:lnTo>
                  <a:pt x="317" y="1110"/>
                </a:lnTo>
                <a:lnTo>
                  <a:pt x="360" y="1075"/>
                </a:lnTo>
                <a:lnTo>
                  <a:pt x="339" y="1047"/>
                </a:lnTo>
                <a:lnTo>
                  <a:pt x="386" y="1051"/>
                </a:lnTo>
                <a:lnTo>
                  <a:pt x="528" y="943"/>
                </a:lnTo>
                <a:lnTo>
                  <a:pt x="559" y="904"/>
                </a:lnTo>
                <a:lnTo>
                  <a:pt x="532" y="871"/>
                </a:lnTo>
                <a:lnTo>
                  <a:pt x="660" y="740"/>
                </a:lnTo>
                <a:lnTo>
                  <a:pt x="676" y="675"/>
                </a:lnTo>
                <a:lnTo>
                  <a:pt x="661" y="740"/>
                </a:lnTo>
                <a:lnTo>
                  <a:pt x="715" y="728"/>
                </a:lnTo>
                <a:lnTo>
                  <a:pt x="684" y="755"/>
                </a:lnTo>
                <a:lnTo>
                  <a:pt x="727" y="767"/>
                </a:lnTo>
                <a:lnTo>
                  <a:pt x="635" y="776"/>
                </a:lnTo>
                <a:lnTo>
                  <a:pt x="615" y="841"/>
                </a:lnTo>
                <a:lnTo>
                  <a:pt x="650" y="837"/>
                </a:lnTo>
                <a:lnTo>
                  <a:pt x="618" y="882"/>
                </a:lnTo>
                <a:lnTo>
                  <a:pt x="740" y="825"/>
                </a:lnTo>
                <a:lnTo>
                  <a:pt x="760" y="790"/>
                </a:lnTo>
                <a:lnTo>
                  <a:pt x="739" y="774"/>
                </a:lnTo>
                <a:lnTo>
                  <a:pt x="767" y="743"/>
                </a:lnTo>
                <a:lnTo>
                  <a:pt x="763" y="767"/>
                </a:lnTo>
                <a:lnTo>
                  <a:pt x="823" y="753"/>
                </a:lnTo>
                <a:lnTo>
                  <a:pt x="813" y="779"/>
                </a:lnTo>
                <a:lnTo>
                  <a:pt x="911" y="825"/>
                </a:lnTo>
                <a:lnTo>
                  <a:pt x="1059" y="847"/>
                </a:lnTo>
                <a:lnTo>
                  <a:pt x="1083" y="821"/>
                </a:lnTo>
                <a:lnTo>
                  <a:pt x="1105" y="835"/>
                </a:lnTo>
                <a:lnTo>
                  <a:pt x="1076" y="860"/>
                </a:lnTo>
                <a:lnTo>
                  <a:pt x="1120" y="887"/>
                </a:lnTo>
                <a:lnTo>
                  <a:pt x="1139" y="866"/>
                </a:lnTo>
                <a:lnTo>
                  <a:pt x="1104" y="809"/>
                </a:lnTo>
                <a:lnTo>
                  <a:pt x="1032" y="809"/>
                </a:lnTo>
                <a:lnTo>
                  <a:pt x="1032" y="132"/>
                </a:lnTo>
                <a:lnTo>
                  <a:pt x="621" y="77"/>
                </a:lnTo>
                <a:lnTo>
                  <a:pt x="607" y="43"/>
                </a:lnTo>
                <a:lnTo>
                  <a:pt x="495" y="22"/>
                </a:lnTo>
                <a:lnTo>
                  <a:pt x="481" y="50"/>
                </a:lnTo>
                <a:lnTo>
                  <a:pt x="449" y="42"/>
                </a:lnTo>
                <a:lnTo>
                  <a:pt x="480" y="17"/>
                </a:lnTo>
                <a:lnTo>
                  <a:pt x="433" y="0"/>
                </a:lnTo>
                <a:lnTo>
                  <a:pt x="388" y="43"/>
                </a:lnTo>
                <a:lnTo>
                  <a:pt x="314" y="50"/>
                </a:lnTo>
                <a:lnTo>
                  <a:pt x="307" y="89"/>
                </a:lnTo>
                <a:lnTo>
                  <a:pt x="301" y="65"/>
                </a:lnTo>
                <a:lnTo>
                  <a:pt x="233" y="88"/>
                </a:lnTo>
                <a:lnTo>
                  <a:pt x="244" y="119"/>
                </a:lnTo>
                <a:lnTo>
                  <a:pt x="213" y="109"/>
                </a:lnTo>
                <a:lnTo>
                  <a:pt x="168" y="176"/>
                </a:lnTo>
                <a:lnTo>
                  <a:pt x="72" y="197"/>
                </a:lnTo>
                <a:lnTo>
                  <a:pt x="75" y="229"/>
                </a:lnTo>
                <a:lnTo>
                  <a:pt x="48" y="235"/>
                </a:lnTo>
                <a:lnTo>
                  <a:pt x="165" y="331"/>
                </a:lnTo>
                <a:lnTo>
                  <a:pt x="328" y="377"/>
                </a:lnTo>
                <a:lnTo>
                  <a:pt x="228" y="364"/>
                </a:lnTo>
                <a:lnTo>
                  <a:pt x="233" y="391"/>
                </a:lnTo>
                <a:lnTo>
                  <a:pt x="273" y="392"/>
                </a:lnTo>
                <a:lnTo>
                  <a:pt x="239" y="411"/>
                </a:lnTo>
                <a:lnTo>
                  <a:pt x="165" y="407"/>
                </a:lnTo>
                <a:lnTo>
                  <a:pt x="165" y="368"/>
                </a:lnTo>
                <a:lnTo>
                  <a:pt x="129" y="372"/>
                </a:lnTo>
                <a:lnTo>
                  <a:pt x="0" y="44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5" name="Freeform 307"/>
          <p:cNvSpPr/>
          <p:nvPr/>
        </p:nvSpPr>
        <p:spPr bwMode="auto">
          <a:xfrm>
            <a:off x="7764780" y="3559810"/>
            <a:ext cx="34925" cy="44450"/>
          </a:xfrm>
          <a:custGeom>
            <a:avLst/>
            <a:gdLst>
              <a:gd name="T0" fmla="*/ 0 w 45"/>
              <a:gd name="T1" fmla="*/ 1 h 62"/>
              <a:gd name="T2" fmla="*/ 0 w 45"/>
              <a:gd name="T3" fmla="*/ 0 h 62"/>
              <a:gd name="T4" fmla="*/ 1 w 45"/>
              <a:gd name="T5" fmla="*/ 1 h 62"/>
              <a:gd name="T6" fmla="*/ 0 w 45"/>
              <a:gd name="T7" fmla="*/ 1 h 62"/>
              <a:gd name="T8" fmla="*/ 0 w 45"/>
              <a:gd name="T9" fmla="*/ 1 h 6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62"/>
              <a:gd name="T17" fmla="*/ 45 w 45"/>
              <a:gd name="T18" fmla="*/ 62 h 6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62">
                <a:moveTo>
                  <a:pt x="0" y="23"/>
                </a:moveTo>
                <a:lnTo>
                  <a:pt x="4" y="0"/>
                </a:lnTo>
                <a:lnTo>
                  <a:pt x="45" y="38"/>
                </a:lnTo>
                <a:lnTo>
                  <a:pt x="14" y="62"/>
                </a:lnTo>
                <a:lnTo>
                  <a:pt x="0" y="2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6" name="Freeform 308"/>
          <p:cNvSpPr/>
          <p:nvPr/>
        </p:nvSpPr>
        <p:spPr bwMode="auto">
          <a:xfrm>
            <a:off x="7796530" y="2101215"/>
            <a:ext cx="76200" cy="49530"/>
          </a:xfrm>
          <a:custGeom>
            <a:avLst/>
            <a:gdLst>
              <a:gd name="T0" fmla="*/ 0 w 100"/>
              <a:gd name="T1" fmla="*/ 1 h 69"/>
              <a:gd name="T2" fmla="*/ 1 w 100"/>
              <a:gd name="T3" fmla="*/ 1 h 69"/>
              <a:gd name="T4" fmla="*/ 2 w 100"/>
              <a:gd name="T5" fmla="*/ 0 h 69"/>
              <a:gd name="T6" fmla="*/ 1 w 100"/>
              <a:gd name="T7" fmla="*/ 0 h 69"/>
              <a:gd name="T8" fmla="*/ 1 w 100"/>
              <a:gd name="T9" fmla="*/ 1 h 69"/>
              <a:gd name="T10" fmla="*/ 0 w 100"/>
              <a:gd name="T11" fmla="*/ 1 h 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0"/>
              <a:gd name="T19" fmla="*/ 0 h 69"/>
              <a:gd name="T20" fmla="*/ 100 w 100"/>
              <a:gd name="T21" fmla="*/ 69 h 6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0" h="69">
                <a:moveTo>
                  <a:pt x="0" y="28"/>
                </a:moveTo>
                <a:lnTo>
                  <a:pt x="28" y="69"/>
                </a:lnTo>
                <a:lnTo>
                  <a:pt x="100" y="11"/>
                </a:lnTo>
                <a:lnTo>
                  <a:pt x="32" y="0"/>
                </a:lnTo>
                <a:lnTo>
                  <a:pt x="41" y="27"/>
                </a:lnTo>
                <a:lnTo>
                  <a:pt x="0" y="2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7" name="Freeform 309"/>
          <p:cNvSpPr/>
          <p:nvPr/>
        </p:nvSpPr>
        <p:spPr bwMode="auto">
          <a:xfrm>
            <a:off x="8294370" y="2007870"/>
            <a:ext cx="238125" cy="233045"/>
          </a:xfrm>
          <a:custGeom>
            <a:avLst/>
            <a:gdLst>
              <a:gd name="T0" fmla="*/ 0 w 306"/>
              <a:gd name="T1" fmla="*/ 1 h 315"/>
              <a:gd name="T2" fmla="*/ 0 w 306"/>
              <a:gd name="T3" fmla="*/ 2 h 315"/>
              <a:gd name="T4" fmla="*/ 1 w 306"/>
              <a:gd name="T5" fmla="*/ 2 h 315"/>
              <a:gd name="T6" fmla="*/ 2 w 306"/>
              <a:gd name="T7" fmla="*/ 2 h 315"/>
              <a:gd name="T8" fmla="*/ 1 w 306"/>
              <a:gd name="T9" fmla="*/ 1 h 315"/>
              <a:gd name="T10" fmla="*/ 2 w 306"/>
              <a:gd name="T11" fmla="*/ 1 h 315"/>
              <a:gd name="T12" fmla="*/ 3 w 306"/>
              <a:gd name="T13" fmla="*/ 2 h 315"/>
              <a:gd name="T14" fmla="*/ 2 w 306"/>
              <a:gd name="T15" fmla="*/ 1 h 315"/>
              <a:gd name="T16" fmla="*/ 3 w 306"/>
              <a:gd name="T17" fmla="*/ 2 h 315"/>
              <a:gd name="T18" fmla="*/ 4 w 306"/>
              <a:gd name="T19" fmla="*/ 3 h 315"/>
              <a:gd name="T20" fmla="*/ 4 w 306"/>
              <a:gd name="T21" fmla="*/ 4 h 315"/>
              <a:gd name="T22" fmla="*/ 6 w 306"/>
              <a:gd name="T23" fmla="*/ 5 h 315"/>
              <a:gd name="T24" fmla="*/ 5 w 306"/>
              <a:gd name="T25" fmla="*/ 6 h 315"/>
              <a:gd name="T26" fmla="*/ 6 w 306"/>
              <a:gd name="T27" fmla="*/ 5 h 315"/>
              <a:gd name="T28" fmla="*/ 6 w 306"/>
              <a:gd name="T29" fmla="*/ 7 h 315"/>
              <a:gd name="T30" fmla="*/ 7 w 306"/>
              <a:gd name="T31" fmla="*/ 7 h 315"/>
              <a:gd name="T32" fmla="*/ 7 w 306"/>
              <a:gd name="T33" fmla="*/ 6 h 315"/>
              <a:gd name="T34" fmla="*/ 5 w 306"/>
              <a:gd name="T35" fmla="*/ 5 h 315"/>
              <a:gd name="T36" fmla="*/ 2 w 306"/>
              <a:gd name="T37" fmla="*/ 0 h 315"/>
              <a:gd name="T38" fmla="*/ 1 w 306"/>
              <a:gd name="T39" fmla="*/ 1 h 315"/>
              <a:gd name="T40" fmla="*/ 0 w 306"/>
              <a:gd name="T41" fmla="*/ 1 h 31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06"/>
              <a:gd name="T64" fmla="*/ 0 h 315"/>
              <a:gd name="T65" fmla="*/ 306 w 306"/>
              <a:gd name="T66" fmla="*/ 315 h 31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06" h="315">
                <a:moveTo>
                  <a:pt x="0" y="30"/>
                </a:moveTo>
                <a:lnTo>
                  <a:pt x="15" y="77"/>
                </a:lnTo>
                <a:lnTo>
                  <a:pt x="56" y="98"/>
                </a:lnTo>
                <a:lnTo>
                  <a:pt x="77" y="83"/>
                </a:lnTo>
                <a:lnTo>
                  <a:pt x="38" y="58"/>
                </a:lnTo>
                <a:lnTo>
                  <a:pt x="77" y="58"/>
                </a:lnTo>
                <a:lnTo>
                  <a:pt x="107" y="99"/>
                </a:lnTo>
                <a:lnTo>
                  <a:pt x="96" y="27"/>
                </a:lnTo>
                <a:lnTo>
                  <a:pt x="120" y="90"/>
                </a:lnTo>
                <a:lnTo>
                  <a:pt x="186" y="125"/>
                </a:lnTo>
                <a:lnTo>
                  <a:pt x="174" y="169"/>
                </a:lnTo>
                <a:lnTo>
                  <a:pt x="249" y="225"/>
                </a:lnTo>
                <a:lnTo>
                  <a:pt x="227" y="269"/>
                </a:lnTo>
                <a:lnTo>
                  <a:pt x="265" y="233"/>
                </a:lnTo>
                <a:lnTo>
                  <a:pt x="275" y="315"/>
                </a:lnTo>
                <a:lnTo>
                  <a:pt x="303" y="302"/>
                </a:lnTo>
                <a:lnTo>
                  <a:pt x="306" y="240"/>
                </a:lnTo>
                <a:lnTo>
                  <a:pt x="235" y="205"/>
                </a:lnTo>
                <a:lnTo>
                  <a:pt x="98" y="0"/>
                </a:lnTo>
                <a:lnTo>
                  <a:pt x="23" y="58"/>
                </a:lnTo>
                <a:lnTo>
                  <a:pt x="0" y="3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8" name="Freeform 310"/>
          <p:cNvSpPr/>
          <p:nvPr/>
        </p:nvSpPr>
        <p:spPr bwMode="auto">
          <a:xfrm>
            <a:off x="8346440" y="2082800"/>
            <a:ext cx="38100" cy="36195"/>
          </a:xfrm>
          <a:custGeom>
            <a:avLst/>
            <a:gdLst>
              <a:gd name="T0" fmla="*/ 0 w 50"/>
              <a:gd name="T1" fmla="*/ 0 h 51"/>
              <a:gd name="T2" fmla="*/ 0 w 50"/>
              <a:gd name="T3" fmla="*/ 1 h 51"/>
              <a:gd name="T4" fmla="*/ 0 w 50"/>
              <a:gd name="T5" fmla="*/ 1 h 51"/>
              <a:gd name="T6" fmla="*/ 1 w 50"/>
              <a:gd name="T7" fmla="*/ 1 h 51"/>
              <a:gd name="T8" fmla="*/ 1 w 50"/>
              <a:gd name="T9" fmla="*/ 1 h 51"/>
              <a:gd name="T10" fmla="*/ 1 w 50"/>
              <a:gd name="T11" fmla="*/ 0 h 51"/>
              <a:gd name="T12" fmla="*/ 0 w 50"/>
              <a:gd name="T13" fmla="*/ 0 h 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"/>
              <a:gd name="T22" fmla="*/ 0 h 51"/>
              <a:gd name="T23" fmla="*/ 50 w 50"/>
              <a:gd name="T24" fmla="*/ 51 h 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" h="51">
                <a:moveTo>
                  <a:pt x="0" y="0"/>
                </a:moveTo>
                <a:lnTo>
                  <a:pt x="13" y="51"/>
                </a:lnTo>
                <a:lnTo>
                  <a:pt x="18" y="24"/>
                </a:lnTo>
                <a:lnTo>
                  <a:pt x="50" y="46"/>
                </a:lnTo>
                <a:lnTo>
                  <a:pt x="21" y="24"/>
                </a:lnTo>
                <a:lnTo>
                  <a:pt x="49" y="8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Freeform 311"/>
          <p:cNvSpPr/>
          <p:nvPr/>
        </p:nvSpPr>
        <p:spPr bwMode="auto">
          <a:xfrm>
            <a:off x="8362950" y="2113915"/>
            <a:ext cx="24765" cy="59690"/>
          </a:xfrm>
          <a:custGeom>
            <a:avLst/>
            <a:gdLst>
              <a:gd name="T0" fmla="*/ 0 w 29"/>
              <a:gd name="T1" fmla="*/ 0 h 80"/>
              <a:gd name="T2" fmla="*/ 1 w 29"/>
              <a:gd name="T3" fmla="*/ 0 h 80"/>
              <a:gd name="T4" fmla="*/ 1 w 29"/>
              <a:gd name="T5" fmla="*/ 2 h 80"/>
              <a:gd name="T6" fmla="*/ 0 w 29"/>
              <a:gd name="T7" fmla="*/ 0 h 80"/>
              <a:gd name="T8" fmla="*/ 0 60000 65536"/>
              <a:gd name="T9" fmla="*/ 0 60000 65536"/>
              <a:gd name="T10" fmla="*/ 0 60000 65536"/>
              <a:gd name="T11" fmla="*/ 0 60000 65536"/>
              <a:gd name="T12" fmla="*/ 0 w 29"/>
              <a:gd name="T13" fmla="*/ 0 h 80"/>
              <a:gd name="T14" fmla="*/ 29 w 29"/>
              <a:gd name="T15" fmla="*/ 80 h 8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9" h="80">
                <a:moveTo>
                  <a:pt x="0" y="0"/>
                </a:moveTo>
                <a:lnTo>
                  <a:pt x="28" y="15"/>
                </a:lnTo>
                <a:lnTo>
                  <a:pt x="29" y="8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0" name="Freeform 312"/>
          <p:cNvSpPr/>
          <p:nvPr/>
        </p:nvSpPr>
        <p:spPr bwMode="auto">
          <a:xfrm>
            <a:off x="8390255" y="2085975"/>
            <a:ext cx="29845" cy="34290"/>
          </a:xfrm>
          <a:custGeom>
            <a:avLst/>
            <a:gdLst>
              <a:gd name="T0" fmla="*/ 0 w 39"/>
              <a:gd name="T1" fmla="*/ 0 h 47"/>
              <a:gd name="T2" fmla="*/ 0 w 39"/>
              <a:gd name="T3" fmla="*/ 1 h 47"/>
              <a:gd name="T4" fmla="*/ 1 w 39"/>
              <a:gd name="T5" fmla="*/ 1 h 47"/>
              <a:gd name="T6" fmla="*/ 1 w 39"/>
              <a:gd name="T7" fmla="*/ 0 h 47"/>
              <a:gd name="T8" fmla="*/ 1 w 39"/>
              <a:gd name="T9" fmla="*/ 1 h 47"/>
              <a:gd name="T10" fmla="*/ 1 w 39"/>
              <a:gd name="T11" fmla="*/ 0 h 47"/>
              <a:gd name="T12" fmla="*/ 0 w 39"/>
              <a:gd name="T13" fmla="*/ 0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9"/>
              <a:gd name="T22" fmla="*/ 0 h 47"/>
              <a:gd name="T23" fmla="*/ 39 w 39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9" h="47">
                <a:moveTo>
                  <a:pt x="0" y="0"/>
                </a:moveTo>
                <a:lnTo>
                  <a:pt x="7" y="47"/>
                </a:lnTo>
                <a:lnTo>
                  <a:pt x="32" y="47"/>
                </a:lnTo>
                <a:lnTo>
                  <a:pt x="22" y="4"/>
                </a:lnTo>
                <a:lnTo>
                  <a:pt x="39" y="35"/>
                </a:lnTo>
                <a:lnTo>
                  <a:pt x="24" y="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1" name="Freeform 313"/>
          <p:cNvSpPr/>
          <p:nvPr/>
        </p:nvSpPr>
        <p:spPr bwMode="auto">
          <a:xfrm>
            <a:off x="8415020" y="2134235"/>
            <a:ext cx="27940" cy="28575"/>
          </a:xfrm>
          <a:custGeom>
            <a:avLst/>
            <a:gdLst>
              <a:gd name="T0" fmla="*/ 0 w 34"/>
              <a:gd name="T1" fmla="*/ 0 h 35"/>
              <a:gd name="T2" fmla="*/ 1 w 34"/>
              <a:gd name="T3" fmla="*/ 1 h 35"/>
              <a:gd name="T4" fmla="*/ 1 w 34"/>
              <a:gd name="T5" fmla="*/ 0 h 35"/>
              <a:gd name="T6" fmla="*/ 0 w 34"/>
              <a:gd name="T7" fmla="*/ 0 h 35"/>
              <a:gd name="T8" fmla="*/ 0 60000 65536"/>
              <a:gd name="T9" fmla="*/ 0 60000 65536"/>
              <a:gd name="T10" fmla="*/ 0 60000 65536"/>
              <a:gd name="T11" fmla="*/ 0 60000 65536"/>
              <a:gd name="T12" fmla="*/ 0 w 34"/>
              <a:gd name="T13" fmla="*/ 0 h 35"/>
              <a:gd name="T14" fmla="*/ 34 w 34"/>
              <a:gd name="T15" fmla="*/ 35 h 3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" h="35">
                <a:moveTo>
                  <a:pt x="0" y="0"/>
                </a:moveTo>
                <a:lnTo>
                  <a:pt x="31" y="35"/>
                </a:lnTo>
                <a:lnTo>
                  <a:pt x="34" y="5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2" name="Freeform 314"/>
          <p:cNvSpPr/>
          <p:nvPr/>
        </p:nvSpPr>
        <p:spPr bwMode="auto">
          <a:xfrm>
            <a:off x="8423275" y="2170430"/>
            <a:ext cx="41275" cy="59690"/>
          </a:xfrm>
          <a:custGeom>
            <a:avLst/>
            <a:gdLst>
              <a:gd name="T0" fmla="*/ 0 w 53"/>
              <a:gd name="T1" fmla="*/ 0 h 81"/>
              <a:gd name="T2" fmla="*/ 1 w 53"/>
              <a:gd name="T3" fmla="*/ 1 h 81"/>
              <a:gd name="T4" fmla="*/ 1 w 53"/>
              <a:gd name="T5" fmla="*/ 2 h 81"/>
              <a:gd name="T6" fmla="*/ 0 w 53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53"/>
              <a:gd name="T13" fmla="*/ 0 h 81"/>
              <a:gd name="T14" fmla="*/ 53 w 53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3" h="81">
                <a:moveTo>
                  <a:pt x="0" y="0"/>
                </a:moveTo>
                <a:lnTo>
                  <a:pt x="42" y="30"/>
                </a:lnTo>
                <a:lnTo>
                  <a:pt x="53" y="81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3" name="Freeform 315"/>
          <p:cNvSpPr/>
          <p:nvPr/>
        </p:nvSpPr>
        <p:spPr bwMode="auto">
          <a:xfrm>
            <a:off x="8488680" y="2185670"/>
            <a:ext cx="19685" cy="39370"/>
          </a:xfrm>
          <a:custGeom>
            <a:avLst/>
            <a:gdLst>
              <a:gd name="T0" fmla="*/ 0 w 26"/>
              <a:gd name="T1" fmla="*/ 1 h 49"/>
              <a:gd name="T2" fmla="*/ 0 w 26"/>
              <a:gd name="T3" fmla="*/ 0 h 49"/>
              <a:gd name="T4" fmla="*/ 1 w 26"/>
              <a:gd name="T5" fmla="*/ 2 h 49"/>
              <a:gd name="T6" fmla="*/ 0 w 26"/>
              <a:gd name="T7" fmla="*/ 1 h 49"/>
              <a:gd name="T8" fmla="*/ 0 60000 65536"/>
              <a:gd name="T9" fmla="*/ 0 60000 65536"/>
              <a:gd name="T10" fmla="*/ 0 60000 65536"/>
              <a:gd name="T11" fmla="*/ 0 60000 65536"/>
              <a:gd name="T12" fmla="*/ 0 w 26"/>
              <a:gd name="T13" fmla="*/ 0 h 49"/>
              <a:gd name="T14" fmla="*/ 26 w 26"/>
              <a:gd name="T15" fmla="*/ 49 h 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" h="49">
                <a:moveTo>
                  <a:pt x="0" y="29"/>
                </a:moveTo>
                <a:lnTo>
                  <a:pt x="10" y="0"/>
                </a:lnTo>
                <a:lnTo>
                  <a:pt x="26" y="49"/>
                </a:lnTo>
                <a:lnTo>
                  <a:pt x="0" y="2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4" name="Freeform 316"/>
          <p:cNvSpPr/>
          <p:nvPr/>
        </p:nvSpPr>
        <p:spPr bwMode="auto">
          <a:xfrm>
            <a:off x="8693785" y="2472690"/>
            <a:ext cx="1717040" cy="908685"/>
          </a:xfrm>
          <a:custGeom>
            <a:avLst/>
            <a:gdLst>
              <a:gd name="T0" fmla="*/ 1 w 2200"/>
              <a:gd name="T1" fmla="*/ 4 h 1238"/>
              <a:gd name="T2" fmla="*/ 1 w 2200"/>
              <a:gd name="T3" fmla="*/ 4 h 1238"/>
              <a:gd name="T4" fmla="*/ 2 w 2200"/>
              <a:gd name="T5" fmla="*/ 14 h 1238"/>
              <a:gd name="T6" fmla="*/ 2 w 2200"/>
              <a:gd name="T7" fmla="*/ 15 h 1238"/>
              <a:gd name="T8" fmla="*/ 5 w 2200"/>
              <a:gd name="T9" fmla="*/ 19 h 1238"/>
              <a:gd name="T10" fmla="*/ 9 w 2200"/>
              <a:gd name="T11" fmla="*/ 20 h 1238"/>
              <a:gd name="T12" fmla="*/ 16 w 2200"/>
              <a:gd name="T13" fmla="*/ 21 h 1238"/>
              <a:gd name="T14" fmla="*/ 21 w 2200"/>
              <a:gd name="T15" fmla="*/ 23 h 1238"/>
              <a:gd name="T16" fmla="*/ 25 w 2200"/>
              <a:gd name="T17" fmla="*/ 28 h 1238"/>
              <a:gd name="T18" fmla="*/ 26 w 2200"/>
              <a:gd name="T19" fmla="*/ 24 h 1238"/>
              <a:gd name="T20" fmla="*/ 29 w 2200"/>
              <a:gd name="T21" fmla="*/ 23 h 1238"/>
              <a:gd name="T22" fmla="*/ 31 w 2200"/>
              <a:gd name="T23" fmla="*/ 23 h 1238"/>
              <a:gd name="T24" fmla="*/ 32 w 2200"/>
              <a:gd name="T25" fmla="*/ 23 h 1238"/>
              <a:gd name="T26" fmla="*/ 33 w 2200"/>
              <a:gd name="T27" fmla="*/ 23 h 1238"/>
              <a:gd name="T28" fmla="*/ 37 w 2200"/>
              <a:gd name="T29" fmla="*/ 24 h 1238"/>
              <a:gd name="T30" fmla="*/ 39 w 2200"/>
              <a:gd name="T31" fmla="*/ 28 h 1238"/>
              <a:gd name="T32" fmla="*/ 39 w 2200"/>
              <a:gd name="T33" fmla="*/ 27 h 1238"/>
              <a:gd name="T34" fmla="*/ 39 w 2200"/>
              <a:gd name="T35" fmla="*/ 20 h 1238"/>
              <a:gd name="T36" fmla="*/ 43 w 2200"/>
              <a:gd name="T37" fmla="*/ 16 h 1238"/>
              <a:gd name="T38" fmla="*/ 43 w 2200"/>
              <a:gd name="T39" fmla="*/ 15 h 1238"/>
              <a:gd name="T40" fmla="*/ 42 w 2200"/>
              <a:gd name="T41" fmla="*/ 13 h 1238"/>
              <a:gd name="T42" fmla="*/ 43 w 2200"/>
              <a:gd name="T43" fmla="*/ 13 h 1238"/>
              <a:gd name="T44" fmla="*/ 43 w 2200"/>
              <a:gd name="T45" fmla="*/ 15 h 1238"/>
              <a:gd name="T46" fmla="*/ 44 w 2200"/>
              <a:gd name="T47" fmla="*/ 12 h 1238"/>
              <a:gd name="T48" fmla="*/ 45 w 2200"/>
              <a:gd name="T49" fmla="*/ 11 h 1238"/>
              <a:gd name="T50" fmla="*/ 48 w 2200"/>
              <a:gd name="T51" fmla="*/ 9 h 1238"/>
              <a:gd name="T52" fmla="*/ 51 w 2200"/>
              <a:gd name="T53" fmla="*/ 6 h 1238"/>
              <a:gd name="T54" fmla="*/ 51 w 2200"/>
              <a:gd name="T55" fmla="*/ 5 h 1238"/>
              <a:gd name="T56" fmla="*/ 49 w 2200"/>
              <a:gd name="T57" fmla="*/ 3 h 1238"/>
              <a:gd name="T58" fmla="*/ 43 w 2200"/>
              <a:gd name="T59" fmla="*/ 6 h 1238"/>
              <a:gd name="T60" fmla="*/ 41 w 2200"/>
              <a:gd name="T61" fmla="*/ 8 h 1238"/>
              <a:gd name="T62" fmla="*/ 38 w 2200"/>
              <a:gd name="T63" fmla="*/ 10 h 1238"/>
              <a:gd name="T64" fmla="*/ 37 w 2200"/>
              <a:gd name="T65" fmla="*/ 9 h 1238"/>
              <a:gd name="T66" fmla="*/ 37 w 2200"/>
              <a:gd name="T67" fmla="*/ 9 h 1238"/>
              <a:gd name="T68" fmla="*/ 37 w 2200"/>
              <a:gd name="T69" fmla="*/ 7 h 1238"/>
              <a:gd name="T70" fmla="*/ 37 w 2200"/>
              <a:gd name="T71" fmla="*/ 5 h 1238"/>
              <a:gd name="T72" fmla="*/ 34 w 2200"/>
              <a:gd name="T73" fmla="*/ 6 h 1238"/>
              <a:gd name="T74" fmla="*/ 33 w 2200"/>
              <a:gd name="T75" fmla="*/ 10 h 1238"/>
              <a:gd name="T76" fmla="*/ 33 w 2200"/>
              <a:gd name="T77" fmla="*/ 5 h 1238"/>
              <a:gd name="T78" fmla="*/ 34 w 2200"/>
              <a:gd name="T79" fmla="*/ 5 h 1238"/>
              <a:gd name="T80" fmla="*/ 36 w 2200"/>
              <a:gd name="T81" fmla="*/ 4 h 1238"/>
              <a:gd name="T82" fmla="*/ 32 w 2200"/>
              <a:gd name="T83" fmla="*/ 3 h 1238"/>
              <a:gd name="T84" fmla="*/ 31 w 2200"/>
              <a:gd name="T85" fmla="*/ 4 h 1238"/>
              <a:gd name="T86" fmla="*/ 31 w 2200"/>
              <a:gd name="T87" fmla="*/ 2 h 1238"/>
              <a:gd name="T88" fmla="*/ 26 w 2200"/>
              <a:gd name="T89" fmla="*/ 0 h 1238"/>
              <a:gd name="T90" fmla="*/ 2 w 2200"/>
              <a:gd name="T91" fmla="*/ 1 h 1238"/>
              <a:gd name="T92" fmla="*/ 2 w 2200"/>
              <a:gd name="T93" fmla="*/ 3 h 1238"/>
              <a:gd name="T94" fmla="*/ 0 w 2200"/>
              <a:gd name="T95" fmla="*/ 2 h 123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00"/>
              <a:gd name="T145" fmla="*/ 0 h 1238"/>
              <a:gd name="T146" fmla="*/ 2200 w 2200"/>
              <a:gd name="T147" fmla="*/ 1238 h 123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00" h="1238">
                <a:moveTo>
                  <a:pt x="0" y="69"/>
                </a:moveTo>
                <a:lnTo>
                  <a:pt x="26" y="169"/>
                </a:lnTo>
                <a:lnTo>
                  <a:pt x="56" y="180"/>
                </a:lnTo>
                <a:lnTo>
                  <a:pt x="32" y="187"/>
                </a:lnTo>
                <a:lnTo>
                  <a:pt x="12" y="491"/>
                </a:lnTo>
                <a:lnTo>
                  <a:pt x="70" y="612"/>
                </a:lnTo>
                <a:lnTo>
                  <a:pt x="104" y="612"/>
                </a:lnTo>
                <a:lnTo>
                  <a:pt x="89" y="656"/>
                </a:lnTo>
                <a:lnTo>
                  <a:pt x="160" y="786"/>
                </a:lnTo>
                <a:lnTo>
                  <a:pt x="231" y="816"/>
                </a:lnTo>
                <a:lnTo>
                  <a:pt x="291" y="890"/>
                </a:lnTo>
                <a:lnTo>
                  <a:pt x="378" y="881"/>
                </a:lnTo>
                <a:lnTo>
                  <a:pt x="524" y="951"/>
                </a:lnTo>
                <a:lnTo>
                  <a:pt x="698" y="924"/>
                </a:lnTo>
                <a:lnTo>
                  <a:pt x="800" y="1055"/>
                </a:lnTo>
                <a:lnTo>
                  <a:pt x="879" y="1020"/>
                </a:lnTo>
                <a:lnTo>
                  <a:pt x="978" y="1181"/>
                </a:lnTo>
                <a:lnTo>
                  <a:pt x="1053" y="1208"/>
                </a:lnTo>
                <a:lnTo>
                  <a:pt x="1046" y="1119"/>
                </a:lnTo>
                <a:lnTo>
                  <a:pt x="1126" y="1065"/>
                </a:lnTo>
                <a:lnTo>
                  <a:pt x="1133" y="1022"/>
                </a:lnTo>
                <a:lnTo>
                  <a:pt x="1244" y="1020"/>
                </a:lnTo>
                <a:lnTo>
                  <a:pt x="1346" y="1055"/>
                </a:lnTo>
                <a:lnTo>
                  <a:pt x="1347" y="1001"/>
                </a:lnTo>
                <a:lnTo>
                  <a:pt x="1307" y="995"/>
                </a:lnTo>
                <a:lnTo>
                  <a:pt x="1389" y="993"/>
                </a:lnTo>
                <a:lnTo>
                  <a:pt x="1394" y="969"/>
                </a:lnTo>
                <a:lnTo>
                  <a:pt x="1401" y="997"/>
                </a:lnTo>
                <a:lnTo>
                  <a:pt x="1557" y="1008"/>
                </a:lnTo>
                <a:lnTo>
                  <a:pt x="1597" y="1053"/>
                </a:lnTo>
                <a:lnTo>
                  <a:pt x="1603" y="1134"/>
                </a:lnTo>
                <a:lnTo>
                  <a:pt x="1654" y="1238"/>
                </a:lnTo>
                <a:lnTo>
                  <a:pt x="1684" y="1235"/>
                </a:lnTo>
                <a:lnTo>
                  <a:pt x="1699" y="1156"/>
                </a:lnTo>
                <a:lnTo>
                  <a:pt x="1644" y="969"/>
                </a:lnTo>
                <a:lnTo>
                  <a:pt x="1676" y="889"/>
                </a:lnTo>
                <a:lnTo>
                  <a:pt x="1870" y="736"/>
                </a:lnTo>
                <a:lnTo>
                  <a:pt x="1833" y="720"/>
                </a:lnTo>
                <a:lnTo>
                  <a:pt x="1867" y="713"/>
                </a:lnTo>
                <a:lnTo>
                  <a:pt x="1840" y="662"/>
                </a:lnTo>
                <a:lnTo>
                  <a:pt x="1846" y="617"/>
                </a:lnTo>
                <a:lnTo>
                  <a:pt x="1805" y="585"/>
                </a:lnTo>
                <a:lnTo>
                  <a:pt x="1846" y="608"/>
                </a:lnTo>
                <a:lnTo>
                  <a:pt x="1835" y="554"/>
                </a:lnTo>
                <a:lnTo>
                  <a:pt x="1862" y="536"/>
                </a:lnTo>
                <a:lnTo>
                  <a:pt x="1867" y="656"/>
                </a:lnTo>
                <a:lnTo>
                  <a:pt x="1895" y="586"/>
                </a:lnTo>
                <a:lnTo>
                  <a:pt x="1878" y="529"/>
                </a:lnTo>
                <a:lnTo>
                  <a:pt x="1896" y="562"/>
                </a:lnTo>
                <a:lnTo>
                  <a:pt x="1937" y="464"/>
                </a:lnTo>
                <a:lnTo>
                  <a:pt x="2092" y="420"/>
                </a:lnTo>
                <a:lnTo>
                  <a:pt x="2051" y="394"/>
                </a:lnTo>
                <a:lnTo>
                  <a:pt x="2081" y="320"/>
                </a:lnTo>
                <a:lnTo>
                  <a:pt x="2195" y="264"/>
                </a:lnTo>
                <a:lnTo>
                  <a:pt x="2200" y="233"/>
                </a:lnTo>
                <a:lnTo>
                  <a:pt x="2171" y="209"/>
                </a:lnTo>
                <a:lnTo>
                  <a:pt x="2171" y="136"/>
                </a:lnTo>
                <a:lnTo>
                  <a:pt x="2109" y="114"/>
                </a:lnTo>
                <a:lnTo>
                  <a:pt x="2061" y="230"/>
                </a:lnTo>
                <a:lnTo>
                  <a:pt x="1867" y="274"/>
                </a:lnTo>
                <a:lnTo>
                  <a:pt x="1851" y="324"/>
                </a:lnTo>
                <a:lnTo>
                  <a:pt x="1740" y="345"/>
                </a:lnTo>
                <a:lnTo>
                  <a:pt x="1747" y="363"/>
                </a:lnTo>
                <a:lnTo>
                  <a:pt x="1637" y="431"/>
                </a:lnTo>
                <a:lnTo>
                  <a:pt x="1586" y="429"/>
                </a:lnTo>
                <a:lnTo>
                  <a:pt x="1584" y="410"/>
                </a:lnTo>
                <a:lnTo>
                  <a:pt x="1592" y="387"/>
                </a:lnTo>
                <a:lnTo>
                  <a:pt x="1604" y="372"/>
                </a:lnTo>
                <a:lnTo>
                  <a:pt x="1611" y="351"/>
                </a:lnTo>
                <a:lnTo>
                  <a:pt x="1592" y="297"/>
                </a:lnTo>
                <a:lnTo>
                  <a:pt x="1554" y="318"/>
                </a:lnTo>
                <a:lnTo>
                  <a:pt x="1569" y="230"/>
                </a:lnTo>
                <a:lnTo>
                  <a:pt x="1509" y="209"/>
                </a:lnTo>
                <a:lnTo>
                  <a:pt x="1465" y="264"/>
                </a:lnTo>
                <a:lnTo>
                  <a:pt x="1448" y="413"/>
                </a:lnTo>
                <a:lnTo>
                  <a:pt x="1413" y="417"/>
                </a:lnTo>
                <a:lnTo>
                  <a:pt x="1402" y="347"/>
                </a:lnTo>
                <a:lnTo>
                  <a:pt x="1434" y="234"/>
                </a:lnTo>
                <a:lnTo>
                  <a:pt x="1403" y="252"/>
                </a:lnTo>
                <a:lnTo>
                  <a:pt x="1451" y="196"/>
                </a:lnTo>
                <a:lnTo>
                  <a:pt x="1552" y="194"/>
                </a:lnTo>
                <a:lnTo>
                  <a:pt x="1536" y="164"/>
                </a:lnTo>
                <a:lnTo>
                  <a:pt x="1529" y="164"/>
                </a:lnTo>
                <a:lnTo>
                  <a:pt x="1381" y="146"/>
                </a:lnTo>
                <a:lnTo>
                  <a:pt x="1403" y="110"/>
                </a:lnTo>
                <a:lnTo>
                  <a:pt x="1315" y="159"/>
                </a:lnTo>
                <a:lnTo>
                  <a:pt x="1243" y="159"/>
                </a:lnTo>
                <a:lnTo>
                  <a:pt x="1330" y="82"/>
                </a:lnTo>
                <a:lnTo>
                  <a:pt x="1147" y="40"/>
                </a:lnTo>
                <a:lnTo>
                  <a:pt x="1127" y="0"/>
                </a:lnTo>
                <a:lnTo>
                  <a:pt x="1126" y="26"/>
                </a:lnTo>
                <a:lnTo>
                  <a:pt x="72" y="26"/>
                </a:lnTo>
                <a:lnTo>
                  <a:pt x="90" y="73"/>
                </a:lnTo>
                <a:lnTo>
                  <a:pt x="70" y="114"/>
                </a:lnTo>
                <a:lnTo>
                  <a:pt x="74" y="72"/>
                </a:lnTo>
                <a:lnTo>
                  <a:pt x="0" y="6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5" name="Freeform 317"/>
          <p:cNvSpPr/>
          <p:nvPr/>
        </p:nvSpPr>
        <p:spPr bwMode="auto">
          <a:xfrm>
            <a:off x="10664190" y="5220970"/>
            <a:ext cx="153670" cy="175260"/>
          </a:xfrm>
          <a:custGeom>
            <a:avLst/>
            <a:gdLst>
              <a:gd name="T0" fmla="*/ 0 w 199"/>
              <a:gd name="T1" fmla="*/ 5 h 238"/>
              <a:gd name="T2" fmla="*/ 1 w 199"/>
              <a:gd name="T3" fmla="*/ 0 h 238"/>
              <a:gd name="T4" fmla="*/ 1 w 199"/>
              <a:gd name="T5" fmla="*/ 0 h 238"/>
              <a:gd name="T6" fmla="*/ 4 w 199"/>
              <a:gd name="T7" fmla="*/ 2 h 238"/>
              <a:gd name="T8" fmla="*/ 5 w 199"/>
              <a:gd name="T9" fmla="*/ 3 h 238"/>
              <a:gd name="T10" fmla="*/ 4 w 199"/>
              <a:gd name="T11" fmla="*/ 4 h 238"/>
              <a:gd name="T12" fmla="*/ 3 w 199"/>
              <a:gd name="T13" fmla="*/ 5 h 238"/>
              <a:gd name="T14" fmla="*/ 0 w 199"/>
              <a:gd name="T15" fmla="*/ 5 h 23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99"/>
              <a:gd name="T25" fmla="*/ 0 h 238"/>
              <a:gd name="T26" fmla="*/ 199 w 199"/>
              <a:gd name="T27" fmla="*/ 238 h 23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99" h="238">
                <a:moveTo>
                  <a:pt x="0" y="192"/>
                </a:moveTo>
                <a:lnTo>
                  <a:pt x="31" y="8"/>
                </a:lnTo>
                <a:lnTo>
                  <a:pt x="62" y="0"/>
                </a:lnTo>
                <a:lnTo>
                  <a:pt x="174" y="94"/>
                </a:lnTo>
                <a:lnTo>
                  <a:pt x="199" y="131"/>
                </a:lnTo>
                <a:lnTo>
                  <a:pt x="189" y="178"/>
                </a:lnTo>
                <a:lnTo>
                  <a:pt x="136" y="238"/>
                </a:lnTo>
                <a:lnTo>
                  <a:pt x="0" y="19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6" name="Freeform 318"/>
          <p:cNvSpPr/>
          <p:nvPr/>
        </p:nvSpPr>
        <p:spPr bwMode="auto">
          <a:xfrm>
            <a:off x="10224135" y="3818255"/>
            <a:ext cx="398780" cy="372110"/>
          </a:xfrm>
          <a:custGeom>
            <a:avLst/>
            <a:gdLst>
              <a:gd name="T0" fmla="*/ 0 w 510"/>
              <a:gd name="T1" fmla="*/ 3 h 507"/>
              <a:gd name="T2" fmla="*/ 1 w 510"/>
              <a:gd name="T3" fmla="*/ 5 h 507"/>
              <a:gd name="T4" fmla="*/ 3 w 510"/>
              <a:gd name="T5" fmla="*/ 5 h 507"/>
              <a:gd name="T6" fmla="*/ 3 w 510"/>
              <a:gd name="T7" fmla="*/ 6 h 507"/>
              <a:gd name="T8" fmla="*/ 5 w 510"/>
              <a:gd name="T9" fmla="*/ 6 h 507"/>
              <a:gd name="T10" fmla="*/ 5 w 510"/>
              <a:gd name="T11" fmla="*/ 10 h 507"/>
              <a:gd name="T12" fmla="*/ 6 w 510"/>
              <a:gd name="T13" fmla="*/ 11 h 507"/>
              <a:gd name="T14" fmla="*/ 7 w 510"/>
              <a:gd name="T15" fmla="*/ 12 h 507"/>
              <a:gd name="T16" fmla="*/ 9 w 510"/>
              <a:gd name="T17" fmla="*/ 10 h 507"/>
              <a:gd name="T18" fmla="*/ 8 w 510"/>
              <a:gd name="T19" fmla="*/ 10 h 507"/>
              <a:gd name="T20" fmla="*/ 8 w 510"/>
              <a:gd name="T21" fmla="*/ 8 h 507"/>
              <a:gd name="T22" fmla="*/ 9 w 510"/>
              <a:gd name="T23" fmla="*/ 9 h 507"/>
              <a:gd name="T24" fmla="*/ 11 w 510"/>
              <a:gd name="T25" fmla="*/ 7 h 507"/>
              <a:gd name="T26" fmla="*/ 11 w 510"/>
              <a:gd name="T27" fmla="*/ 6 h 507"/>
              <a:gd name="T28" fmla="*/ 11 w 510"/>
              <a:gd name="T29" fmla="*/ 5 h 507"/>
              <a:gd name="T30" fmla="*/ 11 w 510"/>
              <a:gd name="T31" fmla="*/ 5 h 507"/>
              <a:gd name="T32" fmla="*/ 12 w 510"/>
              <a:gd name="T33" fmla="*/ 4 h 507"/>
              <a:gd name="T34" fmla="*/ 11 w 510"/>
              <a:gd name="T35" fmla="*/ 4 h 507"/>
              <a:gd name="T36" fmla="*/ 11 w 510"/>
              <a:gd name="T37" fmla="*/ 3 h 507"/>
              <a:gd name="T38" fmla="*/ 9 w 510"/>
              <a:gd name="T39" fmla="*/ 2 h 507"/>
              <a:gd name="T40" fmla="*/ 10 w 510"/>
              <a:gd name="T41" fmla="*/ 2 h 507"/>
              <a:gd name="T42" fmla="*/ 5 w 510"/>
              <a:gd name="T43" fmla="*/ 2 h 507"/>
              <a:gd name="T44" fmla="*/ 3 w 510"/>
              <a:gd name="T45" fmla="*/ 0 h 507"/>
              <a:gd name="T46" fmla="*/ 3 w 510"/>
              <a:gd name="T47" fmla="*/ 1 h 507"/>
              <a:gd name="T48" fmla="*/ 1 w 510"/>
              <a:gd name="T49" fmla="*/ 1 h 507"/>
              <a:gd name="T50" fmla="*/ 2 w 510"/>
              <a:gd name="T51" fmla="*/ 3 h 507"/>
              <a:gd name="T52" fmla="*/ 1 w 510"/>
              <a:gd name="T53" fmla="*/ 3 h 507"/>
              <a:gd name="T54" fmla="*/ 1 w 510"/>
              <a:gd name="T55" fmla="*/ 2 h 507"/>
              <a:gd name="T56" fmla="*/ 2 w 510"/>
              <a:gd name="T57" fmla="*/ 1 h 507"/>
              <a:gd name="T58" fmla="*/ 0 w 510"/>
              <a:gd name="T59" fmla="*/ 3 h 50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10"/>
              <a:gd name="T91" fmla="*/ 0 h 507"/>
              <a:gd name="T92" fmla="*/ 510 w 510"/>
              <a:gd name="T93" fmla="*/ 507 h 50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10" h="507">
                <a:moveTo>
                  <a:pt x="0" y="138"/>
                </a:moveTo>
                <a:lnTo>
                  <a:pt x="48" y="226"/>
                </a:lnTo>
                <a:lnTo>
                  <a:pt x="122" y="237"/>
                </a:lnTo>
                <a:lnTo>
                  <a:pt x="146" y="275"/>
                </a:lnTo>
                <a:lnTo>
                  <a:pt x="220" y="269"/>
                </a:lnTo>
                <a:lnTo>
                  <a:pt x="208" y="422"/>
                </a:lnTo>
                <a:lnTo>
                  <a:pt x="243" y="486"/>
                </a:lnTo>
                <a:lnTo>
                  <a:pt x="284" y="507"/>
                </a:lnTo>
                <a:lnTo>
                  <a:pt x="379" y="448"/>
                </a:lnTo>
                <a:lnTo>
                  <a:pt x="341" y="437"/>
                </a:lnTo>
                <a:lnTo>
                  <a:pt x="325" y="352"/>
                </a:lnTo>
                <a:lnTo>
                  <a:pt x="387" y="368"/>
                </a:lnTo>
                <a:lnTo>
                  <a:pt x="487" y="315"/>
                </a:lnTo>
                <a:lnTo>
                  <a:pt x="457" y="275"/>
                </a:lnTo>
                <a:lnTo>
                  <a:pt x="491" y="236"/>
                </a:lnTo>
                <a:lnTo>
                  <a:pt x="477" y="207"/>
                </a:lnTo>
                <a:lnTo>
                  <a:pt x="510" y="175"/>
                </a:lnTo>
                <a:lnTo>
                  <a:pt x="467" y="168"/>
                </a:lnTo>
                <a:lnTo>
                  <a:pt x="467" y="127"/>
                </a:lnTo>
                <a:lnTo>
                  <a:pt x="391" y="84"/>
                </a:lnTo>
                <a:lnTo>
                  <a:pt x="426" y="72"/>
                </a:lnTo>
                <a:lnTo>
                  <a:pt x="200" y="81"/>
                </a:lnTo>
                <a:lnTo>
                  <a:pt x="127" y="0"/>
                </a:lnTo>
                <a:lnTo>
                  <a:pt x="133" y="37"/>
                </a:lnTo>
                <a:lnTo>
                  <a:pt x="66" y="68"/>
                </a:lnTo>
                <a:lnTo>
                  <a:pt x="86" y="127"/>
                </a:lnTo>
                <a:lnTo>
                  <a:pt x="63" y="150"/>
                </a:lnTo>
                <a:lnTo>
                  <a:pt x="48" y="96"/>
                </a:lnTo>
                <a:lnTo>
                  <a:pt x="73" y="22"/>
                </a:lnTo>
                <a:lnTo>
                  <a:pt x="0" y="13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7" name="Freeform 320"/>
          <p:cNvSpPr/>
          <p:nvPr/>
        </p:nvSpPr>
        <p:spPr bwMode="auto">
          <a:xfrm>
            <a:off x="3247390" y="2906395"/>
            <a:ext cx="421640" cy="330835"/>
          </a:xfrm>
          <a:custGeom>
            <a:avLst/>
            <a:gdLst>
              <a:gd name="T0" fmla="*/ 0 w 542"/>
              <a:gd name="T1" fmla="*/ 5 h 449"/>
              <a:gd name="T2" fmla="*/ 0 w 542"/>
              <a:gd name="T3" fmla="*/ 8 h 449"/>
              <a:gd name="T4" fmla="*/ 1 w 542"/>
              <a:gd name="T5" fmla="*/ 9 h 449"/>
              <a:gd name="T6" fmla="*/ 0 w 542"/>
              <a:gd name="T7" fmla="*/ 10 h 449"/>
              <a:gd name="T8" fmla="*/ 2 w 542"/>
              <a:gd name="T9" fmla="*/ 10 h 449"/>
              <a:gd name="T10" fmla="*/ 5 w 542"/>
              <a:gd name="T11" fmla="*/ 10 h 449"/>
              <a:gd name="T12" fmla="*/ 5 w 542"/>
              <a:gd name="T13" fmla="*/ 8 h 449"/>
              <a:gd name="T14" fmla="*/ 8 w 542"/>
              <a:gd name="T15" fmla="*/ 8 h 449"/>
              <a:gd name="T16" fmla="*/ 8 w 542"/>
              <a:gd name="T17" fmla="*/ 6 h 449"/>
              <a:gd name="T18" fmla="*/ 9 w 542"/>
              <a:gd name="T19" fmla="*/ 6 h 449"/>
              <a:gd name="T20" fmla="*/ 8 w 542"/>
              <a:gd name="T21" fmla="*/ 5 h 449"/>
              <a:gd name="T22" fmla="*/ 9 w 542"/>
              <a:gd name="T23" fmla="*/ 5 h 449"/>
              <a:gd name="T24" fmla="*/ 10 w 542"/>
              <a:gd name="T25" fmla="*/ 4 h 449"/>
              <a:gd name="T26" fmla="*/ 9 w 542"/>
              <a:gd name="T27" fmla="*/ 3 h 449"/>
              <a:gd name="T28" fmla="*/ 12 w 542"/>
              <a:gd name="T29" fmla="*/ 2 h 449"/>
              <a:gd name="T30" fmla="*/ 13 w 542"/>
              <a:gd name="T31" fmla="*/ 1 h 449"/>
              <a:gd name="T32" fmla="*/ 11 w 542"/>
              <a:gd name="T33" fmla="*/ 1 h 449"/>
              <a:gd name="T34" fmla="*/ 10 w 542"/>
              <a:gd name="T35" fmla="*/ 2 h 449"/>
              <a:gd name="T36" fmla="*/ 9 w 542"/>
              <a:gd name="T37" fmla="*/ 0 h 449"/>
              <a:gd name="T38" fmla="*/ 8 w 542"/>
              <a:gd name="T39" fmla="*/ 1 h 449"/>
              <a:gd name="T40" fmla="*/ 4 w 542"/>
              <a:gd name="T41" fmla="*/ 1 h 449"/>
              <a:gd name="T42" fmla="*/ 2 w 542"/>
              <a:gd name="T43" fmla="*/ 4 h 449"/>
              <a:gd name="T44" fmla="*/ 1 w 542"/>
              <a:gd name="T45" fmla="*/ 3 h 449"/>
              <a:gd name="T46" fmla="*/ 0 w 542"/>
              <a:gd name="T47" fmla="*/ 5 h 4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542"/>
              <a:gd name="T73" fmla="*/ 0 h 449"/>
              <a:gd name="T74" fmla="*/ 542 w 542"/>
              <a:gd name="T75" fmla="*/ 449 h 4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542" h="449">
                <a:moveTo>
                  <a:pt x="0" y="214"/>
                </a:moveTo>
                <a:lnTo>
                  <a:pt x="6" y="333"/>
                </a:lnTo>
                <a:lnTo>
                  <a:pt x="42" y="368"/>
                </a:lnTo>
                <a:lnTo>
                  <a:pt x="14" y="426"/>
                </a:lnTo>
                <a:lnTo>
                  <a:pt x="73" y="449"/>
                </a:lnTo>
                <a:lnTo>
                  <a:pt x="212" y="426"/>
                </a:lnTo>
                <a:lnTo>
                  <a:pt x="239" y="361"/>
                </a:lnTo>
                <a:lnTo>
                  <a:pt x="333" y="325"/>
                </a:lnTo>
                <a:lnTo>
                  <a:pt x="340" y="269"/>
                </a:lnTo>
                <a:lnTo>
                  <a:pt x="375" y="254"/>
                </a:lnTo>
                <a:lnTo>
                  <a:pt x="361" y="226"/>
                </a:lnTo>
                <a:lnTo>
                  <a:pt x="393" y="222"/>
                </a:lnTo>
                <a:lnTo>
                  <a:pt x="418" y="168"/>
                </a:lnTo>
                <a:lnTo>
                  <a:pt x="408" y="112"/>
                </a:lnTo>
                <a:lnTo>
                  <a:pt x="538" y="72"/>
                </a:lnTo>
                <a:lnTo>
                  <a:pt x="542" y="61"/>
                </a:lnTo>
                <a:lnTo>
                  <a:pt x="492" y="50"/>
                </a:lnTo>
                <a:lnTo>
                  <a:pt x="423" y="88"/>
                </a:lnTo>
                <a:lnTo>
                  <a:pt x="392" y="0"/>
                </a:lnTo>
                <a:lnTo>
                  <a:pt x="335" y="66"/>
                </a:lnTo>
                <a:lnTo>
                  <a:pt x="169" y="61"/>
                </a:lnTo>
                <a:lnTo>
                  <a:pt x="82" y="165"/>
                </a:lnTo>
                <a:lnTo>
                  <a:pt x="25" y="131"/>
                </a:lnTo>
                <a:lnTo>
                  <a:pt x="0" y="21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8" name="Freeform 321"/>
          <p:cNvSpPr/>
          <p:nvPr/>
        </p:nvSpPr>
        <p:spPr bwMode="auto">
          <a:xfrm>
            <a:off x="2017395" y="2749550"/>
            <a:ext cx="54610" cy="111125"/>
          </a:xfrm>
          <a:custGeom>
            <a:avLst/>
            <a:gdLst>
              <a:gd name="T0" fmla="*/ 0 w 71"/>
              <a:gd name="T1" fmla="*/ 3 h 151"/>
              <a:gd name="T2" fmla="*/ 0 w 71"/>
              <a:gd name="T3" fmla="*/ 1 h 151"/>
              <a:gd name="T4" fmla="*/ 1 w 71"/>
              <a:gd name="T5" fmla="*/ 0 h 151"/>
              <a:gd name="T6" fmla="*/ 2 w 71"/>
              <a:gd name="T7" fmla="*/ 2 h 151"/>
              <a:gd name="T8" fmla="*/ 1 w 71"/>
              <a:gd name="T9" fmla="*/ 3 h 151"/>
              <a:gd name="T10" fmla="*/ 0 w 71"/>
              <a:gd name="T11" fmla="*/ 3 h 1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1"/>
              <a:gd name="T19" fmla="*/ 0 h 151"/>
              <a:gd name="T20" fmla="*/ 71 w 71"/>
              <a:gd name="T21" fmla="*/ 151 h 1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1" h="151">
                <a:moveTo>
                  <a:pt x="0" y="114"/>
                </a:moveTo>
                <a:lnTo>
                  <a:pt x="1" y="37"/>
                </a:lnTo>
                <a:lnTo>
                  <a:pt x="33" y="0"/>
                </a:lnTo>
                <a:lnTo>
                  <a:pt x="71" y="88"/>
                </a:lnTo>
                <a:lnTo>
                  <a:pt x="35" y="151"/>
                </a:lnTo>
                <a:lnTo>
                  <a:pt x="0" y="11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9" name="Freeform 322"/>
          <p:cNvSpPr/>
          <p:nvPr/>
        </p:nvSpPr>
        <p:spPr bwMode="auto">
          <a:xfrm>
            <a:off x="1185545" y="2964180"/>
            <a:ext cx="607060" cy="629920"/>
          </a:xfrm>
          <a:custGeom>
            <a:avLst/>
            <a:gdLst>
              <a:gd name="T0" fmla="*/ 0 w 776"/>
              <a:gd name="T1" fmla="*/ 11 h 857"/>
              <a:gd name="T2" fmla="*/ 0 w 776"/>
              <a:gd name="T3" fmla="*/ 11 h 857"/>
              <a:gd name="T4" fmla="*/ 3 w 776"/>
              <a:gd name="T5" fmla="*/ 13 h 857"/>
              <a:gd name="T6" fmla="*/ 11 w 776"/>
              <a:gd name="T7" fmla="*/ 19 h 857"/>
              <a:gd name="T8" fmla="*/ 11 w 776"/>
              <a:gd name="T9" fmla="*/ 20 h 857"/>
              <a:gd name="T10" fmla="*/ 11 w 776"/>
              <a:gd name="T11" fmla="*/ 20 h 857"/>
              <a:gd name="T12" fmla="*/ 13 w 776"/>
              <a:gd name="T13" fmla="*/ 19 h 857"/>
              <a:gd name="T14" fmla="*/ 18 w 776"/>
              <a:gd name="T15" fmla="*/ 15 h 857"/>
              <a:gd name="T16" fmla="*/ 16 w 776"/>
              <a:gd name="T17" fmla="*/ 12 h 857"/>
              <a:gd name="T18" fmla="*/ 16 w 776"/>
              <a:gd name="T19" fmla="*/ 8 h 857"/>
              <a:gd name="T20" fmla="*/ 16 w 776"/>
              <a:gd name="T21" fmla="*/ 6 h 857"/>
              <a:gd name="T22" fmla="*/ 14 w 776"/>
              <a:gd name="T23" fmla="*/ 3 h 857"/>
              <a:gd name="T24" fmla="*/ 15 w 776"/>
              <a:gd name="T25" fmla="*/ 3 h 857"/>
              <a:gd name="T26" fmla="*/ 15 w 776"/>
              <a:gd name="T27" fmla="*/ 0 h 857"/>
              <a:gd name="T28" fmla="*/ 9 w 776"/>
              <a:gd name="T29" fmla="*/ 1 h 857"/>
              <a:gd name="T30" fmla="*/ 6 w 776"/>
              <a:gd name="T31" fmla="*/ 2 h 857"/>
              <a:gd name="T32" fmla="*/ 7 w 776"/>
              <a:gd name="T33" fmla="*/ 5 h 857"/>
              <a:gd name="T34" fmla="*/ 5 w 776"/>
              <a:gd name="T35" fmla="*/ 6 h 857"/>
              <a:gd name="T36" fmla="*/ 4 w 776"/>
              <a:gd name="T37" fmla="*/ 6 h 857"/>
              <a:gd name="T38" fmla="*/ 5 w 776"/>
              <a:gd name="T39" fmla="*/ 7 h 857"/>
              <a:gd name="T40" fmla="*/ 1 w 776"/>
              <a:gd name="T41" fmla="*/ 9 h 857"/>
              <a:gd name="T42" fmla="*/ 0 w 776"/>
              <a:gd name="T43" fmla="*/ 11 h 85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776"/>
              <a:gd name="T67" fmla="*/ 0 h 857"/>
              <a:gd name="T68" fmla="*/ 776 w 776"/>
              <a:gd name="T69" fmla="*/ 857 h 85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776" h="857">
                <a:moveTo>
                  <a:pt x="0" y="458"/>
                </a:moveTo>
                <a:lnTo>
                  <a:pt x="5" y="475"/>
                </a:lnTo>
                <a:lnTo>
                  <a:pt x="150" y="582"/>
                </a:lnTo>
                <a:lnTo>
                  <a:pt x="454" y="818"/>
                </a:lnTo>
                <a:lnTo>
                  <a:pt x="456" y="857"/>
                </a:lnTo>
                <a:lnTo>
                  <a:pt x="488" y="853"/>
                </a:lnTo>
                <a:lnTo>
                  <a:pt x="547" y="836"/>
                </a:lnTo>
                <a:lnTo>
                  <a:pt x="776" y="651"/>
                </a:lnTo>
                <a:lnTo>
                  <a:pt x="687" y="527"/>
                </a:lnTo>
                <a:lnTo>
                  <a:pt x="688" y="330"/>
                </a:lnTo>
                <a:lnTo>
                  <a:pt x="679" y="241"/>
                </a:lnTo>
                <a:lnTo>
                  <a:pt x="612" y="151"/>
                </a:lnTo>
                <a:lnTo>
                  <a:pt x="647" y="120"/>
                </a:lnTo>
                <a:lnTo>
                  <a:pt x="659" y="0"/>
                </a:lnTo>
                <a:lnTo>
                  <a:pt x="391" y="20"/>
                </a:lnTo>
                <a:lnTo>
                  <a:pt x="246" y="92"/>
                </a:lnTo>
                <a:lnTo>
                  <a:pt x="284" y="238"/>
                </a:lnTo>
                <a:lnTo>
                  <a:pt x="224" y="241"/>
                </a:lnTo>
                <a:lnTo>
                  <a:pt x="189" y="258"/>
                </a:lnTo>
                <a:lnTo>
                  <a:pt x="196" y="296"/>
                </a:lnTo>
                <a:lnTo>
                  <a:pt x="21" y="383"/>
                </a:lnTo>
                <a:lnTo>
                  <a:pt x="0" y="45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Freeform 323"/>
          <p:cNvSpPr/>
          <p:nvPr/>
        </p:nvSpPr>
        <p:spPr bwMode="auto">
          <a:xfrm>
            <a:off x="4810760" y="4567555"/>
            <a:ext cx="1200785" cy="989330"/>
          </a:xfrm>
          <a:custGeom>
            <a:avLst/>
            <a:gdLst>
              <a:gd name="T0" fmla="*/ 1 w 1543"/>
              <a:gd name="T1" fmla="*/ 17 h 1343"/>
              <a:gd name="T2" fmla="*/ 1 w 1543"/>
              <a:gd name="T3" fmla="*/ 16 h 1343"/>
              <a:gd name="T4" fmla="*/ 1 w 1543"/>
              <a:gd name="T5" fmla="*/ 12 h 1343"/>
              <a:gd name="T6" fmla="*/ 3 w 1543"/>
              <a:gd name="T7" fmla="*/ 10 h 1343"/>
              <a:gd name="T8" fmla="*/ 8 w 1543"/>
              <a:gd name="T9" fmla="*/ 8 h 1343"/>
              <a:gd name="T10" fmla="*/ 9 w 1543"/>
              <a:gd name="T11" fmla="*/ 6 h 1343"/>
              <a:gd name="T12" fmla="*/ 9 w 1543"/>
              <a:gd name="T13" fmla="*/ 6 h 1343"/>
              <a:gd name="T14" fmla="*/ 10 w 1543"/>
              <a:gd name="T15" fmla="*/ 5 h 1343"/>
              <a:gd name="T16" fmla="*/ 13 w 1543"/>
              <a:gd name="T17" fmla="*/ 4 h 1343"/>
              <a:gd name="T18" fmla="*/ 14 w 1543"/>
              <a:gd name="T19" fmla="*/ 4 h 1343"/>
              <a:gd name="T20" fmla="*/ 14 w 1543"/>
              <a:gd name="T21" fmla="*/ 4 h 1343"/>
              <a:gd name="T22" fmla="*/ 17 w 1543"/>
              <a:gd name="T23" fmla="*/ 1 h 1343"/>
              <a:gd name="T24" fmla="*/ 20 w 1543"/>
              <a:gd name="T25" fmla="*/ 2 h 1343"/>
              <a:gd name="T26" fmla="*/ 24 w 1543"/>
              <a:gd name="T27" fmla="*/ 7 h 1343"/>
              <a:gd name="T28" fmla="*/ 25 w 1543"/>
              <a:gd name="T29" fmla="*/ 1 h 1343"/>
              <a:gd name="T30" fmla="*/ 27 w 1543"/>
              <a:gd name="T31" fmla="*/ 4 h 1343"/>
              <a:gd name="T32" fmla="*/ 29 w 1543"/>
              <a:gd name="T33" fmla="*/ 9 h 1343"/>
              <a:gd name="T34" fmla="*/ 32 w 1543"/>
              <a:gd name="T35" fmla="*/ 13 h 1343"/>
              <a:gd name="T36" fmla="*/ 33 w 1543"/>
              <a:gd name="T37" fmla="*/ 14 h 1343"/>
              <a:gd name="T38" fmla="*/ 36 w 1543"/>
              <a:gd name="T39" fmla="*/ 19 h 1343"/>
              <a:gd name="T40" fmla="*/ 34 w 1543"/>
              <a:gd name="T41" fmla="*/ 25 h 1343"/>
              <a:gd name="T42" fmla="*/ 30 w 1543"/>
              <a:gd name="T43" fmla="*/ 30 h 1343"/>
              <a:gd name="T44" fmla="*/ 29 w 1543"/>
              <a:gd name="T45" fmla="*/ 31 h 1343"/>
              <a:gd name="T46" fmla="*/ 27 w 1543"/>
              <a:gd name="T47" fmla="*/ 31 h 1343"/>
              <a:gd name="T48" fmla="*/ 24 w 1543"/>
              <a:gd name="T49" fmla="*/ 29 h 1343"/>
              <a:gd name="T50" fmla="*/ 22 w 1543"/>
              <a:gd name="T51" fmla="*/ 27 h 1343"/>
              <a:gd name="T52" fmla="*/ 22 w 1543"/>
              <a:gd name="T53" fmla="*/ 27 h 1343"/>
              <a:gd name="T54" fmla="*/ 22 w 1543"/>
              <a:gd name="T55" fmla="*/ 23 h 1343"/>
              <a:gd name="T56" fmla="*/ 19 w 1543"/>
              <a:gd name="T57" fmla="*/ 26 h 1343"/>
              <a:gd name="T58" fmla="*/ 16 w 1543"/>
              <a:gd name="T59" fmla="*/ 22 h 1343"/>
              <a:gd name="T60" fmla="*/ 9 w 1543"/>
              <a:gd name="T61" fmla="*/ 25 h 1343"/>
              <a:gd name="T62" fmla="*/ 4 w 1543"/>
              <a:gd name="T63" fmla="*/ 27 h 1343"/>
              <a:gd name="T64" fmla="*/ 2 w 1543"/>
              <a:gd name="T65" fmla="*/ 22 h 13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43"/>
              <a:gd name="T100" fmla="*/ 0 h 1343"/>
              <a:gd name="T101" fmla="*/ 1543 w 1543"/>
              <a:gd name="T102" fmla="*/ 1343 h 13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43" h="1343">
                <a:moveTo>
                  <a:pt x="0" y="708"/>
                </a:moveTo>
                <a:lnTo>
                  <a:pt x="25" y="718"/>
                </a:lnTo>
                <a:lnTo>
                  <a:pt x="9" y="678"/>
                </a:lnTo>
                <a:lnTo>
                  <a:pt x="41" y="701"/>
                </a:lnTo>
                <a:lnTo>
                  <a:pt x="9" y="622"/>
                </a:lnTo>
                <a:lnTo>
                  <a:pt x="31" y="505"/>
                </a:lnTo>
                <a:lnTo>
                  <a:pt x="39" y="536"/>
                </a:lnTo>
                <a:lnTo>
                  <a:pt x="135" y="442"/>
                </a:lnTo>
                <a:lnTo>
                  <a:pt x="296" y="399"/>
                </a:lnTo>
                <a:lnTo>
                  <a:pt x="352" y="330"/>
                </a:lnTo>
                <a:lnTo>
                  <a:pt x="349" y="285"/>
                </a:lnTo>
                <a:lnTo>
                  <a:pt x="369" y="252"/>
                </a:lnTo>
                <a:lnTo>
                  <a:pt x="393" y="304"/>
                </a:lnTo>
                <a:lnTo>
                  <a:pt x="393" y="248"/>
                </a:lnTo>
                <a:lnTo>
                  <a:pt x="432" y="260"/>
                </a:lnTo>
                <a:lnTo>
                  <a:pt x="436" y="218"/>
                </a:lnTo>
                <a:lnTo>
                  <a:pt x="492" y="150"/>
                </a:lnTo>
                <a:lnTo>
                  <a:pt x="552" y="154"/>
                </a:lnTo>
                <a:lnTo>
                  <a:pt x="563" y="221"/>
                </a:lnTo>
                <a:lnTo>
                  <a:pt x="588" y="183"/>
                </a:lnTo>
                <a:lnTo>
                  <a:pt x="631" y="204"/>
                </a:lnTo>
                <a:lnTo>
                  <a:pt x="616" y="160"/>
                </a:lnTo>
                <a:lnTo>
                  <a:pt x="655" y="89"/>
                </a:lnTo>
                <a:lnTo>
                  <a:pt x="743" y="62"/>
                </a:lnTo>
                <a:lnTo>
                  <a:pt x="719" y="18"/>
                </a:lnTo>
                <a:lnTo>
                  <a:pt x="893" y="73"/>
                </a:lnTo>
                <a:lnTo>
                  <a:pt x="856" y="194"/>
                </a:lnTo>
                <a:lnTo>
                  <a:pt x="1030" y="318"/>
                </a:lnTo>
                <a:lnTo>
                  <a:pt x="1073" y="267"/>
                </a:lnTo>
                <a:lnTo>
                  <a:pt x="1095" y="61"/>
                </a:lnTo>
                <a:lnTo>
                  <a:pt x="1135" y="0"/>
                </a:lnTo>
                <a:lnTo>
                  <a:pt x="1173" y="158"/>
                </a:lnTo>
                <a:lnTo>
                  <a:pt x="1231" y="194"/>
                </a:lnTo>
                <a:lnTo>
                  <a:pt x="1270" y="375"/>
                </a:lnTo>
                <a:lnTo>
                  <a:pt x="1363" y="433"/>
                </a:lnTo>
                <a:lnTo>
                  <a:pt x="1400" y="536"/>
                </a:lnTo>
                <a:lnTo>
                  <a:pt x="1432" y="529"/>
                </a:lnTo>
                <a:lnTo>
                  <a:pt x="1441" y="584"/>
                </a:lnTo>
                <a:lnTo>
                  <a:pt x="1518" y="663"/>
                </a:lnTo>
                <a:lnTo>
                  <a:pt x="1543" y="802"/>
                </a:lnTo>
                <a:lnTo>
                  <a:pt x="1524" y="942"/>
                </a:lnTo>
                <a:lnTo>
                  <a:pt x="1459" y="1059"/>
                </a:lnTo>
                <a:lnTo>
                  <a:pt x="1408" y="1261"/>
                </a:lnTo>
                <a:lnTo>
                  <a:pt x="1323" y="1282"/>
                </a:lnTo>
                <a:lnTo>
                  <a:pt x="1267" y="1320"/>
                </a:lnTo>
                <a:lnTo>
                  <a:pt x="1272" y="1343"/>
                </a:lnTo>
                <a:lnTo>
                  <a:pt x="1216" y="1276"/>
                </a:lnTo>
                <a:lnTo>
                  <a:pt x="1158" y="1324"/>
                </a:lnTo>
                <a:lnTo>
                  <a:pt x="1085" y="1304"/>
                </a:lnTo>
                <a:lnTo>
                  <a:pt x="1024" y="1253"/>
                </a:lnTo>
                <a:lnTo>
                  <a:pt x="1001" y="1153"/>
                </a:lnTo>
                <a:lnTo>
                  <a:pt x="955" y="1165"/>
                </a:lnTo>
                <a:lnTo>
                  <a:pt x="955" y="1096"/>
                </a:lnTo>
                <a:lnTo>
                  <a:pt x="939" y="1140"/>
                </a:lnTo>
                <a:lnTo>
                  <a:pt x="907" y="1143"/>
                </a:lnTo>
                <a:lnTo>
                  <a:pt x="940" y="1011"/>
                </a:lnTo>
                <a:lnTo>
                  <a:pt x="875" y="1135"/>
                </a:lnTo>
                <a:lnTo>
                  <a:pt x="843" y="1109"/>
                </a:lnTo>
                <a:lnTo>
                  <a:pt x="809" y="1012"/>
                </a:lnTo>
                <a:lnTo>
                  <a:pt x="694" y="959"/>
                </a:lnTo>
                <a:lnTo>
                  <a:pt x="490" y="998"/>
                </a:lnTo>
                <a:lnTo>
                  <a:pt x="404" y="1071"/>
                </a:lnTo>
                <a:lnTo>
                  <a:pt x="263" y="1075"/>
                </a:lnTo>
                <a:lnTo>
                  <a:pt x="182" y="1139"/>
                </a:lnTo>
                <a:lnTo>
                  <a:pt x="76" y="1094"/>
                </a:lnTo>
                <a:lnTo>
                  <a:pt x="100" y="966"/>
                </a:lnTo>
                <a:lnTo>
                  <a:pt x="0" y="70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Freeform 324"/>
          <p:cNvSpPr/>
          <p:nvPr/>
        </p:nvSpPr>
        <p:spPr bwMode="auto">
          <a:xfrm>
            <a:off x="5751830" y="5612765"/>
            <a:ext cx="106045" cy="111125"/>
          </a:xfrm>
          <a:custGeom>
            <a:avLst/>
            <a:gdLst>
              <a:gd name="T0" fmla="*/ 0 w 134"/>
              <a:gd name="T1" fmla="*/ 1 h 150"/>
              <a:gd name="T2" fmla="*/ 0 w 134"/>
              <a:gd name="T3" fmla="*/ 0 h 150"/>
              <a:gd name="T4" fmla="*/ 2 w 134"/>
              <a:gd name="T5" fmla="*/ 1 h 150"/>
              <a:gd name="T6" fmla="*/ 3 w 134"/>
              <a:gd name="T7" fmla="*/ 0 h 150"/>
              <a:gd name="T8" fmla="*/ 3 w 134"/>
              <a:gd name="T9" fmla="*/ 1 h 150"/>
              <a:gd name="T10" fmla="*/ 3 w 134"/>
              <a:gd name="T11" fmla="*/ 2 h 150"/>
              <a:gd name="T12" fmla="*/ 2 w 134"/>
              <a:gd name="T13" fmla="*/ 3 h 150"/>
              <a:gd name="T14" fmla="*/ 1 w 134"/>
              <a:gd name="T15" fmla="*/ 3 h 150"/>
              <a:gd name="T16" fmla="*/ 0 w 134"/>
              <a:gd name="T17" fmla="*/ 1 h 1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4"/>
              <a:gd name="T28" fmla="*/ 0 h 150"/>
              <a:gd name="T29" fmla="*/ 134 w 134"/>
              <a:gd name="T30" fmla="*/ 150 h 1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4" h="150">
                <a:moveTo>
                  <a:pt x="0" y="25"/>
                </a:moveTo>
                <a:lnTo>
                  <a:pt x="1" y="0"/>
                </a:lnTo>
                <a:lnTo>
                  <a:pt x="67" y="20"/>
                </a:lnTo>
                <a:lnTo>
                  <a:pt x="121" y="2"/>
                </a:lnTo>
                <a:lnTo>
                  <a:pt x="134" y="40"/>
                </a:lnTo>
                <a:lnTo>
                  <a:pt x="134" y="86"/>
                </a:lnTo>
                <a:lnTo>
                  <a:pt x="83" y="150"/>
                </a:lnTo>
                <a:lnTo>
                  <a:pt x="50" y="147"/>
                </a:lnTo>
                <a:lnTo>
                  <a:pt x="0" y="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Freeform 325"/>
          <p:cNvSpPr/>
          <p:nvPr/>
        </p:nvSpPr>
        <p:spPr bwMode="auto">
          <a:xfrm>
            <a:off x="1724660" y="2499360"/>
            <a:ext cx="229870" cy="92710"/>
          </a:xfrm>
          <a:custGeom>
            <a:avLst/>
            <a:gdLst>
              <a:gd name="T0" fmla="*/ 0 w 296"/>
              <a:gd name="T1" fmla="*/ 2 h 128"/>
              <a:gd name="T2" fmla="*/ 0 w 296"/>
              <a:gd name="T3" fmla="*/ 2 h 128"/>
              <a:gd name="T4" fmla="*/ 0 w 296"/>
              <a:gd name="T5" fmla="*/ 2 h 128"/>
              <a:gd name="T6" fmla="*/ 1 w 296"/>
              <a:gd name="T7" fmla="*/ 2 h 128"/>
              <a:gd name="T8" fmla="*/ 2 w 296"/>
              <a:gd name="T9" fmla="*/ 2 h 128"/>
              <a:gd name="T10" fmla="*/ 4 w 296"/>
              <a:gd name="T11" fmla="*/ 3 h 128"/>
              <a:gd name="T12" fmla="*/ 6 w 296"/>
              <a:gd name="T13" fmla="*/ 2 h 128"/>
              <a:gd name="T14" fmla="*/ 7 w 296"/>
              <a:gd name="T15" fmla="*/ 1 h 128"/>
              <a:gd name="T16" fmla="*/ 6 w 296"/>
              <a:gd name="T17" fmla="*/ 0 h 128"/>
              <a:gd name="T18" fmla="*/ 4 w 296"/>
              <a:gd name="T19" fmla="*/ 0 h 128"/>
              <a:gd name="T20" fmla="*/ 3 w 296"/>
              <a:gd name="T21" fmla="*/ 2 h 128"/>
              <a:gd name="T22" fmla="*/ 0 w 296"/>
              <a:gd name="T23" fmla="*/ 2 h 1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6"/>
              <a:gd name="T37" fmla="*/ 0 h 128"/>
              <a:gd name="T38" fmla="*/ 296 w 296"/>
              <a:gd name="T39" fmla="*/ 128 h 1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6" h="128">
                <a:moveTo>
                  <a:pt x="0" y="71"/>
                </a:moveTo>
                <a:lnTo>
                  <a:pt x="7" y="78"/>
                </a:lnTo>
                <a:lnTo>
                  <a:pt x="8" y="100"/>
                </a:lnTo>
                <a:lnTo>
                  <a:pt x="41" y="106"/>
                </a:lnTo>
                <a:lnTo>
                  <a:pt x="99" y="93"/>
                </a:lnTo>
                <a:lnTo>
                  <a:pt x="166" y="128"/>
                </a:lnTo>
                <a:lnTo>
                  <a:pt x="257" y="105"/>
                </a:lnTo>
                <a:lnTo>
                  <a:pt x="296" y="37"/>
                </a:lnTo>
                <a:lnTo>
                  <a:pt x="279" y="0"/>
                </a:lnTo>
                <a:lnTo>
                  <a:pt x="167" y="1"/>
                </a:lnTo>
                <a:lnTo>
                  <a:pt x="132" y="70"/>
                </a:lnTo>
                <a:lnTo>
                  <a:pt x="0" y="7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Freeform 326"/>
          <p:cNvSpPr/>
          <p:nvPr/>
        </p:nvSpPr>
        <p:spPr bwMode="auto">
          <a:xfrm>
            <a:off x="4059555" y="3338195"/>
            <a:ext cx="142240" cy="193675"/>
          </a:xfrm>
          <a:custGeom>
            <a:avLst/>
            <a:gdLst>
              <a:gd name="T0" fmla="*/ 0 w 179"/>
              <a:gd name="T1" fmla="*/ 2 h 262"/>
              <a:gd name="T2" fmla="*/ 1 w 179"/>
              <a:gd name="T3" fmla="*/ 3 h 262"/>
              <a:gd name="T4" fmla="*/ 1 w 179"/>
              <a:gd name="T5" fmla="*/ 5 h 262"/>
              <a:gd name="T6" fmla="*/ 2 w 179"/>
              <a:gd name="T7" fmla="*/ 5 h 262"/>
              <a:gd name="T8" fmla="*/ 3 w 179"/>
              <a:gd name="T9" fmla="*/ 4 h 262"/>
              <a:gd name="T10" fmla="*/ 3 w 179"/>
              <a:gd name="T11" fmla="*/ 4 h 262"/>
              <a:gd name="T12" fmla="*/ 4 w 179"/>
              <a:gd name="T13" fmla="*/ 6 h 262"/>
              <a:gd name="T14" fmla="*/ 4 w 179"/>
              <a:gd name="T15" fmla="*/ 5 h 262"/>
              <a:gd name="T16" fmla="*/ 4 w 179"/>
              <a:gd name="T17" fmla="*/ 3 h 262"/>
              <a:gd name="T18" fmla="*/ 3 w 179"/>
              <a:gd name="T19" fmla="*/ 4 h 262"/>
              <a:gd name="T20" fmla="*/ 3 w 179"/>
              <a:gd name="T21" fmla="*/ 3 h 262"/>
              <a:gd name="T22" fmla="*/ 4 w 179"/>
              <a:gd name="T23" fmla="*/ 1 h 262"/>
              <a:gd name="T24" fmla="*/ 2 w 179"/>
              <a:gd name="T25" fmla="*/ 1 h 262"/>
              <a:gd name="T26" fmla="*/ 1 w 179"/>
              <a:gd name="T27" fmla="*/ 0 h 262"/>
              <a:gd name="T28" fmla="*/ 0 w 179"/>
              <a:gd name="T29" fmla="*/ 1 h 262"/>
              <a:gd name="T30" fmla="*/ 1 w 179"/>
              <a:gd name="T31" fmla="*/ 1 h 262"/>
              <a:gd name="T32" fmla="*/ 0 w 179"/>
              <a:gd name="T33" fmla="*/ 2 h 26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9"/>
              <a:gd name="T52" fmla="*/ 0 h 262"/>
              <a:gd name="T53" fmla="*/ 179 w 179"/>
              <a:gd name="T54" fmla="*/ 262 h 26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9" h="262">
                <a:moveTo>
                  <a:pt x="0" y="78"/>
                </a:moveTo>
                <a:lnTo>
                  <a:pt x="23" y="105"/>
                </a:lnTo>
                <a:lnTo>
                  <a:pt x="37" y="227"/>
                </a:lnTo>
                <a:lnTo>
                  <a:pt x="86" y="220"/>
                </a:lnTo>
                <a:lnTo>
                  <a:pt x="109" y="168"/>
                </a:lnTo>
                <a:lnTo>
                  <a:pt x="144" y="178"/>
                </a:lnTo>
                <a:lnTo>
                  <a:pt x="165" y="262"/>
                </a:lnTo>
                <a:lnTo>
                  <a:pt x="179" y="214"/>
                </a:lnTo>
                <a:lnTo>
                  <a:pt x="162" y="130"/>
                </a:lnTo>
                <a:lnTo>
                  <a:pt x="144" y="164"/>
                </a:lnTo>
                <a:lnTo>
                  <a:pt x="119" y="120"/>
                </a:lnTo>
                <a:lnTo>
                  <a:pt x="164" y="67"/>
                </a:lnTo>
                <a:lnTo>
                  <a:pt x="79" y="59"/>
                </a:lnTo>
                <a:lnTo>
                  <a:pt x="21" y="0"/>
                </a:lnTo>
                <a:lnTo>
                  <a:pt x="6" y="32"/>
                </a:lnTo>
                <a:lnTo>
                  <a:pt x="24" y="59"/>
                </a:lnTo>
                <a:lnTo>
                  <a:pt x="0" y="7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Freeform 327"/>
          <p:cNvSpPr/>
          <p:nvPr/>
        </p:nvSpPr>
        <p:spPr bwMode="auto">
          <a:xfrm>
            <a:off x="1527810" y="2387600"/>
            <a:ext cx="99060" cy="74930"/>
          </a:xfrm>
          <a:custGeom>
            <a:avLst/>
            <a:gdLst>
              <a:gd name="T0" fmla="*/ 0 w 125"/>
              <a:gd name="T1" fmla="*/ 1 h 104"/>
              <a:gd name="T2" fmla="*/ 1 w 125"/>
              <a:gd name="T3" fmla="*/ 0 h 104"/>
              <a:gd name="T4" fmla="*/ 2 w 125"/>
              <a:gd name="T5" fmla="*/ 0 h 104"/>
              <a:gd name="T6" fmla="*/ 3 w 125"/>
              <a:gd name="T7" fmla="*/ 1 h 104"/>
              <a:gd name="T8" fmla="*/ 3 w 125"/>
              <a:gd name="T9" fmla="*/ 2 h 104"/>
              <a:gd name="T10" fmla="*/ 3 w 125"/>
              <a:gd name="T11" fmla="*/ 2 h 104"/>
              <a:gd name="T12" fmla="*/ 0 w 125"/>
              <a:gd name="T13" fmla="*/ 1 h 10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5"/>
              <a:gd name="T22" fmla="*/ 0 h 104"/>
              <a:gd name="T23" fmla="*/ 125 w 125"/>
              <a:gd name="T24" fmla="*/ 104 h 10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5" h="104">
                <a:moveTo>
                  <a:pt x="0" y="20"/>
                </a:moveTo>
                <a:lnTo>
                  <a:pt x="27" y="5"/>
                </a:lnTo>
                <a:lnTo>
                  <a:pt x="84" y="0"/>
                </a:lnTo>
                <a:lnTo>
                  <a:pt x="122" y="42"/>
                </a:lnTo>
                <a:lnTo>
                  <a:pt x="125" y="74"/>
                </a:lnTo>
                <a:lnTo>
                  <a:pt x="112" y="104"/>
                </a:lnTo>
                <a:lnTo>
                  <a:pt x="0" y="2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Freeform 328"/>
          <p:cNvSpPr/>
          <p:nvPr/>
        </p:nvSpPr>
        <p:spPr bwMode="auto">
          <a:xfrm>
            <a:off x="4086225" y="3275965"/>
            <a:ext cx="99060" cy="56515"/>
          </a:xfrm>
          <a:custGeom>
            <a:avLst/>
            <a:gdLst>
              <a:gd name="T0" fmla="*/ 0 w 121"/>
              <a:gd name="T1" fmla="*/ 1 h 75"/>
              <a:gd name="T2" fmla="*/ 0 w 121"/>
              <a:gd name="T3" fmla="*/ 2 h 75"/>
              <a:gd name="T4" fmla="*/ 3 w 121"/>
              <a:gd name="T5" fmla="*/ 1 h 75"/>
              <a:gd name="T6" fmla="*/ 3 w 121"/>
              <a:gd name="T7" fmla="*/ 1 h 75"/>
              <a:gd name="T8" fmla="*/ 1 w 121"/>
              <a:gd name="T9" fmla="*/ 0 h 75"/>
              <a:gd name="T10" fmla="*/ 0 w 121"/>
              <a:gd name="T11" fmla="*/ 1 h 7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1"/>
              <a:gd name="T19" fmla="*/ 0 h 75"/>
              <a:gd name="T20" fmla="*/ 121 w 121"/>
              <a:gd name="T21" fmla="*/ 75 h 7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1" h="75">
                <a:moveTo>
                  <a:pt x="0" y="46"/>
                </a:moveTo>
                <a:lnTo>
                  <a:pt x="16" y="75"/>
                </a:lnTo>
                <a:lnTo>
                  <a:pt x="121" y="63"/>
                </a:lnTo>
                <a:lnTo>
                  <a:pt x="112" y="22"/>
                </a:lnTo>
                <a:lnTo>
                  <a:pt x="40" y="0"/>
                </a:lnTo>
                <a:lnTo>
                  <a:pt x="0" y="4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Freeform 329"/>
          <p:cNvSpPr/>
          <p:nvPr/>
        </p:nvSpPr>
        <p:spPr bwMode="auto">
          <a:xfrm>
            <a:off x="4838700" y="4053205"/>
            <a:ext cx="34925" cy="34290"/>
          </a:xfrm>
          <a:custGeom>
            <a:avLst/>
            <a:gdLst>
              <a:gd name="T0" fmla="*/ 0 w 47"/>
              <a:gd name="T1" fmla="*/ 1 h 46"/>
              <a:gd name="T2" fmla="*/ 1 w 47"/>
              <a:gd name="T3" fmla="*/ 1 h 46"/>
              <a:gd name="T4" fmla="*/ 1 w 47"/>
              <a:gd name="T5" fmla="*/ 0 h 46"/>
              <a:gd name="T6" fmla="*/ 0 w 47"/>
              <a:gd name="T7" fmla="*/ 1 h 46"/>
              <a:gd name="T8" fmla="*/ 0 60000 65536"/>
              <a:gd name="T9" fmla="*/ 0 60000 65536"/>
              <a:gd name="T10" fmla="*/ 0 60000 65536"/>
              <a:gd name="T11" fmla="*/ 0 60000 65536"/>
              <a:gd name="T12" fmla="*/ 0 w 47"/>
              <a:gd name="T13" fmla="*/ 0 h 46"/>
              <a:gd name="T14" fmla="*/ 47 w 47"/>
              <a:gd name="T15" fmla="*/ 46 h 4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7" h="46">
                <a:moveTo>
                  <a:pt x="0" y="21"/>
                </a:moveTo>
                <a:lnTo>
                  <a:pt x="22" y="46"/>
                </a:lnTo>
                <a:lnTo>
                  <a:pt x="47" y="0"/>
                </a:lnTo>
                <a:lnTo>
                  <a:pt x="0" y="2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Freeform 330"/>
          <p:cNvSpPr/>
          <p:nvPr/>
        </p:nvSpPr>
        <p:spPr bwMode="auto">
          <a:xfrm>
            <a:off x="2112645" y="2681605"/>
            <a:ext cx="183515" cy="116205"/>
          </a:xfrm>
          <a:custGeom>
            <a:avLst/>
            <a:gdLst>
              <a:gd name="T0" fmla="*/ 0 w 237"/>
              <a:gd name="T1" fmla="*/ 3 h 156"/>
              <a:gd name="T2" fmla="*/ 0 w 237"/>
              <a:gd name="T3" fmla="*/ 0 h 156"/>
              <a:gd name="T4" fmla="*/ 5 w 237"/>
              <a:gd name="T5" fmla="*/ 1 h 156"/>
              <a:gd name="T6" fmla="*/ 5 w 237"/>
              <a:gd name="T7" fmla="*/ 2 h 156"/>
              <a:gd name="T8" fmla="*/ 5 w 237"/>
              <a:gd name="T9" fmla="*/ 3 h 156"/>
              <a:gd name="T10" fmla="*/ 3 w 237"/>
              <a:gd name="T11" fmla="*/ 3 h 156"/>
              <a:gd name="T12" fmla="*/ 3 w 237"/>
              <a:gd name="T13" fmla="*/ 4 h 156"/>
              <a:gd name="T14" fmla="*/ 1 w 237"/>
              <a:gd name="T15" fmla="*/ 4 h 156"/>
              <a:gd name="T16" fmla="*/ 0 w 237"/>
              <a:gd name="T17" fmla="*/ 3 h 1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7"/>
              <a:gd name="T28" fmla="*/ 0 h 156"/>
              <a:gd name="T29" fmla="*/ 237 w 237"/>
              <a:gd name="T30" fmla="*/ 156 h 1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7" h="156">
                <a:moveTo>
                  <a:pt x="0" y="107"/>
                </a:moveTo>
                <a:lnTo>
                  <a:pt x="13" y="0"/>
                </a:lnTo>
                <a:lnTo>
                  <a:pt x="237" y="24"/>
                </a:lnTo>
                <a:lnTo>
                  <a:pt x="197" y="91"/>
                </a:lnTo>
                <a:lnTo>
                  <a:pt x="213" y="126"/>
                </a:lnTo>
                <a:lnTo>
                  <a:pt x="154" y="130"/>
                </a:lnTo>
                <a:lnTo>
                  <a:pt x="119" y="156"/>
                </a:lnTo>
                <a:lnTo>
                  <a:pt x="24" y="153"/>
                </a:lnTo>
                <a:lnTo>
                  <a:pt x="0" y="10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Freeform 331"/>
          <p:cNvSpPr/>
          <p:nvPr/>
        </p:nvSpPr>
        <p:spPr bwMode="auto">
          <a:xfrm>
            <a:off x="4187190" y="3283585"/>
            <a:ext cx="271145" cy="603885"/>
          </a:xfrm>
          <a:custGeom>
            <a:avLst/>
            <a:gdLst>
              <a:gd name="T0" fmla="*/ 0 w 345"/>
              <a:gd name="T1" fmla="*/ 8 h 822"/>
              <a:gd name="T2" fmla="*/ 0 w 345"/>
              <a:gd name="T3" fmla="*/ 7 h 822"/>
              <a:gd name="T4" fmla="*/ 3 w 345"/>
              <a:gd name="T5" fmla="*/ 2 h 822"/>
              <a:gd name="T6" fmla="*/ 4 w 345"/>
              <a:gd name="T7" fmla="*/ 1 h 822"/>
              <a:gd name="T8" fmla="*/ 5 w 345"/>
              <a:gd name="T9" fmla="*/ 0 h 822"/>
              <a:gd name="T10" fmla="*/ 6 w 345"/>
              <a:gd name="T11" fmla="*/ 1 h 822"/>
              <a:gd name="T12" fmla="*/ 6 w 345"/>
              <a:gd name="T13" fmla="*/ 2 h 822"/>
              <a:gd name="T14" fmla="*/ 5 w 345"/>
              <a:gd name="T15" fmla="*/ 5 h 822"/>
              <a:gd name="T16" fmla="*/ 6 w 345"/>
              <a:gd name="T17" fmla="*/ 4 h 822"/>
              <a:gd name="T18" fmla="*/ 6 w 345"/>
              <a:gd name="T19" fmla="*/ 6 h 822"/>
              <a:gd name="T20" fmla="*/ 8 w 345"/>
              <a:gd name="T21" fmla="*/ 7 h 822"/>
              <a:gd name="T22" fmla="*/ 7 w 345"/>
              <a:gd name="T23" fmla="*/ 8 h 822"/>
              <a:gd name="T24" fmla="*/ 5 w 345"/>
              <a:gd name="T25" fmla="*/ 9 h 822"/>
              <a:gd name="T26" fmla="*/ 5 w 345"/>
              <a:gd name="T27" fmla="*/ 11 h 822"/>
              <a:gd name="T28" fmla="*/ 6 w 345"/>
              <a:gd name="T29" fmla="*/ 13 h 822"/>
              <a:gd name="T30" fmla="*/ 5 w 345"/>
              <a:gd name="T31" fmla="*/ 14 h 822"/>
              <a:gd name="T32" fmla="*/ 7 w 345"/>
              <a:gd name="T33" fmla="*/ 17 h 822"/>
              <a:gd name="T34" fmla="*/ 6 w 345"/>
              <a:gd name="T35" fmla="*/ 19 h 822"/>
              <a:gd name="T36" fmla="*/ 5 w 345"/>
              <a:gd name="T37" fmla="*/ 13 h 822"/>
              <a:gd name="T38" fmla="*/ 4 w 345"/>
              <a:gd name="T39" fmla="*/ 11 h 822"/>
              <a:gd name="T40" fmla="*/ 3 w 345"/>
              <a:gd name="T41" fmla="*/ 13 h 822"/>
              <a:gd name="T42" fmla="*/ 2 w 345"/>
              <a:gd name="T43" fmla="*/ 13 h 822"/>
              <a:gd name="T44" fmla="*/ 2 w 345"/>
              <a:gd name="T45" fmla="*/ 11 h 822"/>
              <a:gd name="T46" fmla="*/ 0 w 345"/>
              <a:gd name="T47" fmla="*/ 8 h 82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45"/>
              <a:gd name="T73" fmla="*/ 0 h 822"/>
              <a:gd name="T74" fmla="*/ 345 w 345"/>
              <a:gd name="T75" fmla="*/ 822 h 82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45" h="822">
                <a:moveTo>
                  <a:pt x="0" y="337"/>
                </a:moveTo>
                <a:lnTo>
                  <a:pt x="14" y="289"/>
                </a:lnTo>
                <a:lnTo>
                  <a:pt x="114" y="76"/>
                </a:lnTo>
                <a:lnTo>
                  <a:pt x="181" y="48"/>
                </a:lnTo>
                <a:lnTo>
                  <a:pt x="196" y="0"/>
                </a:lnTo>
                <a:lnTo>
                  <a:pt x="247" y="27"/>
                </a:lnTo>
                <a:lnTo>
                  <a:pt x="247" y="71"/>
                </a:lnTo>
                <a:lnTo>
                  <a:pt x="204" y="201"/>
                </a:lnTo>
                <a:lnTo>
                  <a:pt x="249" y="190"/>
                </a:lnTo>
                <a:lnTo>
                  <a:pt x="273" y="278"/>
                </a:lnTo>
                <a:lnTo>
                  <a:pt x="345" y="302"/>
                </a:lnTo>
                <a:lnTo>
                  <a:pt x="309" y="345"/>
                </a:lnTo>
                <a:lnTo>
                  <a:pt x="226" y="401"/>
                </a:lnTo>
                <a:lnTo>
                  <a:pt x="204" y="454"/>
                </a:lnTo>
                <a:lnTo>
                  <a:pt x="249" y="552"/>
                </a:lnTo>
                <a:lnTo>
                  <a:pt x="233" y="612"/>
                </a:lnTo>
                <a:lnTo>
                  <a:pt x="287" y="742"/>
                </a:lnTo>
                <a:lnTo>
                  <a:pt x="247" y="822"/>
                </a:lnTo>
                <a:lnTo>
                  <a:pt x="207" y="540"/>
                </a:lnTo>
                <a:lnTo>
                  <a:pt x="173" y="497"/>
                </a:lnTo>
                <a:lnTo>
                  <a:pt x="118" y="571"/>
                </a:lnTo>
                <a:lnTo>
                  <a:pt x="78" y="556"/>
                </a:lnTo>
                <a:lnTo>
                  <a:pt x="86" y="455"/>
                </a:lnTo>
                <a:lnTo>
                  <a:pt x="0" y="33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Freeform 332"/>
          <p:cNvSpPr/>
          <p:nvPr/>
        </p:nvSpPr>
        <p:spPr bwMode="auto">
          <a:xfrm>
            <a:off x="4496435" y="3738245"/>
            <a:ext cx="147320" cy="139065"/>
          </a:xfrm>
          <a:custGeom>
            <a:avLst/>
            <a:gdLst>
              <a:gd name="T0" fmla="*/ 0 w 190"/>
              <a:gd name="T1" fmla="*/ 1 h 190"/>
              <a:gd name="T2" fmla="*/ 0 w 190"/>
              <a:gd name="T3" fmla="*/ 3 h 190"/>
              <a:gd name="T4" fmla="*/ 1 w 190"/>
              <a:gd name="T5" fmla="*/ 4 h 190"/>
              <a:gd name="T6" fmla="*/ 2 w 190"/>
              <a:gd name="T7" fmla="*/ 4 h 190"/>
              <a:gd name="T8" fmla="*/ 4 w 190"/>
              <a:gd name="T9" fmla="*/ 2 h 190"/>
              <a:gd name="T10" fmla="*/ 4 w 190"/>
              <a:gd name="T11" fmla="*/ 0 h 190"/>
              <a:gd name="T12" fmla="*/ 2 w 190"/>
              <a:gd name="T13" fmla="*/ 0 h 190"/>
              <a:gd name="T14" fmla="*/ 1 w 190"/>
              <a:gd name="T15" fmla="*/ 0 h 190"/>
              <a:gd name="T16" fmla="*/ 0 w 190"/>
              <a:gd name="T17" fmla="*/ 1 h 1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0"/>
              <a:gd name="T28" fmla="*/ 0 h 190"/>
              <a:gd name="T29" fmla="*/ 190 w 190"/>
              <a:gd name="T30" fmla="*/ 190 h 19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0" h="190">
                <a:moveTo>
                  <a:pt x="0" y="37"/>
                </a:moveTo>
                <a:lnTo>
                  <a:pt x="12" y="132"/>
                </a:lnTo>
                <a:lnTo>
                  <a:pt x="39" y="182"/>
                </a:lnTo>
                <a:lnTo>
                  <a:pt x="73" y="190"/>
                </a:lnTo>
                <a:lnTo>
                  <a:pt x="190" y="102"/>
                </a:lnTo>
                <a:lnTo>
                  <a:pt x="187" y="0"/>
                </a:lnTo>
                <a:lnTo>
                  <a:pt x="101" y="16"/>
                </a:lnTo>
                <a:lnTo>
                  <a:pt x="25" y="13"/>
                </a:lnTo>
                <a:lnTo>
                  <a:pt x="0" y="3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Freeform 333"/>
          <p:cNvSpPr/>
          <p:nvPr/>
        </p:nvSpPr>
        <p:spPr bwMode="auto">
          <a:xfrm>
            <a:off x="3821430" y="3898900"/>
            <a:ext cx="54610" cy="123825"/>
          </a:xfrm>
          <a:custGeom>
            <a:avLst/>
            <a:gdLst>
              <a:gd name="T0" fmla="*/ 0 w 72"/>
              <a:gd name="T1" fmla="*/ 0 h 166"/>
              <a:gd name="T2" fmla="*/ 0 w 72"/>
              <a:gd name="T3" fmla="*/ 4 h 166"/>
              <a:gd name="T4" fmla="*/ 2 w 72"/>
              <a:gd name="T5" fmla="*/ 3 h 166"/>
              <a:gd name="T6" fmla="*/ 1 w 72"/>
              <a:gd name="T7" fmla="*/ 1 h 166"/>
              <a:gd name="T8" fmla="*/ 0 w 72"/>
              <a:gd name="T9" fmla="*/ 0 h 1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2"/>
              <a:gd name="T16" fmla="*/ 0 h 166"/>
              <a:gd name="T17" fmla="*/ 72 w 72"/>
              <a:gd name="T18" fmla="*/ 166 h 1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2" h="166">
                <a:moveTo>
                  <a:pt x="0" y="0"/>
                </a:moveTo>
                <a:lnTo>
                  <a:pt x="13" y="166"/>
                </a:lnTo>
                <a:lnTo>
                  <a:pt x="72" y="138"/>
                </a:lnTo>
                <a:lnTo>
                  <a:pt x="45" y="4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Freeform 334"/>
          <p:cNvSpPr/>
          <p:nvPr/>
        </p:nvSpPr>
        <p:spPr bwMode="auto">
          <a:xfrm>
            <a:off x="3635375" y="2297430"/>
            <a:ext cx="1824355" cy="1255395"/>
          </a:xfrm>
          <a:custGeom>
            <a:avLst/>
            <a:gdLst>
              <a:gd name="T0" fmla="*/ 0 w 2339"/>
              <a:gd name="T1" fmla="*/ 17 h 1707"/>
              <a:gd name="T2" fmla="*/ 6 w 2339"/>
              <a:gd name="T3" fmla="*/ 15 h 1707"/>
              <a:gd name="T4" fmla="*/ 5 w 2339"/>
              <a:gd name="T5" fmla="*/ 11 h 1707"/>
              <a:gd name="T6" fmla="*/ 8 w 2339"/>
              <a:gd name="T7" fmla="*/ 8 h 1707"/>
              <a:gd name="T8" fmla="*/ 11 w 2339"/>
              <a:gd name="T9" fmla="*/ 7 h 1707"/>
              <a:gd name="T10" fmla="*/ 13 w 2339"/>
              <a:gd name="T11" fmla="*/ 7 h 1707"/>
              <a:gd name="T12" fmla="*/ 15 w 2339"/>
              <a:gd name="T13" fmla="*/ 11 h 1707"/>
              <a:gd name="T14" fmla="*/ 21 w 2339"/>
              <a:gd name="T15" fmla="*/ 14 h 1707"/>
              <a:gd name="T16" fmla="*/ 28 w 2339"/>
              <a:gd name="T17" fmla="*/ 15 h 1707"/>
              <a:gd name="T18" fmla="*/ 34 w 2339"/>
              <a:gd name="T19" fmla="*/ 13 h 1707"/>
              <a:gd name="T20" fmla="*/ 35 w 2339"/>
              <a:gd name="T21" fmla="*/ 11 h 1707"/>
              <a:gd name="T22" fmla="*/ 40 w 2339"/>
              <a:gd name="T23" fmla="*/ 9 h 1707"/>
              <a:gd name="T24" fmla="*/ 37 w 2339"/>
              <a:gd name="T25" fmla="*/ 8 h 1707"/>
              <a:gd name="T26" fmla="*/ 38 w 2339"/>
              <a:gd name="T27" fmla="*/ 5 h 1707"/>
              <a:gd name="T28" fmla="*/ 40 w 2339"/>
              <a:gd name="T29" fmla="*/ 5 h 1707"/>
              <a:gd name="T30" fmla="*/ 41 w 2339"/>
              <a:gd name="T31" fmla="*/ 1 h 1707"/>
              <a:gd name="T32" fmla="*/ 46 w 2339"/>
              <a:gd name="T33" fmla="*/ 1 h 1707"/>
              <a:gd name="T34" fmla="*/ 50 w 2339"/>
              <a:gd name="T35" fmla="*/ 6 h 1707"/>
              <a:gd name="T36" fmla="*/ 54 w 2339"/>
              <a:gd name="T37" fmla="*/ 7 h 1707"/>
              <a:gd name="T38" fmla="*/ 51 w 2339"/>
              <a:gd name="T39" fmla="*/ 12 h 1707"/>
              <a:gd name="T40" fmla="*/ 50 w 2339"/>
              <a:gd name="T41" fmla="*/ 14 h 1707"/>
              <a:gd name="T42" fmla="*/ 48 w 2339"/>
              <a:gd name="T43" fmla="*/ 15 h 1707"/>
              <a:gd name="T44" fmla="*/ 47 w 2339"/>
              <a:gd name="T45" fmla="*/ 15 h 1707"/>
              <a:gd name="T46" fmla="*/ 42 w 2339"/>
              <a:gd name="T47" fmla="*/ 19 h 1707"/>
              <a:gd name="T48" fmla="*/ 42 w 2339"/>
              <a:gd name="T49" fmla="*/ 16 h 1707"/>
              <a:gd name="T50" fmla="*/ 39 w 2339"/>
              <a:gd name="T51" fmla="*/ 19 h 1707"/>
              <a:gd name="T52" fmla="*/ 42 w 2339"/>
              <a:gd name="T53" fmla="*/ 20 h 1707"/>
              <a:gd name="T54" fmla="*/ 41 w 2339"/>
              <a:gd name="T55" fmla="*/ 22 h 1707"/>
              <a:gd name="T56" fmla="*/ 43 w 2339"/>
              <a:gd name="T57" fmla="*/ 27 h 1707"/>
              <a:gd name="T58" fmla="*/ 43 w 2339"/>
              <a:gd name="T59" fmla="*/ 28 h 1707"/>
              <a:gd name="T60" fmla="*/ 43 w 2339"/>
              <a:gd name="T61" fmla="*/ 29 h 1707"/>
              <a:gd name="T62" fmla="*/ 38 w 2339"/>
              <a:gd name="T63" fmla="*/ 36 h 1707"/>
              <a:gd name="T64" fmla="*/ 36 w 2339"/>
              <a:gd name="T65" fmla="*/ 37 h 1707"/>
              <a:gd name="T66" fmla="*/ 35 w 2339"/>
              <a:gd name="T67" fmla="*/ 38 h 1707"/>
              <a:gd name="T68" fmla="*/ 32 w 2339"/>
              <a:gd name="T69" fmla="*/ 39 h 1707"/>
              <a:gd name="T70" fmla="*/ 30 w 2339"/>
              <a:gd name="T71" fmla="*/ 38 h 1707"/>
              <a:gd name="T72" fmla="*/ 25 w 2339"/>
              <a:gd name="T73" fmla="*/ 37 h 1707"/>
              <a:gd name="T74" fmla="*/ 25 w 2339"/>
              <a:gd name="T75" fmla="*/ 38 h 1707"/>
              <a:gd name="T76" fmla="*/ 23 w 2339"/>
              <a:gd name="T77" fmla="*/ 37 h 1707"/>
              <a:gd name="T78" fmla="*/ 21 w 2339"/>
              <a:gd name="T79" fmla="*/ 36 h 1707"/>
              <a:gd name="T80" fmla="*/ 22 w 2339"/>
              <a:gd name="T81" fmla="*/ 32 h 1707"/>
              <a:gd name="T82" fmla="*/ 20 w 2339"/>
              <a:gd name="T83" fmla="*/ 30 h 1707"/>
              <a:gd name="T84" fmla="*/ 16 w 2339"/>
              <a:gd name="T85" fmla="*/ 31 h 1707"/>
              <a:gd name="T86" fmla="*/ 13 w 2339"/>
              <a:gd name="T87" fmla="*/ 32 h 1707"/>
              <a:gd name="T88" fmla="*/ 13 w 2339"/>
              <a:gd name="T89" fmla="*/ 31 h 1707"/>
              <a:gd name="T90" fmla="*/ 9 w 2339"/>
              <a:gd name="T91" fmla="*/ 30 h 1707"/>
              <a:gd name="T92" fmla="*/ 5 w 2339"/>
              <a:gd name="T93" fmla="*/ 28 h 1707"/>
              <a:gd name="T94" fmla="*/ 5 w 2339"/>
              <a:gd name="T95" fmla="*/ 26 h 1707"/>
              <a:gd name="T96" fmla="*/ 6 w 2339"/>
              <a:gd name="T97" fmla="*/ 23 h 1707"/>
              <a:gd name="T98" fmla="*/ 3 w 2339"/>
              <a:gd name="T99" fmla="*/ 23 h 1707"/>
              <a:gd name="T100" fmla="*/ 1 w 2339"/>
              <a:gd name="T101" fmla="*/ 20 h 1707"/>
              <a:gd name="T102" fmla="*/ 0 w 2339"/>
              <a:gd name="T103" fmla="*/ 19 h 170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339"/>
              <a:gd name="T157" fmla="*/ 0 h 1707"/>
              <a:gd name="T158" fmla="*/ 2339 w 2339"/>
              <a:gd name="T159" fmla="*/ 1707 h 170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339" h="1707">
                <a:moveTo>
                  <a:pt x="0" y="812"/>
                </a:moveTo>
                <a:lnTo>
                  <a:pt x="15" y="747"/>
                </a:lnTo>
                <a:lnTo>
                  <a:pt x="98" y="730"/>
                </a:lnTo>
                <a:lnTo>
                  <a:pt x="245" y="642"/>
                </a:lnTo>
                <a:lnTo>
                  <a:pt x="267" y="572"/>
                </a:lnTo>
                <a:lnTo>
                  <a:pt x="238" y="491"/>
                </a:lnTo>
                <a:lnTo>
                  <a:pt x="331" y="469"/>
                </a:lnTo>
                <a:lnTo>
                  <a:pt x="357" y="362"/>
                </a:lnTo>
                <a:lnTo>
                  <a:pt x="454" y="368"/>
                </a:lnTo>
                <a:lnTo>
                  <a:pt x="465" y="299"/>
                </a:lnTo>
                <a:lnTo>
                  <a:pt x="539" y="264"/>
                </a:lnTo>
                <a:lnTo>
                  <a:pt x="578" y="322"/>
                </a:lnTo>
                <a:lnTo>
                  <a:pt x="633" y="345"/>
                </a:lnTo>
                <a:lnTo>
                  <a:pt x="652" y="469"/>
                </a:lnTo>
                <a:lnTo>
                  <a:pt x="821" y="519"/>
                </a:lnTo>
                <a:lnTo>
                  <a:pt x="892" y="606"/>
                </a:lnTo>
                <a:lnTo>
                  <a:pt x="1033" y="602"/>
                </a:lnTo>
                <a:lnTo>
                  <a:pt x="1190" y="667"/>
                </a:lnTo>
                <a:lnTo>
                  <a:pt x="1395" y="606"/>
                </a:lnTo>
                <a:lnTo>
                  <a:pt x="1459" y="557"/>
                </a:lnTo>
                <a:lnTo>
                  <a:pt x="1459" y="488"/>
                </a:lnTo>
                <a:lnTo>
                  <a:pt x="1518" y="496"/>
                </a:lnTo>
                <a:lnTo>
                  <a:pt x="1649" y="398"/>
                </a:lnTo>
                <a:lnTo>
                  <a:pt x="1748" y="392"/>
                </a:lnTo>
                <a:lnTo>
                  <a:pt x="1701" y="318"/>
                </a:lnTo>
                <a:lnTo>
                  <a:pt x="1604" y="337"/>
                </a:lnTo>
                <a:lnTo>
                  <a:pt x="1603" y="254"/>
                </a:lnTo>
                <a:lnTo>
                  <a:pt x="1627" y="207"/>
                </a:lnTo>
                <a:lnTo>
                  <a:pt x="1684" y="234"/>
                </a:lnTo>
                <a:lnTo>
                  <a:pt x="1738" y="204"/>
                </a:lnTo>
                <a:lnTo>
                  <a:pt x="1795" y="92"/>
                </a:lnTo>
                <a:lnTo>
                  <a:pt x="1770" y="51"/>
                </a:lnTo>
                <a:lnTo>
                  <a:pt x="1908" y="0"/>
                </a:lnTo>
                <a:lnTo>
                  <a:pt x="1986" y="35"/>
                </a:lnTo>
                <a:lnTo>
                  <a:pt x="2056" y="224"/>
                </a:lnTo>
                <a:lnTo>
                  <a:pt x="2173" y="266"/>
                </a:lnTo>
                <a:lnTo>
                  <a:pt x="2193" y="335"/>
                </a:lnTo>
                <a:lnTo>
                  <a:pt x="2339" y="291"/>
                </a:lnTo>
                <a:lnTo>
                  <a:pt x="2270" y="475"/>
                </a:lnTo>
                <a:lnTo>
                  <a:pt x="2185" y="503"/>
                </a:lnTo>
                <a:lnTo>
                  <a:pt x="2198" y="572"/>
                </a:lnTo>
                <a:lnTo>
                  <a:pt x="2173" y="615"/>
                </a:lnTo>
                <a:lnTo>
                  <a:pt x="2159" y="602"/>
                </a:lnTo>
                <a:lnTo>
                  <a:pt x="2083" y="652"/>
                </a:lnTo>
                <a:lnTo>
                  <a:pt x="2083" y="679"/>
                </a:lnTo>
                <a:lnTo>
                  <a:pt x="2030" y="670"/>
                </a:lnTo>
                <a:lnTo>
                  <a:pt x="1936" y="753"/>
                </a:lnTo>
                <a:lnTo>
                  <a:pt x="1819" y="820"/>
                </a:lnTo>
                <a:lnTo>
                  <a:pt x="1857" y="730"/>
                </a:lnTo>
                <a:lnTo>
                  <a:pt x="1838" y="701"/>
                </a:lnTo>
                <a:lnTo>
                  <a:pt x="1684" y="801"/>
                </a:lnTo>
                <a:lnTo>
                  <a:pt x="1681" y="829"/>
                </a:lnTo>
                <a:lnTo>
                  <a:pt x="1732" y="894"/>
                </a:lnTo>
                <a:lnTo>
                  <a:pt x="1800" y="866"/>
                </a:lnTo>
                <a:lnTo>
                  <a:pt x="1869" y="890"/>
                </a:lnTo>
                <a:lnTo>
                  <a:pt x="1777" y="941"/>
                </a:lnTo>
                <a:lnTo>
                  <a:pt x="1739" y="1013"/>
                </a:lnTo>
                <a:lnTo>
                  <a:pt x="1841" y="1167"/>
                </a:lnTo>
                <a:lnTo>
                  <a:pt x="1773" y="1154"/>
                </a:lnTo>
                <a:lnTo>
                  <a:pt x="1841" y="1208"/>
                </a:lnTo>
                <a:lnTo>
                  <a:pt x="1776" y="1240"/>
                </a:lnTo>
                <a:lnTo>
                  <a:pt x="1846" y="1255"/>
                </a:lnTo>
                <a:lnTo>
                  <a:pt x="1716" y="1504"/>
                </a:lnTo>
                <a:lnTo>
                  <a:pt x="1630" y="1579"/>
                </a:lnTo>
                <a:lnTo>
                  <a:pt x="1546" y="1602"/>
                </a:lnTo>
                <a:lnTo>
                  <a:pt x="1540" y="1603"/>
                </a:lnTo>
                <a:lnTo>
                  <a:pt x="1518" y="1589"/>
                </a:lnTo>
                <a:lnTo>
                  <a:pt x="1498" y="1629"/>
                </a:lnTo>
                <a:lnTo>
                  <a:pt x="1399" y="1654"/>
                </a:lnTo>
                <a:lnTo>
                  <a:pt x="1390" y="1707"/>
                </a:lnTo>
                <a:lnTo>
                  <a:pt x="1373" y="1643"/>
                </a:lnTo>
                <a:lnTo>
                  <a:pt x="1306" y="1648"/>
                </a:lnTo>
                <a:lnTo>
                  <a:pt x="1204" y="1572"/>
                </a:lnTo>
                <a:lnTo>
                  <a:pt x="1089" y="1606"/>
                </a:lnTo>
                <a:lnTo>
                  <a:pt x="1066" y="1607"/>
                </a:lnTo>
                <a:lnTo>
                  <a:pt x="1068" y="1654"/>
                </a:lnTo>
                <a:lnTo>
                  <a:pt x="1052" y="1642"/>
                </a:lnTo>
                <a:lnTo>
                  <a:pt x="980" y="1618"/>
                </a:lnTo>
                <a:lnTo>
                  <a:pt x="956" y="1530"/>
                </a:lnTo>
                <a:lnTo>
                  <a:pt x="911" y="1541"/>
                </a:lnTo>
                <a:lnTo>
                  <a:pt x="954" y="1411"/>
                </a:lnTo>
                <a:lnTo>
                  <a:pt x="954" y="1367"/>
                </a:lnTo>
                <a:lnTo>
                  <a:pt x="903" y="1340"/>
                </a:lnTo>
                <a:lnTo>
                  <a:pt x="864" y="1322"/>
                </a:lnTo>
                <a:lnTo>
                  <a:pt x="852" y="1273"/>
                </a:lnTo>
                <a:lnTo>
                  <a:pt x="691" y="1354"/>
                </a:lnTo>
                <a:lnTo>
                  <a:pt x="619" y="1332"/>
                </a:lnTo>
                <a:lnTo>
                  <a:pt x="579" y="1378"/>
                </a:lnTo>
                <a:lnTo>
                  <a:pt x="574" y="1345"/>
                </a:lnTo>
                <a:lnTo>
                  <a:pt x="549" y="1353"/>
                </a:lnTo>
                <a:lnTo>
                  <a:pt x="467" y="1353"/>
                </a:lnTo>
                <a:lnTo>
                  <a:pt x="402" y="1282"/>
                </a:lnTo>
                <a:lnTo>
                  <a:pt x="283" y="1236"/>
                </a:lnTo>
                <a:lnTo>
                  <a:pt x="201" y="1205"/>
                </a:lnTo>
                <a:lnTo>
                  <a:pt x="184" y="1128"/>
                </a:lnTo>
                <a:lnTo>
                  <a:pt x="223" y="1119"/>
                </a:lnTo>
                <a:lnTo>
                  <a:pt x="199" y="1056"/>
                </a:lnTo>
                <a:lnTo>
                  <a:pt x="252" y="983"/>
                </a:lnTo>
                <a:lnTo>
                  <a:pt x="212" y="958"/>
                </a:lnTo>
                <a:lnTo>
                  <a:pt x="150" y="985"/>
                </a:lnTo>
                <a:lnTo>
                  <a:pt x="38" y="901"/>
                </a:lnTo>
                <a:lnTo>
                  <a:pt x="42" y="890"/>
                </a:lnTo>
                <a:lnTo>
                  <a:pt x="42" y="830"/>
                </a:lnTo>
                <a:lnTo>
                  <a:pt x="0" y="81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Freeform 335"/>
          <p:cNvSpPr/>
          <p:nvPr/>
        </p:nvSpPr>
        <p:spPr bwMode="auto">
          <a:xfrm>
            <a:off x="4681855" y="3562985"/>
            <a:ext cx="66040" cy="56515"/>
          </a:xfrm>
          <a:custGeom>
            <a:avLst/>
            <a:gdLst>
              <a:gd name="T0" fmla="*/ 0 w 84"/>
              <a:gd name="T1" fmla="*/ 1 h 80"/>
              <a:gd name="T2" fmla="*/ 1 w 84"/>
              <a:gd name="T3" fmla="*/ 0 h 80"/>
              <a:gd name="T4" fmla="*/ 2 w 84"/>
              <a:gd name="T5" fmla="*/ 0 h 80"/>
              <a:gd name="T6" fmla="*/ 1 w 84"/>
              <a:gd name="T7" fmla="*/ 2 h 80"/>
              <a:gd name="T8" fmla="*/ 0 w 84"/>
              <a:gd name="T9" fmla="*/ 1 h 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4"/>
              <a:gd name="T16" fmla="*/ 0 h 80"/>
              <a:gd name="T17" fmla="*/ 84 w 84"/>
              <a:gd name="T18" fmla="*/ 80 h 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4" h="80">
                <a:moveTo>
                  <a:pt x="0" y="65"/>
                </a:moveTo>
                <a:lnTo>
                  <a:pt x="27" y="0"/>
                </a:lnTo>
                <a:lnTo>
                  <a:pt x="84" y="15"/>
                </a:lnTo>
                <a:lnTo>
                  <a:pt x="38" y="80"/>
                </a:lnTo>
                <a:lnTo>
                  <a:pt x="0" y="6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Freeform 336"/>
          <p:cNvSpPr/>
          <p:nvPr/>
        </p:nvSpPr>
        <p:spPr bwMode="auto">
          <a:xfrm>
            <a:off x="5019040" y="3389630"/>
            <a:ext cx="51435" cy="106045"/>
          </a:xfrm>
          <a:custGeom>
            <a:avLst/>
            <a:gdLst>
              <a:gd name="T0" fmla="*/ 0 w 67"/>
              <a:gd name="T1" fmla="*/ 1 h 144"/>
              <a:gd name="T2" fmla="*/ 1 w 67"/>
              <a:gd name="T3" fmla="*/ 3 h 144"/>
              <a:gd name="T4" fmla="*/ 1 w 67"/>
              <a:gd name="T5" fmla="*/ 0 h 144"/>
              <a:gd name="T6" fmla="*/ 1 w 67"/>
              <a:gd name="T7" fmla="*/ 0 h 144"/>
              <a:gd name="T8" fmla="*/ 0 w 67"/>
              <a:gd name="T9" fmla="*/ 1 h 1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7"/>
              <a:gd name="T16" fmla="*/ 0 h 144"/>
              <a:gd name="T17" fmla="*/ 67 w 67"/>
              <a:gd name="T18" fmla="*/ 144 h 14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7" h="144">
                <a:moveTo>
                  <a:pt x="0" y="60"/>
                </a:moveTo>
                <a:lnTo>
                  <a:pt x="28" y="144"/>
                </a:lnTo>
                <a:lnTo>
                  <a:pt x="67" y="0"/>
                </a:lnTo>
                <a:lnTo>
                  <a:pt x="33" y="2"/>
                </a:lnTo>
                <a:lnTo>
                  <a:pt x="0" y="6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Freeform 337"/>
          <p:cNvSpPr/>
          <p:nvPr/>
        </p:nvSpPr>
        <p:spPr bwMode="auto">
          <a:xfrm>
            <a:off x="1795780" y="2400300"/>
            <a:ext cx="317500" cy="139065"/>
          </a:xfrm>
          <a:custGeom>
            <a:avLst/>
            <a:gdLst>
              <a:gd name="T0" fmla="*/ 0 w 403"/>
              <a:gd name="T1" fmla="*/ 1 h 190"/>
              <a:gd name="T2" fmla="*/ 2 w 403"/>
              <a:gd name="T3" fmla="*/ 3 h 190"/>
              <a:gd name="T4" fmla="*/ 4 w 403"/>
              <a:gd name="T5" fmla="*/ 3 h 190"/>
              <a:gd name="T6" fmla="*/ 5 w 403"/>
              <a:gd name="T7" fmla="*/ 4 h 190"/>
              <a:gd name="T8" fmla="*/ 6 w 403"/>
              <a:gd name="T9" fmla="*/ 4 h 190"/>
              <a:gd name="T10" fmla="*/ 8 w 403"/>
              <a:gd name="T11" fmla="*/ 3 h 190"/>
              <a:gd name="T12" fmla="*/ 9 w 403"/>
              <a:gd name="T13" fmla="*/ 4 h 190"/>
              <a:gd name="T14" fmla="*/ 9 w 403"/>
              <a:gd name="T15" fmla="*/ 3 h 190"/>
              <a:gd name="T16" fmla="*/ 7 w 403"/>
              <a:gd name="T17" fmla="*/ 3 h 190"/>
              <a:gd name="T18" fmla="*/ 3 w 403"/>
              <a:gd name="T19" fmla="*/ 0 h 190"/>
              <a:gd name="T20" fmla="*/ 2 w 403"/>
              <a:gd name="T21" fmla="*/ 0 h 190"/>
              <a:gd name="T22" fmla="*/ 0 w 403"/>
              <a:gd name="T23" fmla="*/ 1 h 1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3"/>
              <a:gd name="T37" fmla="*/ 0 h 190"/>
              <a:gd name="T38" fmla="*/ 403 w 403"/>
              <a:gd name="T39" fmla="*/ 190 h 19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3" h="190">
                <a:moveTo>
                  <a:pt x="0" y="47"/>
                </a:moveTo>
                <a:lnTo>
                  <a:pt x="72" y="135"/>
                </a:lnTo>
                <a:lnTo>
                  <a:pt x="184" y="134"/>
                </a:lnTo>
                <a:lnTo>
                  <a:pt x="201" y="171"/>
                </a:lnTo>
                <a:lnTo>
                  <a:pt x="251" y="190"/>
                </a:lnTo>
                <a:lnTo>
                  <a:pt x="340" y="146"/>
                </a:lnTo>
                <a:lnTo>
                  <a:pt x="392" y="155"/>
                </a:lnTo>
                <a:lnTo>
                  <a:pt x="403" y="117"/>
                </a:lnTo>
                <a:lnTo>
                  <a:pt x="306" y="106"/>
                </a:lnTo>
                <a:lnTo>
                  <a:pt x="110" y="17"/>
                </a:lnTo>
                <a:lnTo>
                  <a:pt x="87" y="0"/>
                </a:lnTo>
                <a:lnTo>
                  <a:pt x="0" y="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338"/>
          <p:cNvSpPr/>
          <p:nvPr/>
        </p:nvSpPr>
        <p:spPr bwMode="auto">
          <a:xfrm>
            <a:off x="1686560" y="2106295"/>
            <a:ext cx="79375" cy="128905"/>
          </a:xfrm>
          <a:custGeom>
            <a:avLst/>
            <a:gdLst>
              <a:gd name="T0" fmla="*/ 0 w 100"/>
              <a:gd name="T1" fmla="*/ 3 h 175"/>
              <a:gd name="T2" fmla="*/ 0 w 100"/>
              <a:gd name="T3" fmla="*/ 1 h 175"/>
              <a:gd name="T4" fmla="*/ 2 w 100"/>
              <a:gd name="T5" fmla="*/ 0 h 175"/>
              <a:gd name="T6" fmla="*/ 2 w 100"/>
              <a:gd name="T7" fmla="*/ 2 h 175"/>
              <a:gd name="T8" fmla="*/ 2 w 100"/>
              <a:gd name="T9" fmla="*/ 2 h 175"/>
              <a:gd name="T10" fmla="*/ 1 w 100"/>
              <a:gd name="T11" fmla="*/ 3 h 175"/>
              <a:gd name="T12" fmla="*/ 1 w 100"/>
              <a:gd name="T13" fmla="*/ 4 h 175"/>
              <a:gd name="T14" fmla="*/ 0 w 100"/>
              <a:gd name="T15" fmla="*/ 4 h 175"/>
              <a:gd name="T16" fmla="*/ 0 w 100"/>
              <a:gd name="T17" fmla="*/ 3 h 1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0"/>
              <a:gd name="T28" fmla="*/ 0 h 175"/>
              <a:gd name="T29" fmla="*/ 100 w 100"/>
              <a:gd name="T30" fmla="*/ 175 h 17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0" h="175">
                <a:moveTo>
                  <a:pt x="0" y="133"/>
                </a:moveTo>
                <a:lnTo>
                  <a:pt x="6" y="47"/>
                </a:lnTo>
                <a:lnTo>
                  <a:pt x="87" y="0"/>
                </a:lnTo>
                <a:lnTo>
                  <a:pt x="72" y="69"/>
                </a:lnTo>
                <a:lnTo>
                  <a:pt x="100" y="89"/>
                </a:lnTo>
                <a:lnTo>
                  <a:pt x="48" y="127"/>
                </a:lnTo>
                <a:lnTo>
                  <a:pt x="46" y="175"/>
                </a:lnTo>
                <a:lnTo>
                  <a:pt x="16" y="175"/>
                </a:lnTo>
                <a:lnTo>
                  <a:pt x="0" y="13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Freeform 339"/>
          <p:cNvSpPr/>
          <p:nvPr/>
        </p:nvSpPr>
        <p:spPr bwMode="auto">
          <a:xfrm>
            <a:off x="1737995" y="2204720"/>
            <a:ext cx="27940" cy="15240"/>
          </a:xfrm>
          <a:custGeom>
            <a:avLst/>
            <a:gdLst>
              <a:gd name="T0" fmla="*/ 0 w 36"/>
              <a:gd name="T1" fmla="*/ 1 h 22"/>
              <a:gd name="T2" fmla="*/ 1 w 36"/>
              <a:gd name="T3" fmla="*/ 0 h 22"/>
              <a:gd name="T4" fmla="*/ 1 w 36"/>
              <a:gd name="T5" fmla="*/ 0 h 22"/>
              <a:gd name="T6" fmla="*/ 0 w 36"/>
              <a:gd name="T7" fmla="*/ 1 h 22"/>
              <a:gd name="T8" fmla="*/ 0 60000 65536"/>
              <a:gd name="T9" fmla="*/ 0 60000 65536"/>
              <a:gd name="T10" fmla="*/ 0 60000 65536"/>
              <a:gd name="T11" fmla="*/ 0 60000 65536"/>
              <a:gd name="T12" fmla="*/ 0 w 36"/>
              <a:gd name="T13" fmla="*/ 0 h 22"/>
              <a:gd name="T14" fmla="*/ 36 w 36"/>
              <a:gd name="T15" fmla="*/ 22 h 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" h="22">
                <a:moveTo>
                  <a:pt x="0" y="22"/>
                </a:moveTo>
                <a:lnTo>
                  <a:pt x="30" y="0"/>
                </a:lnTo>
                <a:lnTo>
                  <a:pt x="36" y="14"/>
                </a:lnTo>
                <a:lnTo>
                  <a:pt x="0" y="2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Freeform 340"/>
          <p:cNvSpPr/>
          <p:nvPr/>
        </p:nvSpPr>
        <p:spPr bwMode="auto">
          <a:xfrm>
            <a:off x="1776095" y="2175510"/>
            <a:ext cx="46355" cy="54610"/>
          </a:xfrm>
          <a:custGeom>
            <a:avLst/>
            <a:gdLst>
              <a:gd name="T0" fmla="*/ 0 w 61"/>
              <a:gd name="T1" fmla="*/ 1 h 74"/>
              <a:gd name="T2" fmla="*/ 1 w 61"/>
              <a:gd name="T3" fmla="*/ 2 h 74"/>
              <a:gd name="T4" fmla="*/ 1 w 61"/>
              <a:gd name="T5" fmla="*/ 1 h 74"/>
              <a:gd name="T6" fmla="*/ 1 w 61"/>
              <a:gd name="T7" fmla="*/ 0 h 74"/>
              <a:gd name="T8" fmla="*/ 0 w 61"/>
              <a:gd name="T9" fmla="*/ 1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1"/>
              <a:gd name="T16" fmla="*/ 0 h 74"/>
              <a:gd name="T17" fmla="*/ 61 w 61"/>
              <a:gd name="T18" fmla="*/ 74 h 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1" h="74">
                <a:moveTo>
                  <a:pt x="0" y="39"/>
                </a:moveTo>
                <a:lnTo>
                  <a:pt x="48" y="74"/>
                </a:lnTo>
                <a:lnTo>
                  <a:pt x="61" y="38"/>
                </a:lnTo>
                <a:lnTo>
                  <a:pt x="52" y="0"/>
                </a:lnTo>
                <a:lnTo>
                  <a:pt x="0" y="3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Freeform 341"/>
          <p:cNvSpPr/>
          <p:nvPr/>
        </p:nvSpPr>
        <p:spPr bwMode="auto">
          <a:xfrm>
            <a:off x="2055495" y="1468755"/>
            <a:ext cx="325755" cy="534670"/>
          </a:xfrm>
          <a:custGeom>
            <a:avLst/>
            <a:gdLst>
              <a:gd name="T0" fmla="*/ 0 w 416"/>
              <a:gd name="T1" fmla="*/ 2 h 726"/>
              <a:gd name="T2" fmla="*/ 1 w 416"/>
              <a:gd name="T3" fmla="*/ 1 h 726"/>
              <a:gd name="T4" fmla="*/ 2 w 416"/>
              <a:gd name="T5" fmla="*/ 2 h 726"/>
              <a:gd name="T6" fmla="*/ 3 w 416"/>
              <a:gd name="T7" fmla="*/ 3 h 726"/>
              <a:gd name="T8" fmla="*/ 5 w 416"/>
              <a:gd name="T9" fmla="*/ 2 h 726"/>
              <a:gd name="T10" fmla="*/ 5 w 416"/>
              <a:gd name="T11" fmla="*/ 0 h 726"/>
              <a:gd name="T12" fmla="*/ 7 w 416"/>
              <a:gd name="T13" fmla="*/ 0 h 726"/>
              <a:gd name="T14" fmla="*/ 8 w 416"/>
              <a:gd name="T15" fmla="*/ 1 h 726"/>
              <a:gd name="T16" fmla="*/ 7 w 416"/>
              <a:gd name="T17" fmla="*/ 2 h 726"/>
              <a:gd name="T18" fmla="*/ 7 w 416"/>
              <a:gd name="T19" fmla="*/ 3 h 726"/>
              <a:gd name="T20" fmla="*/ 9 w 416"/>
              <a:gd name="T21" fmla="*/ 4 h 726"/>
              <a:gd name="T22" fmla="*/ 8 w 416"/>
              <a:gd name="T23" fmla="*/ 5 h 726"/>
              <a:gd name="T24" fmla="*/ 9 w 416"/>
              <a:gd name="T25" fmla="*/ 7 h 726"/>
              <a:gd name="T26" fmla="*/ 8 w 416"/>
              <a:gd name="T27" fmla="*/ 9 h 726"/>
              <a:gd name="T28" fmla="*/ 10 w 416"/>
              <a:gd name="T29" fmla="*/ 13 h 726"/>
              <a:gd name="T30" fmla="*/ 6 w 416"/>
              <a:gd name="T31" fmla="*/ 16 h 726"/>
              <a:gd name="T32" fmla="*/ 2 w 416"/>
              <a:gd name="T33" fmla="*/ 17 h 726"/>
              <a:gd name="T34" fmla="*/ 2 w 416"/>
              <a:gd name="T35" fmla="*/ 16 h 726"/>
              <a:gd name="T36" fmla="*/ 1 w 416"/>
              <a:gd name="T37" fmla="*/ 16 h 726"/>
              <a:gd name="T38" fmla="*/ 1 w 416"/>
              <a:gd name="T39" fmla="*/ 12 h 726"/>
              <a:gd name="T40" fmla="*/ 4 w 416"/>
              <a:gd name="T41" fmla="*/ 9 h 726"/>
              <a:gd name="T42" fmla="*/ 3 w 416"/>
              <a:gd name="T43" fmla="*/ 7 h 726"/>
              <a:gd name="T44" fmla="*/ 3 w 416"/>
              <a:gd name="T45" fmla="*/ 4 h 726"/>
              <a:gd name="T46" fmla="*/ 0 w 416"/>
              <a:gd name="T47" fmla="*/ 2 h 72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16"/>
              <a:gd name="T73" fmla="*/ 0 h 726"/>
              <a:gd name="T74" fmla="*/ 416 w 416"/>
              <a:gd name="T75" fmla="*/ 726 h 72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16" h="726">
                <a:moveTo>
                  <a:pt x="0" y="76"/>
                </a:moveTo>
                <a:lnTo>
                  <a:pt x="27" y="55"/>
                </a:lnTo>
                <a:lnTo>
                  <a:pt x="72" y="97"/>
                </a:lnTo>
                <a:lnTo>
                  <a:pt x="151" y="105"/>
                </a:lnTo>
                <a:lnTo>
                  <a:pt x="196" y="79"/>
                </a:lnTo>
                <a:lnTo>
                  <a:pt x="208" y="17"/>
                </a:lnTo>
                <a:lnTo>
                  <a:pt x="284" y="0"/>
                </a:lnTo>
                <a:lnTo>
                  <a:pt x="324" y="25"/>
                </a:lnTo>
                <a:lnTo>
                  <a:pt x="319" y="76"/>
                </a:lnTo>
                <a:lnTo>
                  <a:pt x="303" y="126"/>
                </a:lnTo>
                <a:lnTo>
                  <a:pt x="362" y="190"/>
                </a:lnTo>
                <a:lnTo>
                  <a:pt x="325" y="236"/>
                </a:lnTo>
                <a:lnTo>
                  <a:pt x="365" y="316"/>
                </a:lnTo>
                <a:lnTo>
                  <a:pt x="353" y="387"/>
                </a:lnTo>
                <a:lnTo>
                  <a:pt x="416" y="537"/>
                </a:lnTo>
                <a:lnTo>
                  <a:pt x="269" y="680"/>
                </a:lnTo>
                <a:lnTo>
                  <a:pt x="94" y="726"/>
                </a:lnTo>
                <a:lnTo>
                  <a:pt x="83" y="697"/>
                </a:lnTo>
                <a:lnTo>
                  <a:pt x="27" y="674"/>
                </a:lnTo>
                <a:lnTo>
                  <a:pt x="20" y="533"/>
                </a:lnTo>
                <a:lnTo>
                  <a:pt x="189" y="381"/>
                </a:lnTo>
                <a:lnTo>
                  <a:pt x="134" y="306"/>
                </a:lnTo>
                <a:lnTo>
                  <a:pt x="112" y="155"/>
                </a:lnTo>
                <a:lnTo>
                  <a:pt x="0" y="7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Freeform 342"/>
          <p:cNvSpPr/>
          <p:nvPr/>
        </p:nvSpPr>
        <p:spPr bwMode="auto">
          <a:xfrm>
            <a:off x="1311275" y="2400300"/>
            <a:ext cx="374015" cy="356870"/>
          </a:xfrm>
          <a:custGeom>
            <a:avLst/>
            <a:gdLst>
              <a:gd name="T0" fmla="*/ 0 w 482"/>
              <a:gd name="T1" fmla="*/ 3 h 484"/>
              <a:gd name="T2" fmla="*/ 0 w 482"/>
              <a:gd name="T3" fmla="*/ 4 h 484"/>
              <a:gd name="T4" fmla="*/ 3 w 482"/>
              <a:gd name="T5" fmla="*/ 5 h 484"/>
              <a:gd name="T6" fmla="*/ 2 w 482"/>
              <a:gd name="T7" fmla="*/ 6 h 484"/>
              <a:gd name="T8" fmla="*/ 3 w 482"/>
              <a:gd name="T9" fmla="*/ 6 h 484"/>
              <a:gd name="T10" fmla="*/ 3 w 482"/>
              <a:gd name="T11" fmla="*/ 8 h 484"/>
              <a:gd name="T12" fmla="*/ 3 w 482"/>
              <a:gd name="T13" fmla="*/ 10 h 484"/>
              <a:gd name="T14" fmla="*/ 5 w 482"/>
              <a:gd name="T15" fmla="*/ 11 h 484"/>
              <a:gd name="T16" fmla="*/ 5 w 482"/>
              <a:gd name="T17" fmla="*/ 11 h 484"/>
              <a:gd name="T18" fmla="*/ 7 w 482"/>
              <a:gd name="T19" fmla="*/ 11 h 484"/>
              <a:gd name="T20" fmla="*/ 7 w 482"/>
              <a:gd name="T21" fmla="*/ 10 h 484"/>
              <a:gd name="T22" fmla="*/ 8 w 482"/>
              <a:gd name="T23" fmla="*/ 10 h 484"/>
              <a:gd name="T24" fmla="*/ 9 w 482"/>
              <a:gd name="T25" fmla="*/ 10 h 484"/>
              <a:gd name="T26" fmla="*/ 11 w 482"/>
              <a:gd name="T27" fmla="*/ 9 h 484"/>
              <a:gd name="T28" fmla="*/ 10 w 482"/>
              <a:gd name="T29" fmla="*/ 8 h 484"/>
              <a:gd name="T30" fmla="*/ 10 w 482"/>
              <a:gd name="T31" fmla="*/ 7 h 484"/>
              <a:gd name="T32" fmla="*/ 9 w 482"/>
              <a:gd name="T33" fmla="*/ 6 h 484"/>
              <a:gd name="T34" fmla="*/ 11 w 482"/>
              <a:gd name="T35" fmla="*/ 5 h 484"/>
              <a:gd name="T36" fmla="*/ 11 w 482"/>
              <a:gd name="T37" fmla="*/ 3 h 484"/>
              <a:gd name="T38" fmla="*/ 9 w 482"/>
              <a:gd name="T39" fmla="*/ 2 h 484"/>
              <a:gd name="T40" fmla="*/ 9 w 482"/>
              <a:gd name="T41" fmla="*/ 2 h 484"/>
              <a:gd name="T42" fmla="*/ 7 w 482"/>
              <a:gd name="T43" fmla="*/ 0 h 484"/>
              <a:gd name="T44" fmla="*/ 6 w 482"/>
              <a:gd name="T45" fmla="*/ 0 h 484"/>
              <a:gd name="T46" fmla="*/ 5 w 482"/>
              <a:gd name="T47" fmla="*/ 2 h 484"/>
              <a:gd name="T48" fmla="*/ 3 w 482"/>
              <a:gd name="T49" fmla="*/ 2 h 484"/>
              <a:gd name="T50" fmla="*/ 3 w 482"/>
              <a:gd name="T51" fmla="*/ 3 h 484"/>
              <a:gd name="T52" fmla="*/ 0 w 482"/>
              <a:gd name="T53" fmla="*/ 3 h 48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82"/>
              <a:gd name="T82" fmla="*/ 0 h 484"/>
              <a:gd name="T83" fmla="*/ 482 w 482"/>
              <a:gd name="T84" fmla="*/ 484 h 48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82" h="484">
                <a:moveTo>
                  <a:pt x="0" y="147"/>
                </a:moveTo>
                <a:lnTo>
                  <a:pt x="15" y="189"/>
                </a:lnTo>
                <a:lnTo>
                  <a:pt x="115" y="219"/>
                </a:lnTo>
                <a:lnTo>
                  <a:pt x="96" y="242"/>
                </a:lnTo>
                <a:lnTo>
                  <a:pt x="135" y="275"/>
                </a:lnTo>
                <a:lnTo>
                  <a:pt x="150" y="327"/>
                </a:lnTo>
                <a:lnTo>
                  <a:pt x="107" y="430"/>
                </a:lnTo>
                <a:lnTo>
                  <a:pt x="228" y="472"/>
                </a:lnTo>
                <a:lnTo>
                  <a:pt x="240" y="477"/>
                </a:lnTo>
                <a:lnTo>
                  <a:pt x="297" y="484"/>
                </a:lnTo>
                <a:lnTo>
                  <a:pt x="297" y="444"/>
                </a:lnTo>
                <a:lnTo>
                  <a:pt x="330" y="421"/>
                </a:lnTo>
                <a:lnTo>
                  <a:pt x="408" y="448"/>
                </a:lnTo>
                <a:lnTo>
                  <a:pt x="456" y="407"/>
                </a:lnTo>
                <a:lnTo>
                  <a:pt x="430" y="348"/>
                </a:lnTo>
                <a:lnTo>
                  <a:pt x="441" y="293"/>
                </a:lnTo>
                <a:lnTo>
                  <a:pt x="402" y="261"/>
                </a:lnTo>
                <a:lnTo>
                  <a:pt x="456" y="195"/>
                </a:lnTo>
                <a:lnTo>
                  <a:pt x="482" y="123"/>
                </a:lnTo>
                <a:lnTo>
                  <a:pt x="410" y="92"/>
                </a:lnTo>
                <a:lnTo>
                  <a:pt x="392" y="84"/>
                </a:lnTo>
                <a:lnTo>
                  <a:pt x="280" y="0"/>
                </a:lnTo>
                <a:lnTo>
                  <a:pt x="244" y="15"/>
                </a:lnTo>
                <a:lnTo>
                  <a:pt x="197" y="96"/>
                </a:lnTo>
                <a:lnTo>
                  <a:pt x="104" y="81"/>
                </a:lnTo>
                <a:lnTo>
                  <a:pt x="122" y="143"/>
                </a:lnTo>
                <a:lnTo>
                  <a:pt x="0" y="1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Freeform 343"/>
          <p:cNvSpPr/>
          <p:nvPr/>
        </p:nvSpPr>
        <p:spPr bwMode="auto">
          <a:xfrm>
            <a:off x="1699895" y="2731135"/>
            <a:ext cx="24765" cy="64770"/>
          </a:xfrm>
          <a:custGeom>
            <a:avLst/>
            <a:gdLst>
              <a:gd name="T0" fmla="*/ 0 w 31"/>
              <a:gd name="T1" fmla="*/ 1 h 89"/>
              <a:gd name="T2" fmla="*/ 1 w 31"/>
              <a:gd name="T3" fmla="*/ 2 h 89"/>
              <a:gd name="T4" fmla="*/ 1 w 31"/>
              <a:gd name="T5" fmla="*/ 0 h 89"/>
              <a:gd name="T6" fmla="*/ 0 w 31"/>
              <a:gd name="T7" fmla="*/ 1 h 89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89"/>
              <a:gd name="T14" fmla="*/ 31 w 31"/>
              <a:gd name="T15" fmla="*/ 89 h 8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89">
                <a:moveTo>
                  <a:pt x="0" y="46"/>
                </a:moveTo>
                <a:lnTo>
                  <a:pt x="28" y="89"/>
                </a:lnTo>
                <a:lnTo>
                  <a:pt x="31" y="0"/>
                </a:lnTo>
                <a:lnTo>
                  <a:pt x="0" y="4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Freeform 344"/>
          <p:cNvSpPr/>
          <p:nvPr/>
        </p:nvSpPr>
        <p:spPr bwMode="auto">
          <a:xfrm>
            <a:off x="1620520" y="2235200"/>
            <a:ext cx="262890" cy="315595"/>
          </a:xfrm>
          <a:custGeom>
            <a:avLst/>
            <a:gdLst>
              <a:gd name="T0" fmla="*/ 0 w 335"/>
              <a:gd name="T1" fmla="*/ 4 h 429"/>
              <a:gd name="T2" fmla="*/ 0 w 335"/>
              <a:gd name="T3" fmla="*/ 6 h 429"/>
              <a:gd name="T4" fmla="*/ 0 w 335"/>
              <a:gd name="T5" fmla="*/ 6 h 429"/>
              <a:gd name="T6" fmla="*/ 0 w 335"/>
              <a:gd name="T7" fmla="*/ 7 h 429"/>
              <a:gd name="T8" fmla="*/ 2 w 335"/>
              <a:gd name="T9" fmla="*/ 8 h 429"/>
              <a:gd name="T10" fmla="*/ 1 w 335"/>
              <a:gd name="T11" fmla="*/ 10 h 429"/>
              <a:gd name="T12" fmla="*/ 3 w 335"/>
              <a:gd name="T13" fmla="*/ 10 h 429"/>
              <a:gd name="T14" fmla="*/ 6 w 335"/>
              <a:gd name="T15" fmla="*/ 10 h 429"/>
              <a:gd name="T16" fmla="*/ 7 w 335"/>
              <a:gd name="T17" fmla="*/ 8 h 429"/>
              <a:gd name="T18" fmla="*/ 5 w 335"/>
              <a:gd name="T19" fmla="*/ 6 h 429"/>
              <a:gd name="T20" fmla="*/ 7 w 335"/>
              <a:gd name="T21" fmla="*/ 5 h 429"/>
              <a:gd name="T22" fmla="*/ 8 w 335"/>
              <a:gd name="T23" fmla="*/ 5 h 429"/>
              <a:gd name="T24" fmla="*/ 7 w 335"/>
              <a:gd name="T25" fmla="*/ 1 h 429"/>
              <a:gd name="T26" fmla="*/ 6 w 335"/>
              <a:gd name="T27" fmla="*/ 1 h 429"/>
              <a:gd name="T28" fmla="*/ 4 w 335"/>
              <a:gd name="T29" fmla="*/ 1 h 429"/>
              <a:gd name="T30" fmla="*/ 4 w 335"/>
              <a:gd name="T31" fmla="*/ 1 h 429"/>
              <a:gd name="T32" fmla="*/ 3 w 335"/>
              <a:gd name="T33" fmla="*/ 0 h 429"/>
              <a:gd name="T34" fmla="*/ 2 w 335"/>
              <a:gd name="T35" fmla="*/ 0 h 429"/>
              <a:gd name="T36" fmla="*/ 2 w 335"/>
              <a:gd name="T37" fmla="*/ 2 h 429"/>
              <a:gd name="T38" fmla="*/ 1 w 335"/>
              <a:gd name="T39" fmla="*/ 2 h 429"/>
              <a:gd name="T40" fmla="*/ 1 w 335"/>
              <a:gd name="T41" fmla="*/ 2 h 429"/>
              <a:gd name="T42" fmla="*/ 1 w 335"/>
              <a:gd name="T43" fmla="*/ 4 h 429"/>
              <a:gd name="T44" fmla="*/ 0 w 335"/>
              <a:gd name="T45" fmla="*/ 4 h 42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35"/>
              <a:gd name="T70" fmla="*/ 0 h 429"/>
              <a:gd name="T71" fmla="*/ 335 w 335"/>
              <a:gd name="T72" fmla="*/ 429 h 42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35" h="429">
                <a:moveTo>
                  <a:pt x="0" y="178"/>
                </a:moveTo>
                <a:lnTo>
                  <a:pt x="2" y="247"/>
                </a:lnTo>
                <a:lnTo>
                  <a:pt x="5" y="279"/>
                </a:lnTo>
                <a:lnTo>
                  <a:pt x="10" y="317"/>
                </a:lnTo>
                <a:lnTo>
                  <a:pt x="82" y="348"/>
                </a:lnTo>
                <a:lnTo>
                  <a:pt x="56" y="420"/>
                </a:lnTo>
                <a:lnTo>
                  <a:pt x="130" y="429"/>
                </a:lnTo>
                <a:lnTo>
                  <a:pt x="262" y="428"/>
                </a:lnTo>
                <a:lnTo>
                  <a:pt x="297" y="359"/>
                </a:lnTo>
                <a:lnTo>
                  <a:pt x="225" y="271"/>
                </a:lnTo>
                <a:lnTo>
                  <a:pt x="309" y="224"/>
                </a:lnTo>
                <a:lnTo>
                  <a:pt x="335" y="237"/>
                </a:lnTo>
                <a:lnTo>
                  <a:pt x="309" y="65"/>
                </a:lnTo>
                <a:lnTo>
                  <a:pt x="250" y="23"/>
                </a:lnTo>
                <a:lnTo>
                  <a:pt x="180" y="53"/>
                </a:lnTo>
                <a:lnTo>
                  <a:pt x="189" y="33"/>
                </a:lnTo>
                <a:lnTo>
                  <a:pt x="130" y="0"/>
                </a:lnTo>
                <a:lnTo>
                  <a:pt x="100" y="0"/>
                </a:lnTo>
                <a:lnTo>
                  <a:pt x="99" y="95"/>
                </a:lnTo>
                <a:lnTo>
                  <a:pt x="67" y="69"/>
                </a:lnTo>
                <a:lnTo>
                  <a:pt x="45" y="99"/>
                </a:lnTo>
                <a:lnTo>
                  <a:pt x="41" y="156"/>
                </a:lnTo>
                <a:lnTo>
                  <a:pt x="0" y="17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Freeform 345"/>
          <p:cNvSpPr/>
          <p:nvPr/>
        </p:nvSpPr>
        <p:spPr bwMode="auto">
          <a:xfrm>
            <a:off x="2044065" y="2780665"/>
            <a:ext cx="185420" cy="203835"/>
          </a:xfrm>
          <a:custGeom>
            <a:avLst/>
            <a:gdLst>
              <a:gd name="T0" fmla="*/ 0 w 241"/>
              <a:gd name="T1" fmla="*/ 3 h 276"/>
              <a:gd name="T2" fmla="*/ 1 w 241"/>
              <a:gd name="T3" fmla="*/ 1 h 276"/>
              <a:gd name="T4" fmla="*/ 3 w 241"/>
              <a:gd name="T5" fmla="*/ 1 h 276"/>
              <a:gd name="T6" fmla="*/ 5 w 241"/>
              <a:gd name="T7" fmla="*/ 1 h 276"/>
              <a:gd name="T8" fmla="*/ 5 w 241"/>
              <a:gd name="T9" fmla="*/ 0 h 276"/>
              <a:gd name="T10" fmla="*/ 5 w 241"/>
              <a:gd name="T11" fmla="*/ 1 h 276"/>
              <a:gd name="T12" fmla="*/ 4 w 241"/>
              <a:gd name="T13" fmla="*/ 1 h 276"/>
              <a:gd name="T14" fmla="*/ 3 w 241"/>
              <a:gd name="T15" fmla="*/ 2 h 276"/>
              <a:gd name="T16" fmla="*/ 2 w 241"/>
              <a:gd name="T17" fmla="*/ 1 h 276"/>
              <a:gd name="T18" fmla="*/ 3 w 241"/>
              <a:gd name="T19" fmla="*/ 3 h 276"/>
              <a:gd name="T20" fmla="*/ 2 w 241"/>
              <a:gd name="T21" fmla="*/ 4 h 276"/>
              <a:gd name="T22" fmla="*/ 3 w 241"/>
              <a:gd name="T23" fmla="*/ 4 h 276"/>
              <a:gd name="T24" fmla="*/ 3 w 241"/>
              <a:gd name="T25" fmla="*/ 5 h 276"/>
              <a:gd name="T26" fmla="*/ 2 w 241"/>
              <a:gd name="T27" fmla="*/ 5 h 276"/>
              <a:gd name="T28" fmla="*/ 3 w 241"/>
              <a:gd name="T29" fmla="*/ 7 h 276"/>
              <a:gd name="T30" fmla="*/ 1 w 241"/>
              <a:gd name="T31" fmla="*/ 6 h 276"/>
              <a:gd name="T32" fmla="*/ 1 w 241"/>
              <a:gd name="T33" fmla="*/ 5 h 276"/>
              <a:gd name="T34" fmla="*/ 3 w 241"/>
              <a:gd name="T35" fmla="*/ 4 h 276"/>
              <a:gd name="T36" fmla="*/ 1 w 241"/>
              <a:gd name="T37" fmla="*/ 4 h 276"/>
              <a:gd name="T38" fmla="*/ 0 w 241"/>
              <a:gd name="T39" fmla="*/ 3 h 27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41"/>
              <a:gd name="T61" fmla="*/ 0 h 276"/>
              <a:gd name="T62" fmla="*/ 241 w 241"/>
              <a:gd name="T63" fmla="*/ 276 h 27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41" h="276">
                <a:moveTo>
                  <a:pt x="0" y="110"/>
                </a:moveTo>
                <a:lnTo>
                  <a:pt x="36" y="47"/>
                </a:lnTo>
                <a:lnTo>
                  <a:pt x="111" y="23"/>
                </a:lnTo>
                <a:lnTo>
                  <a:pt x="206" y="26"/>
                </a:lnTo>
                <a:lnTo>
                  <a:pt x="241" y="0"/>
                </a:lnTo>
                <a:lnTo>
                  <a:pt x="227" y="57"/>
                </a:lnTo>
                <a:lnTo>
                  <a:pt x="162" y="45"/>
                </a:lnTo>
                <a:lnTo>
                  <a:pt x="131" y="93"/>
                </a:lnTo>
                <a:lnTo>
                  <a:pt x="98" y="66"/>
                </a:lnTo>
                <a:lnTo>
                  <a:pt x="121" y="141"/>
                </a:lnTo>
                <a:lnTo>
                  <a:pt x="90" y="154"/>
                </a:lnTo>
                <a:lnTo>
                  <a:pt x="151" y="187"/>
                </a:lnTo>
                <a:lnTo>
                  <a:pt x="151" y="214"/>
                </a:lnTo>
                <a:lnTo>
                  <a:pt x="100" y="223"/>
                </a:lnTo>
                <a:lnTo>
                  <a:pt x="116" y="276"/>
                </a:lnTo>
                <a:lnTo>
                  <a:pt x="59" y="258"/>
                </a:lnTo>
                <a:lnTo>
                  <a:pt x="42" y="208"/>
                </a:lnTo>
                <a:lnTo>
                  <a:pt x="117" y="189"/>
                </a:lnTo>
                <a:lnTo>
                  <a:pt x="42" y="181"/>
                </a:lnTo>
                <a:lnTo>
                  <a:pt x="0" y="11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Freeform 346"/>
          <p:cNvSpPr/>
          <p:nvPr/>
        </p:nvSpPr>
        <p:spPr bwMode="auto">
          <a:xfrm>
            <a:off x="2145030" y="3017520"/>
            <a:ext cx="84455" cy="13335"/>
          </a:xfrm>
          <a:custGeom>
            <a:avLst/>
            <a:gdLst>
              <a:gd name="T0" fmla="*/ 0 w 112"/>
              <a:gd name="T1" fmla="*/ 0 h 19"/>
              <a:gd name="T2" fmla="*/ 0 w 112"/>
              <a:gd name="T3" fmla="*/ 0 h 19"/>
              <a:gd name="T4" fmla="*/ 2 w 112"/>
              <a:gd name="T5" fmla="*/ 0 h 19"/>
              <a:gd name="T6" fmla="*/ 1 w 112"/>
              <a:gd name="T7" fmla="*/ 0 h 19"/>
              <a:gd name="T8" fmla="*/ 0 w 112"/>
              <a:gd name="T9" fmla="*/ 0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2"/>
              <a:gd name="T16" fmla="*/ 0 h 19"/>
              <a:gd name="T17" fmla="*/ 112 w 112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2" h="19">
                <a:moveTo>
                  <a:pt x="0" y="19"/>
                </a:moveTo>
                <a:lnTo>
                  <a:pt x="10" y="0"/>
                </a:lnTo>
                <a:lnTo>
                  <a:pt x="112" y="19"/>
                </a:lnTo>
                <a:lnTo>
                  <a:pt x="34" y="19"/>
                </a:lnTo>
                <a:lnTo>
                  <a:pt x="0" y="1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Freeform 347"/>
          <p:cNvSpPr/>
          <p:nvPr/>
        </p:nvSpPr>
        <p:spPr bwMode="auto">
          <a:xfrm>
            <a:off x="1923415" y="2509520"/>
            <a:ext cx="196850" cy="113665"/>
          </a:xfrm>
          <a:custGeom>
            <a:avLst/>
            <a:gdLst>
              <a:gd name="T0" fmla="*/ 0 w 254"/>
              <a:gd name="T1" fmla="*/ 2 h 157"/>
              <a:gd name="T2" fmla="*/ 1 w 254"/>
              <a:gd name="T3" fmla="*/ 1 h 157"/>
              <a:gd name="T4" fmla="*/ 2 w 254"/>
              <a:gd name="T5" fmla="*/ 1 h 157"/>
              <a:gd name="T6" fmla="*/ 4 w 254"/>
              <a:gd name="T7" fmla="*/ 0 h 157"/>
              <a:gd name="T8" fmla="*/ 5 w 254"/>
              <a:gd name="T9" fmla="*/ 0 h 157"/>
              <a:gd name="T10" fmla="*/ 6 w 254"/>
              <a:gd name="T11" fmla="*/ 1 h 157"/>
              <a:gd name="T12" fmla="*/ 3 w 254"/>
              <a:gd name="T13" fmla="*/ 3 h 157"/>
              <a:gd name="T14" fmla="*/ 2 w 254"/>
              <a:gd name="T15" fmla="*/ 3 h 157"/>
              <a:gd name="T16" fmla="*/ 0 w 254"/>
              <a:gd name="T17" fmla="*/ 2 h 15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54"/>
              <a:gd name="T28" fmla="*/ 0 h 157"/>
              <a:gd name="T29" fmla="*/ 254 w 254"/>
              <a:gd name="T30" fmla="*/ 157 h 15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54" h="157">
                <a:moveTo>
                  <a:pt x="0" y="93"/>
                </a:moveTo>
                <a:lnTo>
                  <a:pt x="39" y="25"/>
                </a:lnTo>
                <a:lnTo>
                  <a:pt x="89" y="44"/>
                </a:lnTo>
                <a:lnTo>
                  <a:pt x="178" y="0"/>
                </a:lnTo>
                <a:lnTo>
                  <a:pt x="230" y="9"/>
                </a:lnTo>
                <a:lnTo>
                  <a:pt x="254" y="34"/>
                </a:lnTo>
                <a:lnTo>
                  <a:pt x="154" y="139"/>
                </a:lnTo>
                <a:lnTo>
                  <a:pt x="73" y="157"/>
                </a:lnTo>
                <a:lnTo>
                  <a:pt x="0" y="9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Freeform 348"/>
          <p:cNvSpPr/>
          <p:nvPr/>
        </p:nvSpPr>
        <p:spPr bwMode="auto">
          <a:xfrm>
            <a:off x="3470910" y="3002280"/>
            <a:ext cx="869950" cy="953135"/>
          </a:xfrm>
          <a:custGeom>
            <a:avLst/>
            <a:gdLst>
              <a:gd name="T0" fmla="*/ 0 w 1118"/>
              <a:gd name="T1" fmla="*/ 14 h 1294"/>
              <a:gd name="T2" fmla="*/ 1 w 1118"/>
              <a:gd name="T3" fmla="*/ 13 h 1294"/>
              <a:gd name="T4" fmla="*/ 3 w 1118"/>
              <a:gd name="T5" fmla="*/ 13 h 1294"/>
              <a:gd name="T6" fmla="*/ 1 w 1118"/>
              <a:gd name="T7" fmla="*/ 10 h 1294"/>
              <a:gd name="T8" fmla="*/ 2 w 1118"/>
              <a:gd name="T9" fmla="*/ 9 h 1294"/>
              <a:gd name="T10" fmla="*/ 3 w 1118"/>
              <a:gd name="T11" fmla="*/ 9 h 1294"/>
              <a:gd name="T12" fmla="*/ 6 w 1118"/>
              <a:gd name="T13" fmla="*/ 6 h 1294"/>
              <a:gd name="T14" fmla="*/ 6 w 1118"/>
              <a:gd name="T15" fmla="*/ 5 h 1294"/>
              <a:gd name="T16" fmla="*/ 6 w 1118"/>
              <a:gd name="T17" fmla="*/ 4 h 1294"/>
              <a:gd name="T18" fmla="*/ 5 w 1118"/>
              <a:gd name="T19" fmla="*/ 3 h 1294"/>
              <a:gd name="T20" fmla="*/ 5 w 1118"/>
              <a:gd name="T21" fmla="*/ 1 h 1294"/>
              <a:gd name="T22" fmla="*/ 8 w 1118"/>
              <a:gd name="T23" fmla="*/ 1 h 1294"/>
              <a:gd name="T24" fmla="*/ 9 w 1118"/>
              <a:gd name="T25" fmla="*/ 1 h 1294"/>
              <a:gd name="T26" fmla="*/ 10 w 1118"/>
              <a:gd name="T27" fmla="*/ 0 h 1294"/>
              <a:gd name="T28" fmla="*/ 11 w 1118"/>
              <a:gd name="T29" fmla="*/ 1 h 1294"/>
              <a:gd name="T30" fmla="*/ 10 w 1118"/>
              <a:gd name="T31" fmla="*/ 2 h 1294"/>
              <a:gd name="T32" fmla="*/ 10 w 1118"/>
              <a:gd name="T33" fmla="*/ 4 h 1294"/>
              <a:gd name="T34" fmla="*/ 9 w 1118"/>
              <a:gd name="T35" fmla="*/ 4 h 1294"/>
              <a:gd name="T36" fmla="*/ 10 w 1118"/>
              <a:gd name="T37" fmla="*/ 6 h 1294"/>
              <a:gd name="T38" fmla="*/ 11 w 1118"/>
              <a:gd name="T39" fmla="*/ 7 h 1294"/>
              <a:gd name="T40" fmla="*/ 11 w 1118"/>
              <a:gd name="T41" fmla="*/ 8 h 1294"/>
              <a:gd name="T42" fmla="*/ 13 w 1118"/>
              <a:gd name="T43" fmla="*/ 10 h 1294"/>
              <a:gd name="T44" fmla="*/ 17 w 1118"/>
              <a:gd name="T45" fmla="*/ 11 h 1294"/>
              <a:gd name="T46" fmla="*/ 18 w 1118"/>
              <a:gd name="T47" fmla="*/ 9 h 1294"/>
              <a:gd name="T48" fmla="*/ 18 w 1118"/>
              <a:gd name="T49" fmla="*/ 9 h 1294"/>
              <a:gd name="T50" fmla="*/ 18 w 1118"/>
              <a:gd name="T51" fmla="*/ 10 h 1294"/>
              <a:gd name="T52" fmla="*/ 18 w 1118"/>
              <a:gd name="T53" fmla="*/ 11 h 1294"/>
              <a:gd name="T54" fmla="*/ 21 w 1118"/>
              <a:gd name="T55" fmla="*/ 10 h 1294"/>
              <a:gd name="T56" fmla="*/ 21 w 1118"/>
              <a:gd name="T57" fmla="*/ 9 h 1294"/>
              <a:gd name="T58" fmla="*/ 24 w 1118"/>
              <a:gd name="T59" fmla="*/ 7 h 1294"/>
              <a:gd name="T60" fmla="*/ 25 w 1118"/>
              <a:gd name="T61" fmla="*/ 9 h 1294"/>
              <a:gd name="T62" fmla="*/ 26 w 1118"/>
              <a:gd name="T63" fmla="*/ 9 h 1294"/>
              <a:gd name="T64" fmla="*/ 25 w 1118"/>
              <a:gd name="T65" fmla="*/ 10 h 1294"/>
              <a:gd name="T66" fmla="*/ 24 w 1118"/>
              <a:gd name="T67" fmla="*/ 11 h 1294"/>
              <a:gd name="T68" fmla="*/ 22 w 1118"/>
              <a:gd name="T69" fmla="*/ 15 h 1294"/>
              <a:gd name="T70" fmla="*/ 21 w 1118"/>
              <a:gd name="T71" fmla="*/ 14 h 1294"/>
              <a:gd name="T72" fmla="*/ 21 w 1118"/>
              <a:gd name="T73" fmla="*/ 14 h 1294"/>
              <a:gd name="T74" fmla="*/ 20 w 1118"/>
              <a:gd name="T75" fmla="*/ 13 h 1294"/>
              <a:gd name="T76" fmla="*/ 21 w 1118"/>
              <a:gd name="T77" fmla="*/ 12 h 1294"/>
              <a:gd name="T78" fmla="*/ 19 w 1118"/>
              <a:gd name="T79" fmla="*/ 12 h 1294"/>
              <a:gd name="T80" fmla="*/ 18 w 1118"/>
              <a:gd name="T81" fmla="*/ 11 h 1294"/>
              <a:gd name="T82" fmla="*/ 18 w 1118"/>
              <a:gd name="T83" fmla="*/ 11 h 1294"/>
              <a:gd name="T84" fmla="*/ 18 w 1118"/>
              <a:gd name="T85" fmla="*/ 12 h 1294"/>
              <a:gd name="T86" fmla="*/ 17 w 1118"/>
              <a:gd name="T87" fmla="*/ 13 h 1294"/>
              <a:gd name="T88" fmla="*/ 18 w 1118"/>
              <a:gd name="T89" fmla="*/ 13 h 1294"/>
              <a:gd name="T90" fmla="*/ 18 w 1118"/>
              <a:gd name="T91" fmla="*/ 16 h 1294"/>
              <a:gd name="T92" fmla="*/ 18 w 1118"/>
              <a:gd name="T93" fmla="*/ 15 h 1294"/>
              <a:gd name="T94" fmla="*/ 16 w 1118"/>
              <a:gd name="T95" fmla="*/ 18 h 1294"/>
              <a:gd name="T96" fmla="*/ 11 w 1118"/>
              <a:gd name="T97" fmla="*/ 22 h 1294"/>
              <a:gd name="T98" fmla="*/ 10 w 1118"/>
              <a:gd name="T99" fmla="*/ 28 h 1294"/>
              <a:gd name="T100" fmla="*/ 8 w 1118"/>
              <a:gd name="T101" fmla="*/ 30 h 1294"/>
              <a:gd name="T102" fmla="*/ 6 w 1118"/>
              <a:gd name="T103" fmla="*/ 26 h 1294"/>
              <a:gd name="T104" fmla="*/ 5 w 1118"/>
              <a:gd name="T105" fmla="*/ 22 h 1294"/>
              <a:gd name="T106" fmla="*/ 5 w 1118"/>
              <a:gd name="T107" fmla="*/ 21 h 1294"/>
              <a:gd name="T108" fmla="*/ 4 w 1118"/>
              <a:gd name="T109" fmla="*/ 15 h 1294"/>
              <a:gd name="T110" fmla="*/ 4 w 1118"/>
              <a:gd name="T111" fmla="*/ 15 h 1294"/>
              <a:gd name="T112" fmla="*/ 3 w 1118"/>
              <a:gd name="T113" fmla="*/ 16 h 1294"/>
              <a:gd name="T114" fmla="*/ 2 w 1118"/>
              <a:gd name="T115" fmla="*/ 17 h 1294"/>
              <a:gd name="T116" fmla="*/ 1 w 1118"/>
              <a:gd name="T117" fmla="*/ 15 h 1294"/>
              <a:gd name="T118" fmla="*/ 2 w 1118"/>
              <a:gd name="T119" fmla="*/ 14 h 1294"/>
              <a:gd name="T120" fmla="*/ 1 w 1118"/>
              <a:gd name="T121" fmla="*/ 15 h 1294"/>
              <a:gd name="T122" fmla="*/ 0 w 1118"/>
              <a:gd name="T123" fmla="*/ 14 h 129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8"/>
              <a:gd name="T187" fmla="*/ 0 h 1294"/>
              <a:gd name="T188" fmla="*/ 1118 w 1118"/>
              <a:gd name="T189" fmla="*/ 1294 h 129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8" h="1294">
                <a:moveTo>
                  <a:pt x="0" y="588"/>
                </a:moveTo>
                <a:lnTo>
                  <a:pt x="31" y="560"/>
                </a:lnTo>
                <a:lnTo>
                  <a:pt x="116" y="560"/>
                </a:lnTo>
                <a:lnTo>
                  <a:pt x="55" y="424"/>
                </a:lnTo>
                <a:lnTo>
                  <a:pt x="93" y="387"/>
                </a:lnTo>
                <a:lnTo>
                  <a:pt x="141" y="392"/>
                </a:lnTo>
                <a:lnTo>
                  <a:pt x="257" y="243"/>
                </a:lnTo>
                <a:lnTo>
                  <a:pt x="250" y="204"/>
                </a:lnTo>
                <a:lnTo>
                  <a:pt x="277" y="180"/>
                </a:lnTo>
                <a:lnTo>
                  <a:pt x="228" y="134"/>
                </a:lnTo>
                <a:lnTo>
                  <a:pt x="226" y="62"/>
                </a:lnTo>
                <a:lnTo>
                  <a:pt x="336" y="62"/>
                </a:lnTo>
                <a:lnTo>
                  <a:pt x="365" y="27"/>
                </a:lnTo>
                <a:lnTo>
                  <a:pt x="427" y="0"/>
                </a:lnTo>
                <a:lnTo>
                  <a:pt x="467" y="25"/>
                </a:lnTo>
                <a:lnTo>
                  <a:pt x="414" y="98"/>
                </a:lnTo>
                <a:lnTo>
                  <a:pt x="438" y="161"/>
                </a:lnTo>
                <a:lnTo>
                  <a:pt x="399" y="170"/>
                </a:lnTo>
                <a:lnTo>
                  <a:pt x="416" y="247"/>
                </a:lnTo>
                <a:lnTo>
                  <a:pt x="498" y="278"/>
                </a:lnTo>
                <a:lnTo>
                  <a:pt x="459" y="350"/>
                </a:lnTo>
                <a:lnTo>
                  <a:pt x="561" y="419"/>
                </a:lnTo>
                <a:lnTo>
                  <a:pt x="761" y="462"/>
                </a:lnTo>
                <a:lnTo>
                  <a:pt x="764" y="395"/>
                </a:lnTo>
                <a:lnTo>
                  <a:pt x="789" y="387"/>
                </a:lnTo>
                <a:lnTo>
                  <a:pt x="794" y="420"/>
                </a:lnTo>
                <a:lnTo>
                  <a:pt x="810" y="449"/>
                </a:lnTo>
                <a:lnTo>
                  <a:pt x="915" y="437"/>
                </a:lnTo>
                <a:lnTo>
                  <a:pt x="906" y="396"/>
                </a:lnTo>
                <a:lnTo>
                  <a:pt x="1067" y="315"/>
                </a:lnTo>
                <a:lnTo>
                  <a:pt x="1079" y="364"/>
                </a:lnTo>
                <a:lnTo>
                  <a:pt x="1118" y="382"/>
                </a:lnTo>
                <a:lnTo>
                  <a:pt x="1103" y="430"/>
                </a:lnTo>
                <a:lnTo>
                  <a:pt x="1036" y="458"/>
                </a:lnTo>
                <a:lnTo>
                  <a:pt x="936" y="671"/>
                </a:lnTo>
                <a:lnTo>
                  <a:pt x="919" y="587"/>
                </a:lnTo>
                <a:lnTo>
                  <a:pt x="901" y="621"/>
                </a:lnTo>
                <a:lnTo>
                  <a:pt x="876" y="577"/>
                </a:lnTo>
                <a:lnTo>
                  <a:pt x="921" y="524"/>
                </a:lnTo>
                <a:lnTo>
                  <a:pt x="836" y="516"/>
                </a:lnTo>
                <a:lnTo>
                  <a:pt x="778" y="457"/>
                </a:lnTo>
                <a:lnTo>
                  <a:pt x="763" y="489"/>
                </a:lnTo>
                <a:lnTo>
                  <a:pt x="781" y="516"/>
                </a:lnTo>
                <a:lnTo>
                  <a:pt x="757" y="535"/>
                </a:lnTo>
                <a:lnTo>
                  <a:pt x="780" y="562"/>
                </a:lnTo>
                <a:lnTo>
                  <a:pt x="794" y="684"/>
                </a:lnTo>
                <a:lnTo>
                  <a:pt x="763" y="665"/>
                </a:lnTo>
                <a:lnTo>
                  <a:pt x="698" y="763"/>
                </a:lnTo>
                <a:lnTo>
                  <a:pt x="466" y="956"/>
                </a:lnTo>
                <a:lnTo>
                  <a:pt x="449" y="1199"/>
                </a:lnTo>
                <a:lnTo>
                  <a:pt x="355" y="1294"/>
                </a:lnTo>
                <a:lnTo>
                  <a:pt x="267" y="1109"/>
                </a:lnTo>
                <a:lnTo>
                  <a:pt x="233" y="961"/>
                </a:lnTo>
                <a:lnTo>
                  <a:pt x="200" y="926"/>
                </a:lnTo>
                <a:lnTo>
                  <a:pt x="179" y="657"/>
                </a:lnTo>
                <a:lnTo>
                  <a:pt x="156" y="649"/>
                </a:lnTo>
                <a:lnTo>
                  <a:pt x="144" y="706"/>
                </a:lnTo>
                <a:lnTo>
                  <a:pt x="90" y="723"/>
                </a:lnTo>
                <a:lnTo>
                  <a:pt x="34" y="650"/>
                </a:lnTo>
                <a:lnTo>
                  <a:pt x="89" y="615"/>
                </a:lnTo>
                <a:lnTo>
                  <a:pt x="34" y="630"/>
                </a:lnTo>
                <a:lnTo>
                  <a:pt x="0" y="58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Freeform 349"/>
          <p:cNvSpPr/>
          <p:nvPr/>
        </p:nvSpPr>
        <p:spPr bwMode="auto">
          <a:xfrm>
            <a:off x="4277995" y="4034790"/>
            <a:ext cx="325755" cy="368935"/>
          </a:xfrm>
          <a:custGeom>
            <a:avLst/>
            <a:gdLst>
              <a:gd name="T0" fmla="*/ 0 w 416"/>
              <a:gd name="T1" fmla="*/ 0 h 502"/>
              <a:gd name="T2" fmla="*/ 2 w 416"/>
              <a:gd name="T3" fmla="*/ 0 h 502"/>
              <a:gd name="T4" fmla="*/ 5 w 416"/>
              <a:gd name="T5" fmla="*/ 3 h 502"/>
              <a:gd name="T6" fmla="*/ 7 w 416"/>
              <a:gd name="T7" fmla="*/ 5 h 502"/>
              <a:gd name="T8" fmla="*/ 7 w 416"/>
              <a:gd name="T9" fmla="*/ 5 h 502"/>
              <a:gd name="T10" fmla="*/ 8 w 416"/>
              <a:gd name="T11" fmla="*/ 5 h 502"/>
              <a:gd name="T12" fmla="*/ 7 w 416"/>
              <a:gd name="T13" fmla="*/ 7 h 502"/>
              <a:gd name="T14" fmla="*/ 10 w 416"/>
              <a:gd name="T15" fmla="*/ 9 h 502"/>
              <a:gd name="T16" fmla="*/ 9 w 416"/>
              <a:gd name="T17" fmla="*/ 11 h 502"/>
              <a:gd name="T18" fmla="*/ 9 w 416"/>
              <a:gd name="T19" fmla="*/ 12 h 502"/>
              <a:gd name="T20" fmla="*/ 7 w 416"/>
              <a:gd name="T21" fmla="*/ 10 h 502"/>
              <a:gd name="T22" fmla="*/ 3 w 416"/>
              <a:gd name="T23" fmla="*/ 4 h 502"/>
              <a:gd name="T24" fmla="*/ 0 w 416"/>
              <a:gd name="T25" fmla="*/ 0 h 50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16"/>
              <a:gd name="T40" fmla="*/ 0 h 502"/>
              <a:gd name="T41" fmla="*/ 416 w 416"/>
              <a:gd name="T42" fmla="*/ 502 h 50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16" h="502">
                <a:moveTo>
                  <a:pt x="0" y="0"/>
                </a:moveTo>
                <a:lnTo>
                  <a:pt x="93" y="19"/>
                </a:lnTo>
                <a:lnTo>
                  <a:pt x="212" y="152"/>
                </a:lnTo>
                <a:lnTo>
                  <a:pt x="305" y="198"/>
                </a:lnTo>
                <a:lnTo>
                  <a:pt x="292" y="234"/>
                </a:lnTo>
                <a:lnTo>
                  <a:pt x="326" y="232"/>
                </a:lnTo>
                <a:lnTo>
                  <a:pt x="322" y="282"/>
                </a:lnTo>
                <a:lnTo>
                  <a:pt x="416" y="375"/>
                </a:lnTo>
                <a:lnTo>
                  <a:pt x="405" y="500"/>
                </a:lnTo>
                <a:lnTo>
                  <a:pt x="367" y="502"/>
                </a:lnTo>
                <a:lnTo>
                  <a:pt x="282" y="428"/>
                </a:lnTo>
                <a:lnTo>
                  <a:pt x="144" y="176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Freeform 350"/>
          <p:cNvSpPr/>
          <p:nvPr/>
        </p:nvSpPr>
        <p:spPr bwMode="auto">
          <a:xfrm>
            <a:off x="4584065" y="4411980"/>
            <a:ext cx="267970" cy="92710"/>
          </a:xfrm>
          <a:custGeom>
            <a:avLst/>
            <a:gdLst>
              <a:gd name="T0" fmla="*/ 0 w 346"/>
              <a:gd name="T1" fmla="*/ 1 h 126"/>
              <a:gd name="T2" fmla="*/ 1 w 346"/>
              <a:gd name="T3" fmla="*/ 0 h 126"/>
              <a:gd name="T4" fmla="*/ 6 w 346"/>
              <a:gd name="T5" fmla="*/ 1 h 126"/>
              <a:gd name="T6" fmla="*/ 7 w 346"/>
              <a:gd name="T7" fmla="*/ 2 h 126"/>
              <a:gd name="T8" fmla="*/ 8 w 346"/>
              <a:gd name="T9" fmla="*/ 2 h 126"/>
              <a:gd name="T10" fmla="*/ 8 w 346"/>
              <a:gd name="T11" fmla="*/ 3 h 126"/>
              <a:gd name="T12" fmla="*/ 1 w 346"/>
              <a:gd name="T13" fmla="*/ 1 h 126"/>
              <a:gd name="T14" fmla="*/ 0 w 346"/>
              <a:gd name="T15" fmla="*/ 1 h 12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46"/>
              <a:gd name="T25" fmla="*/ 0 h 126"/>
              <a:gd name="T26" fmla="*/ 346 w 346"/>
              <a:gd name="T27" fmla="*/ 126 h 12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46" h="126">
                <a:moveTo>
                  <a:pt x="0" y="35"/>
                </a:moveTo>
                <a:lnTo>
                  <a:pt x="23" y="0"/>
                </a:lnTo>
                <a:lnTo>
                  <a:pt x="266" y="39"/>
                </a:lnTo>
                <a:lnTo>
                  <a:pt x="291" y="70"/>
                </a:lnTo>
                <a:lnTo>
                  <a:pt x="341" y="83"/>
                </a:lnTo>
                <a:lnTo>
                  <a:pt x="346" y="126"/>
                </a:lnTo>
                <a:lnTo>
                  <a:pt x="63" y="66"/>
                </a:lnTo>
                <a:lnTo>
                  <a:pt x="0" y="3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Freeform 351"/>
          <p:cNvSpPr/>
          <p:nvPr/>
        </p:nvSpPr>
        <p:spPr bwMode="auto">
          <a:xfrm>
            <a:off x="4690110" y="4079240"/>
            <a:ext cx="292735" cy="274320"/>
          </a:xfrm>
          <a:custGeom>
            <a:avLst/>
            <a:gdLst>
              <a:gd name="T0" fmla="*/ 0 w 375"/>
              <a:gd name="T1" fmla="*/ 4 h 372"/>
              <a:gd name="T2" fmla="*/ 1 w 375"/>
              <a:gd name="T3" fmla="*/ 3 h 372"/>
              <a:gd name="T4" fmla="*/ 1 w 375"/>
              <a:gd name="T5" fmla="*/ 3 h 372"/>
              <a:gd name="T6" fmla="*/ 4 w 375"/>
              <a:gd name="T7" fmla="*/ 3 h 372"/>
              <a:gd name="T8" fmla="*/ 5 w 375"/>
              <a:gd name="T9" fmla="*/ 3 h 372"/>
              <a:gd name="T10" fmla="*/ 6 w 375"/>
              <a:gd name="T11" fmla="*/ 0 h 372"/>
              <a:gd name="T12" fmla="*/ 7 w 375"/>
              <a:gd name="T13" fmla="*/ 0 h 372"/>
              <a:gd name="T14" fmla="*/ 7 w 375"/>
              <a:gd name="T15" fmla="*/ 1 h 372"/>
              <a:gd name="T16" fmla="*/ 9 w 375"/>
              <a:gd name="T17" fmla="*/ 3 h 372"/>
              <a:gd name="T18" fmla="*/ 8 w 375"/>
              <a:gd name="T19" fmla="*/ 3 h 372"/>
              <a:gd name="T20" fmla="*/ 6 w 375"/>
              <a:gd name="T21" fmla="*/ 6 h 372"/>
              <a:gd name="T22" fmla="*/ 6 w 375"/>
              <a:gd name="T23" fmla="*/ 8 h 372"/>
              <a:gd name="T24" fmla="*/ 5 w 375"/>
              <a:gd name="T25" fmla="*/ 9 h 372"/>
              <a:gd name="T26" fmla="*/ 3 w 375"/>
              <a:gd name="T27" fmla="*/ 8 h 372"/>
              <a:gd name="T28" fmla="*/ 3 w 375"/>
              <a:gd name="T29" fmla="*/ 8 h 372"/>
              <a:gd name="T30" fmla="*/ 2 w 375"/>
              <a:gd name="T31" fmla="*/ 7 h 372"/>
              <a:gd name="T32" fmla="*/ 1 w 375"/>
              <a:gd name="T33" fmla="*/ 7 h 372"/>
              <a:gd name="T34" fmla="*/ 0 w 375"/>
              <a:gd name="T35" fmla="*/ 4 h 37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75"/>
              <a:gd name="T55" fmla="*/ 0 h 372"/>
              <a:gd name="T56" fmla="*/ 375 w 375"/>
              <a:gd name="T57" fmla="*/ 372 h 372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75" h="372">
                <a:moveTo>
                  <a:pt x="0" y="168"/>
                </a:moveTo>
                <a:lnTo>
                  <a:pt x="25" y="120"/>
                </a:lnTo>
                <a:lnTo>
                  <a:pt x="58" y="149"/>
                </a:lnTo>
                <a:lnTo>
                  <a:pt x="168" y="138"/>
                </a:lnTo>
                <a:lnTo>
                  <a:pt x="207" y="123"/>
                </a:lnTo>
                <a:lnTo>
                  <a:pt x="259" y="0"/>
                </a:lnTo>
                <a:lnTo>
                  <a:pt x="324" y="5"/>
                </a:lnTo>
                <a:lnTo>
                  <a:pt x="309" y="36"/>
                </a:lnTo>
                <a:lnTo>
                  <a:pt x="375" y="149"/>
                </a:lnTo>
                <a:lnTo>
                  <a:pt x="340" y="141"/>
                </a:lnTo>
                <a:lnTo>
                  <a:pt x="275" y="270"/>
                </a:lnTo>
                <a:lnTo>
                  <a:pt x="266" y="349"/>
                </a:lnTo>
                <a:lnTo>
                  <a:pt x="223" y="372"/>
                </a:lnTo>
                <a:lnTo>
                  <a:pt x="152" y="326"/>
                </a:lnTo>
                <a:lnTo>
                  <a:pt x="107" y="346"/>
                </a:lnTo>
                <a:lnTo>
                  <a:pt x="103" y="310"/>
                </a:lnTo>
                <a:lnTo>
                  <a:pt x="43" y="318"/>
                </a:lnTo>
                <a:lnTo>
                  <a:pt x="0" y="16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Freeform 352"/>
          <p:cNvSpPr/>
          <p:nvPr/>
        </p:nvSpPr>
        <p:spPr bwMode="auto">
          <a:xfrm>
            <a:off x="4923155" y="4492625"/>
            <a:ext cx="67945" cy="20320"/>
          </a:xfrm>
          <a:custGeom>
            <a:avLst/>
            <a:gdLst>
              <a:gd name="T0" fmla="*/ 0 w 89"/>
              <a:gd name="T1" fmla="*/ 0 h 28"/>
              <a:gd name="T2" fmla="*/ 0 w 89"/>
              <a:gd name="T3" fmla="*/ 1 h 28"/>
              <a:gd name="T4" fmla="*/ 2 w 89"/>
              <a:gd name="T5" fmla="*/ 0 h 28"/>
              <a:gd name="T6" fmla="*/ 1 w 89"/>
              <a:gd name="T7" fmla="*/ 0 h 28"/>
              <a:gd name="T8" fmla="*/ 0 w 89"/>
              <a:gd name="T9" fmla="*/ 0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9"/>
              <a:gd name="T16" fmla="*/ 0 h 28"/>
              <a:gd name="T17" fmla="*/ 89 w 89"/>
              <a:gd name="T18" fmla="*/ 28 h 2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9" h="28">
                <a:moveTo>
                  <a:pt x="0" y="5"/>
                </a:moveTo>
                <a:lnTo>
                  <a:pt x="11" y="28"/>
                </a:lnTo>
                <a:lnTo>
                  <a:pt x="89" y="9"/>
                </a:lnTo>
                <a:lnTo>
                  <a:pt x="27" y="0"/>
                </a:lnTo>
                <a:lnTo>
                  <a:pt x="0" y="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Freeform 353"/>
          <p:cNvSpPr/>
          <p:nvPr/>
        </p:nvSpPr>
        <p:spPr bwMode="auto">
          <a:xfrm>
            <a:off x="4982845" y="4159250"/>
            <a:ext cx="185420" cy="243205"/>
          </a:xfrm>
          <a:custGeom>
            <a:avLst/>
            <a:gdLst>
              <a:gd name="T0" fmla="*/ 0 w 236"/>
              <a:gd name="T1" fmla="*/ 5 h 326"/>
              <a:gd name="T2" fmla="*/ 1 w 236"/>
              <a:gd name="T3" fmla="*/ 6 h 326"/>
              <a:gd name="T4" fmla="*/ 0 w 236"/>
              <a:gd name="T5" fmla="*/ 7 h 326"/>
              <a:gd name="T6" fmla="*/ 1 w 236"/>
              <a:gd name="T7" fmla="*/ 8 h 326"/>
              <a:gd name="T8" fmla="*/ 1 w 236"/>
              <a:gd name="T9" fmla="*/ 5 h 326"/>
              <a:gd name="T10" fmla="*/ 2 w 236"/>
              <a:gd name="T11" fmla="*/ 5 h 326"/>
              <a:gd name="T12" fmla="*/ 2 w 236"/>
              <a:gd name="T13" fmla="*/ 6 h 326"/>
              <a:gd name="T14" fmla="*/ 3 w 236"/>
              <a:gd name="T15" fmla="*/ 7 h 326"/>
              <a:gd name="T16" fmla="*/ 3 w 236"/>
              <a:gd name="T17" fmla="*/ 6 h 326"/>
              <a:gd name="T18" fmla="*/ 2 w 236"/>
              <a:gd name="T19" fmla="*/ 4 h 326"/>
              <a:gd name="T20" fmla="*/ 4 w 236"/>
              <a:gd name="T21" fmla="*/ 3 h 326"/>
              <a:gd name="T22" fmla="*/ 2 w 236"/>
              <a:gd name="T23" fmla="*/ 3 h 326"/>
              <a:gd name="T24" fmla="*/ 1 w 236"/>
              <a:gd name="T25" fmla="*/ 1 h 326"/>
              <a:gd name="T26" fmla="*/ 5 w 236"/>
              <a:gd name="T27" fmla="*/ 1 h 326"/>
              <a:gd name="T28" fmla="*/ 6 w 236"/>
              <a:gd name="T29" fmla="*/ 0 h 326"/>
              <a:gd name="T30" fmla="*/ 5 w 236"/>
              <a:gd name="T31" fmla="*/ 1 h 326"/>
              <a:gd name="T32" fmla="*/ 2 w 236"/>
              <a:gd name="T33" fmla="*/ 0 h 326"/>
              <a:gd name="T34" fmla="*/ 1 w 236"/>
              <a:gd name="T35" fmla="*/ 1 h 326"/>
              <a:gd name="T36" fmla="*/ 0 w 236"/>
              <a:gd name="T37" fmla="*/ 5 h 32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36"/>
              <a:gd name="T58" fmla="*/ 0 h 326"/>
              <a:gd name="T59" fmla="*/ 236 w 236"/>
              <a:gd name="T60" fmla="*/ 326 h 32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36" h="326">
                <a:moveTo>
                  <a:pt x="0" y="195"/>
                </a:moveTo>
                <a:lnTo>
                  <a:pt x="32" y="253"/>
                </a:lnTo>
                <a:lnTo>
                  <a:pt x="19" y="313"/>
                </a:lnTo>
                <a:lnTo>
                  <a:pt x="58" y="326"/>
                </a:lnTo>
                <a:lnTo>
                  <a:pt x="56" y="206"/>
                </a:lnTo>
                <a:lnTo>
                  <a:pt x="80" y="195"/>
                </a:lnTo>
                <a:lnTo>
                  <a:pt x="83" y="238"/>
                </a:lnTo>
                <a:lnTo>
                  <a:pt x="105" y="292"/>
                </a:lnTo>
                <a:lnTo>
                  <a:pt x="146" y="268"/>
                </a:lnTo>
                <a:lnTo>
                  <a:pt x="95" y="158"/>
                </a:lnTo>
                <a:lnTo>
                  <a:pt x="174" y="107"/>
                </a:lnTo>
                <a:lnTo>
                  <a:pt x="68" y="139"/>
                </a:lnTo>
                <a:lnTo>
                  <a:pt x="53" y="66"/>
                </a:lnTo>
                <a:lnTo>
                  <a:pt x="209" y="60"/>
                </a:lnTo>
                <a:lnTo>
                  <a:pt x="236" y="0"/>
                </a:lnTo>
                <a:lnTo>
                  <a:pt x="190" y="37"/>
                </a:lnTo>
                <a:lnTo>
                  <a:pt x="80" y="19"/>
                </a:lnTo>
                <a:lnTo>
                  <a:pt x="43" y="45"/>
                </a:lnTo>
                <a:lnTo>
                  <a:pt x="0" y="19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Freeform 354"/>
          <p:cNvSpPr/>
          <p:nvPr/>
        </p:nvSpPr>
        <p:spPr bwMode="auto">
          <a:xfrm>
            <a:off x="5128260" y="4492625"/>
            <a:ext cx="104140" cy="61595"/>
          </a:xfrm>
          <a:custGeom>
            <a:avLst/>
            <a:gdLst>
              <a:gd name="T0" fmla="*/ 0 w 130"/>
              <a:gd name="T1" fmla="*/ 1 h 84"/>
              <a:gd name="T2" fmla="*/ 0 w 130"/>
              <a:gd name="T3" fmla="*/ 2 h 84"/>
              <a:gd name="T4" fmla="*/ 3 w 130"/>
              <a:gd name="T5" fmla="*/ 0 h 84"/>
              <a:gd name="T6" fmla="*/ 1 w 130"/>
              <a:gd name="T7" fmla="*/ 1 h 84"/>
              <a:gd name="T8" fmla="*/ 0 w 130"/>
              <a:gd name="T9" fmla="*/ 1 h 8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0"/>
              <a:gd name="T16" fmla="*/ 0 h 84"/>
              <a:gd name="T17" fmla="*/ 130 w 130"/>
              <a:gd name="T18" fmla="*/ 84 h 8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0" h="84">
                <a:moveTo>
                  <a:pt x="0" y="50"/>
                </a:moveTo>
                <a:lnTo>
                  <a:pt x="5" y="84"/>
                </a:lnTo>
                <a:lnTo>
                  <a:pt x="130" y="0"/>
                </a:lnTo>
                <a:lnTo>
                  <a:pt x="37" y="27"/>
                </a:lnTo>
                <a:lnTo>
                  <a:pt x="0" y="5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Freeform 355"/>
          <p:cNvSpPr/>
          <p:nvPr/>
        </p:nvSpPr>
        <p:spPr bwMode="auto">
          <a:xfrm>
            <a:off x="5234305" y="4149090"/>
            <a:ext cx="38100" cy="95885"/>
          </a:xfrm>
          <a:custGeom>
            <a:avLst/>
            <a:gdLst>
              <a:gd name="T0" fmla="*/ 0 w 47"/>
              <a:gd name="T1" fmla="*/ 1 h 131"/>
              <a:gd name="T2" fmla="*/ 0 w 47"/>
              <a:gd name="T3" fmla="*/ 2 h 131"/>
              <a:gd name="T4" fmla="*/ 1 w 47"/>
              <a:gd name="T5" fmla="*/ 3 h 131"/>
              <a:gd name="T6" fmla="*/ 1 w 47"/>
              <a:gd name="T7" fmla="*/ 2 h 131"/>
              <a:gd name="T8" fmla="*/ 1 w 47"/>
              <a:gd name="T9" fmla="*/ 1 h 131"/>
              <a:gd name="T10" fmla="*/ 1 w 47"/>
              <a:gd name="T11" fmla="*/ 1 h 131"/>
              <a:gd name="T12" fmla="*/ 0 w 47"/>
              <a:gd name="T13" fmla="*/ 1 h 131"/>
              <a:gd name="T14" fmla="*/ 1 w 47"/>
              <a:gd name="T15" fmla="*/ 0 h 131"/>
              <a:gd name="T16" fmla="*/ 0 w 47"/>
              <a:gd name="T17" fmla="*/ 1 h 1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7"/>
              <a:gd name="T28" fmla="*/ 0 h 131"/>
              <a:gd name="T29" fmla="*/ 47 w 47"/>
              <a:gd name="T30" fmla="*/ 131 h 1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7" h="131">
                <a:moveTo>
                  <a:pt x="0" y="45"/>
                </a:moveTo>
                <a:lnTo>
                  <a:pt x="12" y="105"/>
                </a:lnTo>
                <a:lnTo>
                  <a:pt x="37" y="131"/>
                </a:lnTo>
                <a:lnTo>
                  <a:pt x="19" y="76"/>
                </a:lnTo>
                <a:lnTo>
                  <a:pt x="47" y="69"/>
                </a:lnTo>
                <a:lnTo>
                  <a:pt x="45" y="27"/>
                </a:lnTo>
                <a:lnTo>
                  <a:pt x="12" y="53"/>
                </a:lnTo>
                <a:lnTo>
                  <a:pt x="24" y="0"/>
                </a:lnTo>
                <a:lnTo>
                  <a:pt x="0" y="4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Freeform 356"/>
          <p:cNvSpPr/>
          <p:nvPr/>
        </p:nvSpPr>
        <p:spPr bwMode="auto">
          <a:xfrm>
            <a:off x="5250815" y="4306570"/>
            <a:ext cx="84455" cy="31115"/>
          </a:xfrm>
          <a:custGeom>
            <a:avLst/>
            <a:gdLst>
              <a:gd name="T0" fmla="*/ 0 w 109"/>
              <a:gd name="T1" fmla="*/ 0 h 42"/>
              <a:gd name="T2" fmla="*/ 1 w 109"/>
              <a:gd name="T3" fmla="*/ 0 h 42"/>
              <a:gd name="T4" fmla="*/ 3 w 109"/>
              <a:gd name="T5" fmla="*/ 1 h 42"/>
              <a:gd name="T6" fmla="*/ 0 w 109"/>
              <a:gd name="T7" fmla="*/ 0 h 42"/>
              <a:gd name="T8" fmla="*/ 0 60000 65536"/>
              <a:gd name="T9" fmla="*/ 0 60000 65536"/>
              <a:gd name="T10" fmla="*/ 0 60000 65536"/>
              <a:gd name="T11" fmla="*/ 0 60000 65536"/>
              <a:gd name="T12" fmla="*/ 0 w 109"/>
              <a:gd name="T13" fmla="*/ 0 h 42"/>
              <a:gd name="T14" fmla="*/ 109 w 109"/>
              <a:gd name="T15" fmla="*/ 42 h 4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9" h="42">
                <a:moveTo>
                  <a:pt x="0" y="15"/>
                </a:moveTo>
                <a:lnTo>
                  <a:pt x="60" y="0"/>
                </a:lnTo>
                <a:lnTo>
                  <a:pt x="109" y="42"/>
                </a:lnTo>
                <a:lnTo>
                  <a:pt x="0" y="1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Freeform 357"/>
          <p:cNvSpPr/>
          <p:nvPr/>
        </p:nvSpPr>
        <p:spPr bwMode="auto">
          <a:xfrm>
            <a:off x="5338445" y="4231640"/>
            <a:ext cx="311150" cy="281305"/>
          </a:xfrm>
          <a:custGeom>
            <a:avLst/>
            <a:gdLst>
              <a:gd name="T0" fmla="*/ 0 w 400"/>
              <a:gd name="T1" fmla="*/ 1 h 384"/>
              <a:gd name="T2" fmla="*/ 1 w 400"/>
              <a:gd name="T3" fmla="*/ 2 h 384"/>
              <a:gd name="T4" fmla="*/ 3 w 400"/>
              <a:gd name="T5" fmla="*/ 2 h 384"/>
              <a:gd name="T6" fmla="*/ 1 w 400"/>
              <a:gd name="T7" fmla="*/ 2 h 384"/>
              <a:gd name="T8" fmla="*/ 2 w 400"/>
              <a:gd name="T9" fmla="*/ 4 h 384"/>
              <a:gd name="T10" fmla="*/ 3 w 400"/>
              <a:gd name="T11" fmla="*/ 3 h 384"/>
              <a:gd name="T12" fmla="*/ 3 w 400"/>
              <a:gd name="T13" fmla="*/ 4 h 384"/>
              <a:gd name="T14" fmla="*/ 7 w 400"/>
              <a:gd name="T15" fmla="*/ 5 h 384"/>
              <a:gd name="T16" fmla="*/ 7 w 400"/>
              <a:gd name="T17" fmla="*/ 7 h 384"/>
              <a:gd name="T18" fmla="*/ 7 w 400"/>
              <a:gd name="T19" fmla="*/ 7 h 384"/>
              <a:gd name="T20" fmla="*/ 6 w 400"/>
              <a:gd name="T21" fmla="*/ 8 h 384"/>
              <a:gd name="T22" fmla="*/ 8 w 400"/>
              <a:gd name="T23" fmla="*/ 8 h 384"/>
              <a:gd name="T24" fmla="*/ 9 w 400"/>
              <a:gd name="T25" fmla="*/ 9 h 384"/>
              <a:gd name="T26" fmla="*/ 9 w 400"/>
              <a:gd name="T27" fmla="*/ 2 h 384"/>
              <a:gd name="T28" fmla="*/ 6 w 400"/>
              <a:gd name="T29" fmla="*/ 1 h 384"/>
              <a:gd name="T30" fmla="*/ 4 w 400"/>
              <a:gd name="T31" fmla="*/ 3 h 384"/>
              <a:gd name="T32" fmla="*/ 3 w 400"/>
              <a:gd name="T33" fmla="*/ 2 h 384"/>
              <a:gd name="T34" fmla="*/ 3 w 400"/>
              <a:gd name="T35" fmla="*/ 0 h 384"/>
              <a:gd name="T36" fmla="*/ 1 w 400"/>
              <a:gd name="T37" fmla="*/ 0 h 384"/>
              <a:gd name="T38" fmla="*/ 0 w 400"/>
              <a:gd name="T39" fmla="*/ 1 h 38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400"/>
              <a:gd name="T61" fmla="*/ 0 h 384"/>
              <a:gd name="T62" fmla="*/ 400 w 400"/>
              <a:gd name="T63" fmla="*/ 384 h 38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400" h="384">
                <a:moveTo>
                  <a:pt x="0" y="47"/>
                </a:moveTo>
                <a:lnTo>
                  <a:pt x="62" y="84"/>
                </a:lnTo>
                <a:lnTo>
                  <a:pt x="118" y="76"/>
                </a:lnTo>
                <a:lnTo>
                  <a:pt x="42" y="103"/>
                </a:lnTo>
                <a:lnTo>
                  <a:pt x="81" y="164"/>
                </a:lnTo>
                <a:lnTo>
                  <a:pt x="114" y="112"/>
                </a:lnTo>
                <a:lnTo>
                  <a:pt x="140" y="164"/>
                </a:lnTo>
                <a:lnTo>
                  <a:pt x="282" y="223"/>
                </a:lnTo>
                <a:lnTo>
                  <a:pt x="315" y="315"/>
                </a:lnTo>
                <a:lnTo>
                  <a:pt x="289" y="312"/>
                </a:lnTo>
                <a:lnTo>
                  <a:pt x="266" y="356"/>
                </a:lnTo>
                <a:lnTo>
                  <a:pt x="352" y="334"/>
                </a:lnTo>
                <a:lnTo>
                  <a:pt x="400" y="384"/>
                </a:lnTo>
                <a:lnTo>
                  <a:pt x="394" y="99"/>
                </a:lnTo>
                <a:lnTo>
                  <a:pt x="271" y="47"/>
                </a:lnTo>
                <a:lnTo>
                  <a:pt x="171" y="130"/>
                </a:lnTo>
                <a:lnTo>
                  <a:pt x="133" y="89"/>
                </a:lnTo>
                <a:lnTo>
                  <a:pt x="119" y="19"/>
                </a:lnTo>
                <a:lnTo>
                  <a:pt x="62" y="0"/>
                </a:lnTo>
                <a:lnTo>
                  <a:pt x="0" y="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Freeform 358"/>
          <p:cNvSpPr/>
          <p:nvPr/>
        </p:nvSpPr>
        <p:spPr bwMode="auto">
          <a:xfrm>
            <a:off x="5346700" y="4448175"/>
            <a:ext cx="16510" cy="26035"/>
          </a:xfrm>
          <a:custGeom>
            <a:avLst/>
            <a:gdLst>
              <a:gd name="T0" fmla="*/ 0 w 19"/>
              <a:gd name="T1" fmla="*/ 1 h 33"/>
              <a:gd name="T2" fmla="*/ 0 w 19"/>
              <a:gd name="T3" fmla="*/ 0 h 33"/>
              <a:gd name="T4" fmla="*/ 1 w 19"/>
              <a:gd name="T5" fmla="*/ 1 h 33"/>
              <a:gd name="T6" fmla="*/ 0 w 19"/>
              <a:gd name="T7" fmla="*/ 1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33"/>
              <a:gd name="T14" fmla="*/ 19 w 19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33">
                <a:moveTo>
                  <a:pt x="0" y="33"/>
                </a:moveTo>
                <a:lnTo>
                  <a:pt x="11" y="0"/>
                </a:lnTo>
                <a:lnTo>
                  <a:pt x="19" y="18"/>
                </a:lnTo>
                <a:lnTo>
                  <a:pt x="0" y="3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Freeform 359"/>
          <p:cNvSpPr/>
          <p:nvPr/>
        </p:nvSpPr>
        <p:spPr bwMode="auto">
          <a:xfrm>
            <a:off x="2757805" y="2852420"/>
            <a:ext cx="568960" cy="534670"/>
          </a:xfrm>
          <a:custGeom>
            <a:avLst/>
            <a:gdLst>
              <a:gd name="T0" fmla="*/ 0 w 730"/>
              <a:gd name="T1" fmla="*/ 1 h 725"/>
              <a:gd name="T2" fmla="*/ 1 w 730"/>
              <a:gd name="T3" fmla="*/ 0 h 725"/>
              <a:gd name="T4" fmla="*/ 2 w 730"/>
              <a:gd name="T5" fmla="*/ 1 h 725"/>
              <a:gd name="T6" fmla="*/ 3 w 730"/>
              <a:gd name="T7" fmla="*/ 0 h 725"/>
              <a:gd name="T8" fmla="*/ 4 w 730"/>
              <a:gd name="T9" fmla="*/ 1 h 725"/>
              <a:gd name="T10" fmla="*/ 4 w 730"/>
              <a:gd name="T11" fmla="*/ 1 h 725"/>
              <a:gd name="T12" fmla="*/ 5 w 730"/>
              <a:gd name="T13" fmla="*/ 3 h 725"/>
              <a:gd name="T14" fmla="*/ 7 w 730"/>
              <a:gd name="T15" fmla="*/ 4 h 725"/>
              <a:gd name="T16" fmla="*/ 9 w 730"/>
              <a:gd name="T17" fmla="*/ 3 h 725"/>
              <a:gd name="T18" fmla="*/ 9 w 730"/>
              <a:gd name="T19" fmla="*/ 3 h 725"/>
              <a:gd name="T20" fmla="*/ 11 w 730"/>
              <a:gd name="T21" fmla="*/ 2 h 725"/>
              <a:gd name="T22" fmla="*/ 15 w 730"/>
              <a:gd name="T23" fmla="*/ 4 h 725"/>
              <a:gd name="T24" fmla="*/ 15 w 730"/>
              <a:gd name="T25" fmla="*/ 5 h 725"/>
              <a:gd name="T26" fmla="*/ 15 w 730"/>
              <a:gd name="T27" fmla="*/ 7 h 725"/>
              <a:gd name="T28" fmla="*/ 15 w 730"/>
              <a:gd name="T29" fmla="*/ 9 h 725"/>
              <a:gd name="T30" fmla="*/ 15 w 730"/>
              <a:gd name="T31" fmla="*/ 10 h 725"/>
              <a:gd name="T32" fmla="*/ 15 w 730"/>
              <a:gd name="T33" fmla="*/ 12 h 725"/>
              <a:gd name="T34" fmla="*/ 17 w 730"/>
              <a:gd name="T35" fmla="*/ 15 h 725"/>
              <a:gd name="T36" fmla="*/ 15 w 730"/>
              <a:gd name="T37" fmla="*/ 17 h 725"/>
              <a:gd name="T38" fmla="*/ 12 w 730"/>
              <a:gd name="T39" fmla="*/ 16 h 725"/>
              <a:gd name="T40" fmla="*/ 11 w 730"/>
              <a:gd name="T41" fmla="*/ 15 h 725"/>
              <a:gd name="T42" fmla="*/ 8 w 730"/>
              <a:gd name="T43" fmla="*/ 15 h 725"/>
              <a:gd name="T44" fmla="*/ 7 w 730"/>
              <a:gd name="T45" fmla="*/ 14 h 725"/>
              <a:gd name="T46" fmla="*/ 5 w 730"/>
              <a:gd name="T47" fmla="*/ 11 h 725"/>
              <a:gd name="T48" fmla="*/ 4 w 730"/>
              <a:gd name="T49" fmla="*/ 11 h 725"/>
              <a:gd name="T50" fmla="*/ 4 w 730"/>
              <a:gd name="T51" fmla="*/ 11 h 725"/>
              <a:gd name="T52" fmla="*/ 3 w 730"/>
              <a:gd name="T53" fmla="*/ 9 h 725"/>
              <a:gd name="T54" fmla="*/ 1 w 730"/>
              <a:gd name="T55" fmla="*/ 7 h 725"/>
              <a:gd name="T56" fmla="*/ 2 w 730"/>
              <a:gd name="T57" fmla="*/ 5 h 725"/>
              <a:gd name="T58" fmla="*/ 1 w 730"/>
              <a:gd name="T59" fmla="*/ 5 h 725"/>
              <a:gd name="T60" fmla="*/ 1 w 730"/>
              <a:gd name="T61" fmla="*/ 3 h 725"/>
              <a:gd name="T62" fmla="*/ 0 w 730"/>
              <a:gd name="T63" fmla="*/ 1 h 72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730"/>
              <a:gd name="T97" fmla="*/ 0 h 725"/>
              <a:gd name="T98" fmla="*/ 730 w 730"/>
              <a:gd name="T99" fmla="*/ 725 h 72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730" h="725">
                <a:moveTo>
                  <a:pt x="0" y="24"/>
                </a:moveTo>
                <a:lnTo>
                  <a:pt x="20" y="0"/>
                </a:lnTo>
                <a:lnTo>
                  <a:pt x="76" y="54"/>
                </a:lnTo>
                <a:lnTo>
                  <a:pt x="144" y="10"/>
                </a:lnTo>
                <a:lnTo>
                  <a:pt x="153" y="53"/>
                </a:lnTo>
                <a:lnTo>
                  <a:pt x="185" y="68"/>
                </a:lnTo>
                <a:lnTo>
                  <a:pt x="193" y="114"/>
                </a:lnTo>
                <a:lnTo>
                  <a:pt x="292" y="166"/>
                </a:lnTo>
                <a:lnTo>
                  <a:pt x="383" y="150"/>
                </a:lnTo>
                <a:lnTo>
                  <a:pt x="374" y="123"/>
                </a:lnTo>
                <a:lnTo>
                  <a:pt x="497" y="77"/>
                </a:lnTo>
                <a:lnTo>
                  <a:pt x="653" y="158"/>
                </a:lnTo>
                <a:lnTo>
                  <a:pt x="655" y="204"/>
                </a:lnTo>
                <a:lnTo>
                  <a:pt x="630" y="287"/>
                </a:lnTo>
                <a:lnTo>
                  <a:pt x="636" y="406"/>
                </a:lnTo>
                <a:lnTo>
                  <a:pt x="672" y="441"/>
                </a:lnTo>
                <a:lnTo>
                  <a:pt x="644" y="499"/>
                </a:lnTo>
                <a:lnTo>
                  <a:pt x="730" y="632"/>
                </a:lnTo>
                <a:lnTo>
                  <a:pt x="671" y="725"/>
                </a:lnTo>
                <a:lnTo>
                  <a:pt x="510" y="693"/>
                </a:lnTo>
                <a:lnTo>
                  <a:pt x="474" y="633"/>
                </a:lnTo>
                <a:lnTo>
                  <a:pt x="361" y="655"/>
                </a:lnTo>
                <a:lnTo>
                  <a:pt x="279" y="597"/>
                </a:lnTo>
                <a:lnTo>
                  <a:pt x="223" y="484"/>
                </a:lnTo>
                <a:lnTo>
                  <a:pt x="183" y="468"/>
                </a:lnTo>
                <a:lnTo>
                  <a:pt x="171" y="490"/>
                </a:lnTo>
                <a:lnTo>
                  <a:pt x="121" y="377"/>
                </a:lnTo>
                <a:lnTo>
                  <a:pt x="50" y="310"/>
                </a:lnTo>
                <a:lnTo>
                  <a:pt x="82" y="204"/>
                </a:lnTo>
                <a:lnTo>
                  <a:pt x="52" y="192"/>
                </a:lnTo>
                <a:lnTo>
                  <a:pt x="28" y="134"/>
                </a:lnTo>
                <a:lnTo>
                  <a:pt x="0" y="2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Freeform 360"/>
          <p:cNvSpPr/>
          <p:nvPr/>
        </p:nvSpPr>
        <p:spPr bwMode="auto">
          <a:xfrm>
            <a:off x="2593975" y="2953385"/>
            <a:ext cx="297815" cy="294640"/>
          </a:xfrm>
          <a:custGeom>
            <a:avLst/>
            <a:gdLst>
              <a:gd name="T0" fmla="*/ 0 w 379"/>
              <a:gd name="T1" fmla="*/ 5 h 402"/>
              <a:gd name="T2" fmla="*/ 0 w 379"/>
              <a:gd name="T3" fmla="*/ 6 h 402"/>
              <a:gd name="T4" fmla="*/ 5 w 379"/>
              <a:gd name="T5" fmla="*/ 8 h 402"/>
              <a:gd name="T6" fmla="*/ 5 w 379"/>
              <a:gd name="T7" fmla="*/ 9 h 402"/>
              <a:gd name="T8" fmla="*/ 6 w 379"/>
              <a:gd name="T9" fmla="*/ 9 h 402"/>
              <a:gd name="T10" fmla="*/ 7 w 379"/>
              <a:gd name="T11" fmla="*/ 9 h 402"/>
              <a:gd name="T12" fmla="*/ 9 w 379"/>
              <a:gd name="T13" fmla="*/ 8 h 402"/>
              <a:gd name="T14" fmla="*/ 9 w 379"/>
              <a:gd name="T15" fmla="*/ 8 h 402"/>
              <a:gd name="T16" fmla="*/ 8 w 379"/>
              <a:gd name="T17" fmla="*/ 6 h 402"/>
              <a:gd name="T18" fmla="*/ 6 w 379"/>
              <a:gd name="T19" fmla="*/ 4 h 402"/>
              <a:gd name="T20" fmla="*/ 7 w 379"/>
              <a:gd name="T21" fmla="*/ 2 h 402"/>
              <a:gd name="T22" fmla="*/ 6 w 379"/>
              <a:gd name="T23" fmla="*/ 1 h 402"/>
              <a:gd name="T24" fmla="*/ 6 w 379"/>
              <a:gd name="T25" fmla="*/ 0 h 402"/>
              <a:gd name="T26" fmla="*/ 3 w 379"/>
              <a:gd name="T27" fmla="*/ 0 h 402"/>
              <a:gd name="T28" fmla="*/ 3 w 379"/>
              <a:gd name="T29" fmla="*/ 1 h 402"/>
              <a:gd name="T30" fmla="*/ 2 w 379"/>
              <a:gd name="T31" fmla="*/ 3 h 402"/>
              <a:gd name="T32" fmla="*/ 0 w 379"/>
              <a:gd name="T33" fmla="*/ 5 h 40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79"/>
              <a:gd name="T52" fmla="*/ 0 h 402"/>
              <a:gd name="T53" fmla="*/ 379 w 379"/>
              <a:gd name="T54" fmla="*/ 402 h 40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79" h="402">
                <a:moveTo>
                  <a:pt x="0" y="195"/>
                </a:moveTo>
                <a:lnTo>
                  <a:pt x="18" y="253"/>
                </a:lnTo>
                <a:lnTo>
                  <a:pt x="191" y="342"/>
                </a:lnTo>
                <a:lnTo>
                  <a:pt x="192" y="373"/>
                </a:lnTo>
                <a:lnTo>
                  <a:pt x="235" y="396"/>
                </a:lnTo>
                <a:lnTo>
                  <a:pt x="301" y="402"/>
                </a:lnTo>
                <a:lnTo>
                  <a:pt x="360" y="360"/>
                </a:lnTo>
                <a:lnTo>
                  <a:pt x="379" y="356"/>
                </a:lnTo>
                <a:lnTo>
                  <a:pt x="329" y="243"/>
                </a:lnTo>
                <a:lnTo>
                  <a:pt x="258" y="176"/>
                </a:lnTo>
                <a:lnTo>
                  <a:pt x="290" y="70"/>
                </a:lnTo>
                <a:lnTo>
                  <a:pt x="260" y="58"/>
                </a:lnTo>
                <a:lnTo>
                  <a:pt x="236" y="0"/>
                </a:lnTo>
                <a:lnTo>
                  <a:pt x="151" y="4"/>
                </a:lnTo>
                <a:lnTo>
                  <a:pt x="109" y="41"/>
                </a:lnTo>
                <a:lnTo>
                  <a:pt x="93" y="139"/>
                </a:lnTo>
                <a:lnTo>
                  <a:pt x="0" y="19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Freeform 361"/>
          <p:cNvSpPr/>
          <p:nvPr/>
        </p:nvSpPr>
        <p:spPr bwMode="auto">
          <a:xfrm>
            <a:off x="1645285" y="2567940"/>
            <a:ext cx="347345" cy="356870"/>
          </a:xfrm>
          <a:custGeom>
            <a:avLst/>
            <a:gdLst>
              <a:gd name="T0" fmla="*/ 0 w 446"/>
              <a:gd name="T1" fmla="*/ 3 h 487"/>
              <a:gd name="T2" fmla="*/ 0 w 446"/>
              <a:gd name="T3" fmla="*/ 1 h 487"/>
              <a:gd name="T4" fmla="*/ 1 w 446"/>
              <a:gd name="T5" fmla="*/ 1 h 487"/>
              <a:gd name="T6" fmla="*/ 2 w 446"/>
              <a:gd name="T7" fmla="*/ 1 h 487"/>
              <a:gd name="T8" fmla="*/ 3 w 446"/>
              <a:gd name="T9" fmla="*/ 0 h 487"/>
              <a:gd name="T10" fmla="*/ 5 w 446"/>
              <a:gd name="T11" fmla="*/ 0 h 487"/>
              <a:gd name="T12" fmla="*/ 6 w 446"/>
              <a:gd name="T13" fmla="*/ 1 h 487"/>
              <a:gd name="T14" fmla="*/ 6 w 446"/>
              <a:gd name="T15" fmla="*/ 2 h 487"/>
              <a:gd name="T16" fmla="*/ 5 w 446"/>
              <a:gd name="T17" fmla="*/ 2 h 487"/>
              <a:gd name="T18" fmla="*/ 5 w 446"/>
              <a:gd name="T19" fmla="*/ 4 h 487"/>
              <a:gd name="T20" fmla="*/ 7 w 446"/>
              <a:gd name="T21" fmla="*/ 6 h 487"/>
              <a:gd name="T22" fmla="*/ 8 w 446"/>
              <a:gd name="T23" fmla="*/ 7 h 487"/>
              <a:gd name="T24" fmla="*/ 8 w 446"/>
              <a:gd name="T25" fmla="*/ 7 h 487"/>
              <a:gd name="T26" fmla="*/ 10 w 446"/>
              <a:gd name="T27" fmla="*/ 9 h 487"/>
              <a:gd name="T28" fmla="*/ 9 w 446"/>
              <a:gd name="T29" fmla="*/ 8 h 487"/>
              <a:gd name="T30" fmla="*/ 9 w 446"/>
              <a:gd name="T31" fmla="*/ 10 h 487"/>
              <a:gd name="T32" fmla="*/ 8 w 446"/>
              <a:gd name="T33" fmla="*/ 11 h 487"/>
              <a:gd name="T34" fmla="*/ 8 w 446"/>
              <a:gd name="T35" fmla="*/ 9 h 487"/>
              <a:gd name="T36" fmla="*/ 4 w 446"/>
              <a:gd name="T37" fmla="*/ 6 h 487"/>
              <a:gd name="T38" fmla="*/ 3 w 446"/>
              <a:gd name="T39" fmla="*/ 4 h 487"/>
              <a:gd name="T40" fmla="*/ 2 w 446"/>
              <a:gd name="T41" fmla="*/ 3 h 487"/>
              <a:gd name="T42" fmla="*/ 1 w 446"/>
              <a:gd name="T43" fmla="*/ 4 h 487"/>
              <a:gd name="T44" fmla="*/ 0 w 446"/>
              <a:gd name="T45" fmla="*/ 3 h 4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46"/>
              <a:gd name="T70" fmla="*/ 0 h 487"/>
              <a:gd name="T71" fmla="*/ 446 w 446"/>
              <a:gd name="T72" fmla="*/ 487 h 48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46" h="487">
                <a:moveTo>
                  <a:pt x="0" y="122"/>
                </a:moveTo>
                <a:lnTo>
                  <a:pt x="11" y="67"/>
                </a:lnTo>
                <a:lnTo>
                  <a:pt x="64" y="39"/>
                </a:lnTo>
                <a:lnTo>
                  <a:pt x="87" y="65"/>
                </a:lnTo>
                <a:lnTo>
                  <a:pt x="141" y="13"/>
                </a:lnTo>
                <a:lnTo>
                  <a:pt x="199" y="0"/>
                </a:lnTo>
                <a:lnTo>
                  <a:pt x="266" y="35"/>
                </a:lnTo>
                <a:lnTo>
                  <a:pt x="266" y="88"/>
                </a:lnTo>
                <a:lnTo>
                  <a:pt x="215" y="97"/>
                </a:lnTo>
                <a:lnTo>
                  <a:pt x="220" y="164"/>
                </a:lnTo>
                <a:lnTo>
                  <a:pt x="305" y="273"/>
                </a:lnTo>
                <a:lnTo>
                  <a:pt x="357" y="281"/>
                </a:lnTo>
                <a:lnTo>
                  <a:pt x="351" y="302"/>
                </a:lnTo>
                <a:lnTo>
                  <a:pt x="446" y="376"/>
                </a:lnTo>
                <a:lnTo>
                  <a:pt x="381" y="362"/>
                </a:lnTo>
                <a:lnTo>
                  <a:pt x="396" y="433"/>
                </a:lnTo>
                <a:lnTo>
                  <a:pt x="357" y="487"/>
                </a:lnTo>
                <a:lnTo>
                  <a:pt x="336" y="377"/>
                </a:lnTo>
                <a:lnTo>
                  <a:pt x="170" y="254"/>
                </a:lnTo>
                <a:lnTo>
                  <a:pt x="131" y="174"/>
                </a:lnTo>
                <a:lnTo>
                  <a:pt x="77" y="146"/>
                </a:lnTo>
                <a:lnTo>
                  <a:pt x="26" y="181"/>
                </a:lnTo>
                <a:lnTo>
                  <a:pt x="0" y="12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Freeform 362"/>
          <p:cNvSpPr/>
          <p:nvPr/>
        </p:nvSpPr>
        <p:spPr bwMode="auto">
          <a:xfrm>
            <a:off x="1688465" y="2797810"/>
            <a:ext cx="41275" cy="87630"/>
          </a:xfrm>
          <a:custGeom>
            <a:avLst/>
            <a:gdLst>
              <a:gd name="T0" fmla="*/ 0 w 53"/>
              <a:gd name="T1" fmla="*/ 0 h 119"/>
              <a:gd name="T2" fmla="*/ 0 w 53"/>
              <a:gd name="T3" fmla="*/ 3 h 119"/>
              <a:gd name="T4" fmla="*/ 1 w 53"/>
              <a:gd name="T5" fmla="*/ 3 h 119"/>
              <a:gd name="T6" fmla="*/ 1 w 53"/>
              <a:gd name="T7" fmla="*/ 1 h 119"/>
              <a:gd name="T8" fmla="*/ 1 w 53"/>
              <a:gd name="T9" fmla="*/ 0 h 119"/>
              <a:gd name="T10" fmla="*/ 0 w 53"/>
              <a:gd name="T11" fmla="*/ 0 h 1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"/>
              <a:gd name="T19" fmla="*/ 0 h 119"/>
              <a:gd name="T20" fmla="*/ 53 w 53"/>
              <a:gd name="T21" fmla="*/ 119 h 1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" h="119">
                <a:moveTo>
                  <a:pt x="0" y="19"/>
                </a:moveTo>
                <a:lnTo>
                  <a:pt x="8" y="111"/>
                </a:lnTo>
                <a:lnTo>
                  <a:pt x="34" y="119"/>
                </a:lnTo>
                <a:lnTo>
                  <a:pt x="53" y="47"/>
                </a:lnTo>
                <a:lnTo>
                  <a:pt x="35" y="0"/>
                </a:lnTo>
                <a:lnTo>
                  <a:pt x="0" y="1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Freeform 363"/>
          <p:cNvSpPr/>
          <p:nvPr/>
        </p:nvSpPr>
        <p:spPr bwMode="auto">
          <a:xfrm>
            <a:off x="1817370" y="2914650"/>
            <a:ext cx="90805" cy="56515"/>
          </a:xfrm>
          <a:custGeom>
            <a:avLst/>
            <a:gdLst>
              <a:gd name="T0" fmla="*/ 0 w 115"/>
              <a:gd name="T1" fmla="*/ 0 h 76"/>
              <a:gd name="T2" fmla="*/ 2 w 115"/>
              <a:gd name="T3" fmla="*/ 2 h 76"/>
              <a:gd name="T4" fmla="*/ 3 w 115"/>
              <a:gd name="T5" fmla="*/ 0 h 76"/>
              <a:gd name="T6" fmla="*/ 0 w 115"/>
              <a:gd name="T7" fmla="*/ 0 h 76"/>
              <a:gd name="T8" fmla="*/ 0 60000 65536"/>
              <a:gd name="T9" fmla="*/ 0 60000 65536"/>
              <a:gd name="T10" fmla="*/ 0 60000 65536"/>
              <a:gd name="T11" fmla="*/ 0 60000 65536"/>
              <a:gd name="T12" fmla="*/ 0 w 115"/>
              <a:gd name="T13" fmla="*/ 0 h 76"/>
              <a:gd name="T14" fmla="*/ 115 w 115"/>
              <a:gd name="T15" fmla="*/ 76 h 7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5" h="76">
                <a:moveTo>
                  <a:pt x="0" y="15"/>
                </a:moveTo>
                <a:lnTo>
                  <a:pt x="97" y="76"/>
                </a:lnTo>
                <a:lnTo>
                  <a:pt x="115" y="0"/>
                </a:lnTo>
                <a:lnTo>
                  <a:pt x="0" y="1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Freeform 364"/>
          <p:cNvSpPr/>
          <p:nvPr/>
        </p:nvSpPr>
        <p:spPr bwMode="auto">
          <a:xfrm>
            <a:off x="5303520" y="3079115"/>
            <a:ext cx="71120" cy="90805"/>
          </a:xfrm>
          <a:custGeom>
            <a:avLst/>
            <a:gdLst>
              <a:gd name="T0" fmla="*/ 0 w 90"/>
              <a:gd name="T1" fmla="*/ 1 h 124"/>
              <a:gd name="T2" fmla="*/ 0 w 90"/>
              <a:gd name="T3" fmla="*/ 1 h 124"/>
              <a:gd name="T4" fmla="*/ 1 w 90"/>
              <a:gd name="T5" fmla="*/ 1 h 124"/>
              <a:gd name="T6" fmla="*/ 1 w 90"/>
              <a:gd name="T7" fmla="*/ 1 h 124"/>
              <a:gd name="T8" fmla="*/ 1 w 90"/>
              <a:gd name="T9" fmla="*/ 3 h 124"/>
              <a:gd name="T10" fmla="*/ 1 w 90"/>
              <a:gd name="T11" fmla="*/ 3 h 124"/>
              <a:gd name="T12" fmla="*/ 2 w 90"/>
              <a:gd name="T13" fmla="*/ 1 h 124"/>
              <a:gd name="T14" fmla="*/ 2 w 90"/>
              <a:gd name="T15" fmla="*/ 0 h 124"/>
              <a:gd name="T16" fmla="*/ 1 w 90"/>
              <a:gd name="T17" fmla="*/ 0 h 124"/>
              <a:gd name="T18" fmla="*/ 0 w 90"/>
              <a:gd name="T19" fmla="*/ 1 h 12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0"/>
              <a:gd name="T31" fmla="*/ 0 h 124"/>
              <a:gd name="T32" fmla="*/ 90 w 90"/>
              <a:gd name="T33" fmla="*/ 124 h 12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0" h="124">
                <a:moveTo>
                  <a:pt x="0" y="32"/>
                </a:moveTo>
                <a:lnTo>
                  <a:pt x="4" y="64"/>
                </a:lnTo>
                <a:lnTo>
                  <a:pt x="25" y="32"/>
                </a:lnTo>
                <a:lnTo>
                  <a:pt x="35" y="51"/>
                </a:lnTo>
                <a:lnTo>
                  <a:pt x="24" y="124"/>
                </a:lnTo>
                <a:lnTo>
                  <a:pt x="64" y="121"/>
                </a:lnTo>
                <a:lnTo>
                  <a:pt x="90" y="48"/>
                </a:lnTo>
                <a:lnTo>
                  <a:pt x="77" y="5"/>
                </a:lnTo>
                <a:lnTo>
                  <a:pt x="36" y="0"/>
                </a:lnTo>
                <a:lnTo>
                  <a:pt x="0" y="3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Freeform 365"/>
          <p:cNvSpPr/>
          <p:nvPr/>
        </p:nvSpPr>
        <p:spPr bwMode="auto">
          <a:xfrm>
            <a:off x="5338445" y="2795905"/>
            <a:ext cx="335915" cy="296545"/>
          </a:xfrm>
          <a:custGeom>
            <a:avLst/>
            <a:gdLst>
              <a:gd name="T0" fmla="*/ 0 w 433"/>
              <a:gd name="T1" fmla="*/ 9 h 403"/>
              <a:gd name="T2" fmla="*/ 2 w 433"/>
              <a:gd name="T3" fmla="*/ 7 h 403"/>
              <a:gd name="T4" fmla="*/ 4 w 433"/>
              <a:gd name="T5" fmla="*/ 7 h 403"/>
              <a:gd name="T6" fmla="*/ 5 w 433"/>
              <a:gd name="T7" fmla="*/ 5 h 403"/>
              <a:gd name="T8" fmla="*/ 6 w 433"/>
              <a:gd name="T9" fmla="*/ 5 h 403"/>
              <a:gd name="T10" fmla="*/ 6 w 433"/>
              <a:gd name="T11" fmla="*/ 5 h 403"/>
              <a:gd name="T12" fmla="*/ 7 w 433"/>
              <a:gd name="T13" fmla="*/ 5 h 403"/>
              <a:gd name="T14" fmla="*/ 8 w 433"/>
              <a:gd name="T15" fmla="*/ 3 h 403"/>
              <a:gd name="T16" fmla="*/ 8 w 433"/>
              <a:gd name="T17" fmla="*/ 1 h 403"/>
              <a:gd name="T18" fmla="*/ 9 w 433"/>
              <a:gd name="T19" fmla="*/ 1 h 403"/>
              <a:gd name="T20" fmla="*/ 9 w 433"/>
              <a:gd name="T21" fmla="*/ 0 h 403"/>
              <a:gd name="T22" fmla="*/ 9 w 433"/>
              <a:gd name="T23" fmla="*/ 0 h 403"/>
              <a:gd name="T24" fmla="*/ 10 w 433"/>
              <a:gd name="T25" fmla="*/ 2 h 403"/>
              <a:gd name="T26" fmla="*/ 9 w 433"/>
              <a:gd name="T27" fmla="*/ 4 h 403"/>
              <a:gd name="T28" fmla="*/ 9 w 433"/>
              <a:gd name="T29" fmla="*/ 5 h 403"/>
              <a:gd name="T30" fmla="*/ 9 w 433"/>
              <a:gd name="T31" fmla="*/ 7 h 403"/>
              <a:gd name="T32" fmla="*/ 8 w 433"/>
              <a:gd name="T33" fmla="*/ 8 h 403"/>
              <a:gd name="T34" fmla="*/ 8 w 433"/>
              <a:gd name="T35" fmla="*/ 7 h 403"/>
              <a:gd name="T36" fmla="*/ 7 w 433"/>
              <a:gd name="T37" fmla="*/ 8 h 403"/>
              <a:gd name="T38" fmla="*/ 5 w 433"/>
              <a:gd name="T39" fmla="*/ 8 h 403"/>
              <a:gd name="T40" fmla="*/ 5 w 433"/>
              <a:gd name="T41" fmla="*/ 9 h 403"/>
              <a:gd name="T42" fmla="*/ 4 w 433"/>
              <a:gd name="T43" fmla="*/ 9 h 403"/>
              <a:gd name="T44" fmla="*/ 4 w 433"/>
              <a:gd name="T45" fmla="*/ 8 h 403"/>
              <a:gd name="T46" fmla="*/ 0 w 433"/>
              <a:gd name="T47" fmla="*/ 9 h 40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33"/>
              <a:gd name="T73" fmla="*/ 0 h 403"/>
              <a:gd name="T74" fmla="*/ 433 w 433"/>
              <a:gd name="T75" fmla="*/ 403 h 40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33" h="403">
                <a:moveTo>
                  <a:pt x="0" y="378"/>
                </a:moveTo>
                <a:lnTo>
                  <a:pt x="80" y="305"/>
                </a:lnTo>
                <a:lnTo>
                  <a:pt x="188" y="305"/>
                </a:lnTo>
                <a:lnTo>
                  <a:pt x="232" y="212"/>
                </a:lnTo>
                <a:lnTo>
                  <a:pt x="250" y="204"/>
                </a:lnTo>
                <a:lnTo>
                  <a:pt x="252" y="239"/>
                </a:lnTo>
                <a:lnTo>
                  <a:pt x="299" y="204"/>
                </a:lnTo>
                <a:lnTo>
                  <a:pt x="343" y="138"/>
                </a:lnTo>
                <a:lnTo>
                  <a:pt x="360" y="21"/>
                </a:lnTo>
                <a:lnTo>
                  <a:pt x="394" y="25"/>
                </a:lnTo>
                <a:lnTo>
                  <a:pt x="385" y="0"/>
                </a:lnTo>
                <a:lnTo>
                  <a:pt x="406" y="1"/>
                </a:lnTo>
                <a:lnTo>
                  <a:pt x="433" y="97"/>
                </a:lnTo>
                <a:lnTo>
                  <a:pt x="394" y="166"/>
                </a:lnTo>
                <a:lnTo>
                  <a:pt x="394" y="227"/>
                </a:lnTo>
                <a:lnTo>
                  <a:pt x="367" y="319"/>
                </a:lnTo>
                <a:lnTo>
                  <a:pt x="346" y="332"/>
                </a:lnTo>
                <a:lnTo>
                  <a:pt x="345" y="297"/>
                </a:lnTo>
                <a:lnTo>
                  <a:pt x="284" y="347"/>
                </a:lnTo>
                <a:lnTo>
                  <a:pt x="232" y="327"/>
                </a:lnTo>
                <a:lnTo>
                  <a:pt x="235" y="368"/>
                </a:lnTo>
                <a:lnTo>
                  <a:pt x="188" y="403"/>
                </a:lnTo>
                <a:lnTo>
                  <a:pt x="177" y="345"/>
                </a:lnTo>
                <a:lnTo>
                  <a:pt x="0" y="37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Freeform 366"/>
          <p:cNvSpPr/>
          <p:nvPr/>
        </p:nvSpPr>
        <p:spPr bwMode="auto">
          <a:xfrm>
            <a:off x="5376545" y="3067050"/>
            <a:ext cx="71120" cy="54610"/>
          </a:xfrm>
          <a:custGeom>
            <a:avLst/>
            <a:gdLst>
              <a:gd name="T0" fmla="*/ 0 w 88"/>
              <a:gd name="T1" fmla="*/ 1 h 73"/>
              <a:gd name="T2" fmla="*/ 1 w 88"/>
              <a:gd name="T3" fmla="*/ 2 h 73"/>
              <a:gd name="T4" fmla="*/ 2 w 88"/>
              <a:gd name="T5" fmla="*/ 1 h 73"/>
              <a:gd name="T6" fmla="*/ 2 w 88"/>
              <a:gd name="T7" fmla="*/ 0 h 73"/>
              <a:gd name="T8" fmla="*/ 0 w 88"/>
              <a:gd name="T9" fmla="*/ 1 h 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8"/>
              <a:gd name="T16" fmla="*/ 0 h 73"/>
              <a:gd name="T17" fmla="*/ 88 w 88"/>
              <a:gd name="T18" fmla="*/ 73 h 7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8" h="73">
                <a:moveTo>
                  <a:pt x="0" y="37"/>
                </a:moveTo>
                <a:lnTo>
                  <a:pt x="33" y="73"/>
                </a:lnTo>
                <a:lnTo>
                  <a:pt x="83" y="46"/>
                </a:lnTo>
                <a:lnTo>
                  <a:pt x="88" y="0"/>
                </a:lnTo>
                <a:lnTo>
                  <a:pt x="0" y="3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Freeform 367"/>
          <p:cNvSpPr/>
          <p:nvPr/>
        </p:nvSpPr>
        <p:spPr bwMode="auto">
          <a:xfrm>
            <a:off x="5606415" y="2638425"/>
            <a:ext cx="175260" cy="157480"/>
          </a:xfrm>
          <a:custGeom>
            <a:avLst/>
            <a:gdLst>
              <a:gd name="T0" fmla="*/ 0 w 226"/>
              <a:gd name="T1" fmla="*/ 4 h 214"/>
              <a:gd name="T2" fmla="*/ 0 w 226"/>
              <a:gd name="T3" fmla="*/ 5 h 214"/>
              <a:gd name="T4" fmla="*/ 1 w 226"/>
              <a:gd name="T5" fmla="*/ 5 h 214"/>
              <a:gd name="T6" fmla="*/ 1 w 226"/>
              <a:gd name="T7" fmla="*/ 4 h 214"/>
              <a:gd name="T8" fmla="*/ 3 w 226"/>
              <a:gd name="T9" fmla="*/ 4 h 214"/>
              <a:gd name="T10" fmla="*/ 3 w 226"/>
              <a:gd name="T11" fmla="*/ 3 h 214"/>
              <a:gd name="T12" fmla="*/ 5 w 226"/>
              <a:gd name="T13" fmla="*/ 3 h 214"/>
              <a:gd name="T14" fmla="*/ 5 w 226"/>
              <a:gd name="T15" fmla="*/ 2 h 214"/>
              <a:gd name="T16" fmla="*/ 5 w 226"/>
              <a:gd name="T17" fmla="*/ 1 h 214"/>
              <a:gd name="T18" fmla="*/ 3 w 226"/>
              <a:gd name="T19" fmla="*/ 1 h 214"/>
              <a:gd name="T20" fmla="*/ 2 w 226"/>
              <a:gd name="T21" fmla="*/ 0 h 214"/>
              <a:gd name="T22" fmla="*/ 1 w 226"/>
              <a:gd name="T23" fmla="*/ 3 h 214"/>
              <a:gd name="T24" fmla="*/ 1 w 226"/>
              <a:gd name="T25" fmla="*/ 3 h 214"/>
              <a:gd name="T26" fmla="*/ 0 w 226"/>
              <a:gd name="T27" fmla="*/ 4 h 21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26"/>
              <a:gd name="T43" fmla="*/ 0 h 214"/>
              <a:gd name="T44" fmla="*/ 226 w 226"/>
              <a:gd name="T45" fmla="*/ 214 h 21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26" h="214">
                <a:moveTo>
                  <a:pt x="0" y="153"/>
                </a:moveTo>
                <a:lnTo>
                  <a:pt x="10" y="214"/>
                </a:lnTo>
                <a:lnTo>
                  <a:pt x="51" y="192"/>
                </a:lnTo>
                <a:lnTo>
                  <a:pt x="23" y="155"/>
                </a:lnTo>
                <a:lnTo>
                  <a:pt x="133" y="188"/>
                </a:lnTo>
                <a:lnTo>
                  <a:pt x="157" y="138"/>
                </a:lnTo>
                <a:lnTo>
                  <a:pt x="226" y="120"/>
                </a:lnTo>
                <a:lnTo>
                  <a:pt x="202" y="86"/>
                </a:lnTo>
                <a:lnTo>
                  <a:pt x="211" y="58"/>
                </a:lnTo>
                <a:lnTo>
                  <a:pt x="150" y="62"/>
                </a:lnTo>
                <a:lnTo>
                  <a:pt x="80" y="0"/>
                </a:lnTo>
                <a:lnTo>
                  <a:pt x="54" y="122"/>
                </a:lnTo>
                <a:lnTo>
                  <a:pt x="22" y="115"/>
                </a:lnTo>
                <a:lnTo>
                  <a:pt x="0" y="15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Freeform 368"/>
          <p:cNvSpPr/>
          <p:nvPr/>
        </p:nvSpPr>
        <p:spPr bwMode="auto">
          <a:xfrm>
            <a:off x="5147945" y="2741295"/>
            <a:ext cx="185420" cy="195580"/>
          </a:xfrm>
          <a:custGeom>
            <a:avLst/>
            <a:gdLst>
              <a:gd name="T0" fmla="*/ 0 w 240"/>
              <a:gd name="T1" fmla="*/ 3 h 268"/>
              <a:gd name="T2" fmla="*/ 1 w 240"/>
              <a:gd name="T3" fmla="*/ 4 h 268"/>
              <a:gd name="T4" fmla="*/ 0 w 240"/>
              <a:gd name="T5" fmla="*/ 6 h 268"/>
              <a:gd name="T6" fmla="*/ 2 w 240"/>
              <a:gd name="T7" fmla="*/ 6 h 268"/>
              <a:gd name="T8" fmla="*/ 3 w 240"/>
              <a:gd name="T9" fmla="*/ 5 h 268"/>
              <a:gd name="T10" fmla="*/ 3 w 240"/>
              <a:gd name="T11" fmla="*/ 4 h 268"/>
              <a:gd name="T12" fmla="*/ 5 w 240"/>
              <a:gd name="T13" fmla="*/ 2 h 268"/>
              <a:gd name="T14" fmla="*/ 5 w 240"/>
              <a:gd name="T15" fmla="*/ 1 h 268"/>
              <a:gd name="T16" fmla="*/ 5 w 240"/>
              <a:gd name="T17" fmla="*/ 0 h 268"/>
              <a:gd name="T18" fmla="*/ 5 w 240"/>
              <a:gd name="T19" fmla="*/ 0 h 268"/>
              <a:gd name="T20" fmla="*/ 3 w 240"/>
              <a:gd name="T21" fmla="*/ 1 h 268"/>
              <a:gd name="T22" fmla="*/ 3 w 240"/>
              <a:gd name="T23" fmla="*/ 2 h 268"/>
              <a:gd name="T24" fmla="*/ 2 w 240"/>
              <a:gd name="T25" fmla="*/ 1 h 268"/>
              <a:gd name="T26" fmla="*/ 0 w 240"/>
              <a:gd name="T27" fmla="*/ 3 h 26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40"/>
              <a:gd name="T43" fmla="*/ 0 h 268"/>
              <a:gd name="T44" fmla="*/ 240 w 240"/>
              <a:gd name="T45" fmla="*/ 268 h 26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40" h="268">
                <a:moveTo>
                  <a:pt x="0" y="151"/>
                </a:moveTo>
                <a:lnTo>
                  <a:pt x="43" y="173"/>
                </a:lnTo>
                <a:lnTo>
                  <a:pt x="15" y="251"/>
                </a:lnTo>
                <a:lnTo>
                  <a:pt x="84" y="268"/>
                </a:lnTo>
                <a:lnTo>
                  <a:pt x="155" y="223"/>
                </a:lnTo>
                <a:lnTo>
                  <a:pt x="122" y="159"/>
                </a:lnTo>
                <a:lnTo>
                  <a:pt x="202" y="101"/>
                </a:lnTo>
                <a:lnTo>
                  <a:pt x="240" y="24"/>
                </a:lnTo>
                <a:lnTo>
                  <a:pt x="237" y="13"/>
                </a:lnTo>
                <a:lnTo>
                  <a:pt x="223" y="0"/>
                </a:lnTo>
                <a:lnTo>
                  <a:pt x="147" y="50"/>
                </a:lnTo>
                <a:lnTo>
                  <a:pt x="147" y="77"/>
                </a:lnTo>
                <a:lnTo>
                  <a:pt x="94" y="68"/>
                </a:lnTo>
                <a:lnTo>
                  <a:pt x="0" y="15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369"/>
          <p:cNvSpPr/>
          <p:nvPr/>
        </p:nvSpPr>
        <p:spPr bwMode="auto">
          <a:xfrm>
            <a:off x="5202555" y="2904490"/>
            <a:ext cx="99060" cy="157480"/>
          </a:xfrm>
          <a:custGeom>
            <a:avLst/>
            <a:gdLst>
              <a:gd name="T0" fmla="*/ 0 w 128"/>
              <a:gd name="T1" fmla="*/ 5 h 212"/>
              <a:gd name="T2" fmla="*/ 0 w 128"/>
              <a:gd name="T3" fmla="*/ 1 h 212"/>
              <a:gd name="T4" fmla="*/ 2 w 128"/>
              <a:gd name="T5" fmla="*/ 0 h 212"/>
              <a:gd name="T6" fmla="*/ 3 w 128"/>
              <a:gd name="T7" fmla="*/ 3 h 212"/>
              <a:gd name="T8" fmla="*/ 2 w 128"/>
              <a:gd name="T9" fmla="*/ 5 h 212"/>
              <a:gd name="T10" fmla="*/ 0 w 128"/>
              <a:gd name="T11" fmla="*/ 5 h 2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8"/>
              <a:gd name="T19" fmla="*/ 0 h 212"/>
              <a:gd name="T20" fmla="*/ 128 w 128"/>
              <a:gd name="T21" fmla="*/ 212 h 2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8" h="212">
                <a:moveTo>
                  <a:pt x="0" y="212"/>
                </a:moveTo>
                <a:lnTo>
                  <a:pt x="13" y="45"/>
                </a:lnTo>
                <a:lnTo>
                  <a:pt x="84" y="0"/>
                </a:lnTo>
                <a:lnTo>
                  <a:pt x="128" y="129"/>
                </a:lnTo>
                <a:lnTo>
                  <a:pt x="82" y="189"/>
                </a:lnTo>
                <a:lnTo>
                  <a:pt x="0" y="21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Freeform 370"/>
          <p:cNvSpPr/>
          <p:nvPr/>
        </p:nvSpPr>
        <p:spPr bwMode="auto">
          <a:xfrm>
            <a:off x="4428490" y="3477260"/>
            <a:ext cx="213360" cy="271145"/>
          </a:xfrm>
          <a:custGeom>
            <a:avLst/>
            <a:gdLst>
              <a:gd name="T0" fmla="*/ 0 w 274"/>
              <a:gd name="T1" fmla="*/ 2 h 369"/>
              <a:gd name="T2" fmla="*/ 1 w 274"/>
              <a:gd name="T3" fmla="*/ 3 h 369"/>
              <a:gd name="T4" fmla="*/ 1 w 274"/>
              <a:gd name="T5" fmla="*/ 5 h 369"/>
              <a:gd name="T6" fmla="*/ 3 w 274"/>
              <a:gd name="T7" fmla="*/ 4 h 369"/>
              <a:gd name="T8" fmla="*/ 4 w 274"/>
              <a:gd name="T9" fmla="*/ 5 h 369"/>
              <a:gd name="T10" fmla="*/ 5 w 274"/>
              <a:gd name="T11" fmla="*/ 7 h 369"/>
              <a:gd name="T12" fmla="*/ 4 w 274"/>
              <a:gd name="T13" fmla="*/ 9 h 369"/>
              <a:gd name="T14" fmla="*/ 6 w 274"/>
              <a:gd name="T15" fmla="*/ 8 h 369"/>
              <a:gd name="T16" fmla="*/ 5 w 274"/>
              <a:gd name="T17" fmla="*/ 5 h 369"/>
              <a:gd name="T18" fmla="*/ 3 w 274"/>
              <a:gd name="T19" fmla="*/ 3 h 369"/>
              <a:gd name="T20" fmla="*/ 4 w 274"/>
              <a:gd name="T21" fmla="*/ 2 h 369"/>
              <a:gd name="T22" fmla="*/ 3 w 274"/>
              <a:gd name="T23" fmla="*/ 1 h 369"/>
              <a:gd name="T24" fmla="*/ 2 w 274"/>
              <a:gd name="T25" fmla="*/ 0 h 369"/>
              <a:gd name="T26" fmla="*/ 1 w 274"/>
              <a:gd name="T27" fmla="*/ 0 h 369"/>
              <a:gd name="T28" fmla="*/ 1 w 274"/>
              <a:gd name="T29" fmla="*/ 1 h 369"/>
              <a:gd name="T30" fmla="*/ 1 w 274"/>
              <a:gd name="T31" fmla="*/ 1 h 369"/>
              <a:gd name="T32" fmla="*/ 0 w 274"/>
              <a:gd name="T33" fmla="*/ 2 h 36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74"/>
              <a:gd name="T52" fmla="*/ 0 h 369"/>
              <a:gd name="T53" fmla="*/ 274 w 274"/>
              <a:gd name="T54" fmla="*/ 369 h 36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74" h="369">
                <a:moveTo>
                  <a:pt x="0" y="79"/>
                </a:moveTo>
                <a:lnTo>
                  <a:pt x="36" y="132"/>
                </a:lnTo>
                <a:lnTo>
                  <a:pt x="25" y="223"/>
                </a:lnTo>
                <a:lnTo>
                  <a:pt x="123" y="184"/>
                </a:lnTo>
                <a:lnTo>
                  <a:pt x="160" y="223"/>
                </a:lnTo>
                <a:lnTo>
                  <a:pt x="198" y="313"/>
                </a:lnTo>
                <a:lnTo>
                  <a:pt x="188" y="369"/>
                </a:lnTo>
                <a:lnTo>
                  <a:pt x="274" y="353"/>
                </a:lnTo>
                <a:lnTo>
                  <a:pt x="231" y="234"/>
                </a:lnTo>
                <a:lnTo>
                  <a:pt x="138" y="147"/>
                </a:lnTo>
                <a:lnTo>
                  <a:pt x="165" y="94"/>
                </a:lnTo>
                <a:lnTo>
                  <a:pt x="112" y="67"/>
                </a:lnTo>
                <a:lnTo>
                  <a:pt x="73" y="0"/>
                </a:lnTo>
                <a:lnTo>
                  <a:pt x="50" y="1"/>
                </a:lnTo>
                <a:lnTo>
                  <a:pt x="52" y="48"/>
                </a:lnTo>
                <a:lnTo>
                  <a:pt x="36" y="36"/>
                </a:lnTo>
                <a:lnTo>
                  <a:pt x="0" y="7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Freeform 371"/>
          <p:cNvSpPr/>
          <p:nvPr/>
        </p:nvSpPr>
        <p:spPr bwMode="auto">
          <a:xfrm>
            <a:off x="1617345" y="2439670"/>
            <a:ext cx="13335" cy="28575"/>
          </a:xfrm>
          <a:custGeom>
            <a:avLst/>
            <a:gdLst>
              <a:gd name="T0" fmla="*/ 0 w 18"/>
              <a:gd name="T1" fmla="*/ 1 h 38"/>
              <a:gd name="T2" fmla="*/ 0 w 18"/>
              <a:gd name="T3" fmla="*/ 0 h 38"/>
              <a:gd name="T4" fmla="*/ 0 w 18"/>
              <a:gd name="T5" fmla="*/ 1 h 38"/>
              <a:gd name="T6" fmla="*/ 0 w 18"/>
              <a:gd name="T7" fmla="*/ 1 h 38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38"/>
              <a:gd name="T14" fmla="*/ 18 w 18"/>
              <a:gd name="T15" fmla="*/ 38 h 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38">
                <a:moveTo>
                  <a:pt x="0" y="30"/>
                </a:moveTo>
                <a:lnTo>
                  <a:pt x="13" y="0"/>
                </a:lnTo>
                <a:lnTo>
                  <a:pt x="18" y="38"/>
                </a:lnTo>
                <a:lnTo>
                  <a:pt x="0" y="3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Freeform 372"/>
          <p:cNvSpPr/>
          <p:nvPr/>
        </p:nvSpPr>
        <p:spPr bwMode="auto">
          <a:xfrm>
            <a:off x="4428490" y="4006850"/>
            <a:ext cx="112395" cy="162560"/>
          </a:xfrm>
          <a:custGeom>
            <a:avLst/>
            <a:gdLst>
              <a:gd name="T0" fmla="*/ 0 w 142"/>
              <a:gd name="T1" fmla="*/ 0 h 221"/>
              <a:gd name="T2" fmla="*/ 1 w 142"/>
              <a:gd name="T3" fmla="*/ 0 h 221"/>
              <a:gd name="T4" fmla="*/ 1 w 142"/>
              <a:gd name="T5" fmla="*/ 1 h 221"/>
              <a:gd name="T6" fmla="*/ 2 w 142"/>
              <a:gd name="T7" fmla="*/ 0 h 221"/>
              <a:gd name="T8" fmla="*/ 3 w 142"/>
              <a:gd name="T9" fmla="*/ 1 h 221"/>
              <a:gd name="T10" fmla="*/ 3 w 142"/>
              <a:gd name="T11" fmla="*/ 5 h 221"/>
              <a:gd name="T12" fmla="*/ 3 w 142"/>
              <a:gd name="T13" fmla="*/ 5 h 221"/>
              <a:gd name="T14" fmla="*/ 1 w 142"/>
              <a:gd name="T15" fmla="*/ 4 h 221"/>
              <a:gd name="T16" fmla="*/ 0 w 142"/>
              <a:gd name="T17" fmla="*/ 0 h 22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42"/>
              <a:gd name="T28" fmla="*/ 0 h 221"/>
              <a:gd name="T29" fmla="*/ 142 w 142"/>
              <a:gd name="T30" fmla="*/ 221 h 22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42" h="221">
                <a:moveTo>
                  <a:pt x="0" y="0"/>
                </a:moveTo>
                <a:lnTo>
                  <a:pt x="29" y="0"/>
                </a:lnTo>
                <a:lnTo>
                  <a:pt x="38" y="41"/>
                </a:lnTo>
                <a:lnTo>
                  <a:pt x="73" y="15"/>
                </a:lnTo>
                <a:lnTo>
                  <a:pt x="122" y="65"/>
                </a:lnTo>
                <a:lnTo>
                  <a:pt x="142" y="221"/>
                </a:lnTo>
                <a:lnTo>
                  <a:pt x="141" y="221"/>
                </a:lnTo>
                <a:lnTo>
                  <a:pt x="42" y="156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Freeform 373"/>
          <p:cNvSpPr/>
          <p:nvPr/>
        </p:nvSpPr>
        <p:spPr bwMode="auto">
          <a:xfrm>
            <a:off x="4709795" y="3991610"/>
            <a:ext cx="281305" cy="195580"/>
          </a:xfrm>
          <a:custGeom>
            <a:avLst/>
            <a:gdLst>
              <a:gd name="T0" fmla="*/ 0 w 362"/>
              <a:gd name="T1" fmla="*/ 6 h 264"/>
              <a:gd name="T2" fmla="*/ 1 w 362"/>
              <a:gd name="T3" fmla="*/ 6 h 264"/>
              <a:gd name="T4" fmla="*/ 3 w 362"/>
              <a:gd name="T5" fmla="*/ 6 h 264"/>
              <a:gd name="T6" fmla="*/ 4 w 362"/>
              <a:gd name="T7" fmla="*/ 6 h 264"/>
              <a:gd name="T8" fmla="*/ 5 w 362"/>
              <a:gd name="T9" fmla="*/ 3 h 264"/>
              <a:gd name="T10" fmla="*/ 7 w 362"/>
              <a:gd name="T11" fmla="*/ 3 h 264"/>
              <a:gd name="T12" fmla="*/ 8 w 362"/>
              <a:gd name="T13" fmla="*/ 2 h 264"/>
              <a:gd name="T14" fmla="*/ 7 w 362"/>
              <a:gd name="T15" fmla="*/ 1 h 264"/>
              <a:gd name="T16" fmla="*/ 7 w 362"/>
              <a:gd name="T17" fmla="*/ 0 h 264"/>
              <a:gd name="T18" fmla="*/ 5 w 362"/>
              <a:gd name="T19" fmla="*/ 2 h 264"/>
              <a:gd name="T20" fmla="*/ 4 w 362"/>
              <a:gd name="T21" fmla="*/ 3 h 264"/>
              <a:gd name="T22" fmla="*/ 4 w 362"/>
              <a:gd name="T23" fmla="*/ 3 h 264"/>
              <a:gd name="T24" fmla="*/ 3 w 362"/>
              <a:gd name="T25" fmla="*/ 4 h 264"/>
              <a:gd name="T26" fmla="*/ 2 w 362"/>
              <a:gd name="T27" fmla="*/ 4 h 264"/>
              <a:gd name="T28" fmla="*/ 1 w 362"/>
              <a:gd name="T29" fmla="*/ 6 h 264"/>
              <a:gd name="T30" fmla="*/ 0 w 362"/>
              <a:gd name="T31" fmla="*/ 6 h 26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62"/>
              <a:gd name="T49" fmla="*/ 0 h 264"/>
              <a:gd name="T50" fmla="*/ 362 w 362"/>
              <a:gd name="T51" fmla="*/ 264 h 26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62" h="264">
                <a:moveTo>
                  <a:pt x="0" y="235"/>
                </a:moveTo>
                <a:lnTo>
                  <a:pt x="33" y="264"/>
                </a:lnTo>
                <a:lnTo>
                  <a:pt x="143" y="253"/>
                </a:lnTo>
                <a:lnTo>
                  <a:pt x="182" y="238"/>
                </a:lnTo>
                <a:lnTo>
                  <a:pt x="234" y="115"/>
                </a:lnTo>
                <a:lnTo>
                  <a:pt x="299" y="120"/>
                </a:lnTo>
                <a:lnTo>
                  <a:pt x="362" y="78"/>
                </a:lnTo>
                <a:lnTo>
                  <a:pt x="304" y="45"/>
                </a:lnTo>
                <a:lnTo>
                  <a:pt x="284" y="0"/>
                </a:lnTo>
                <a:lnTo>
                  <a:pt x="210" y="82"/>
                </a:lnTo>
                <a:lnTo>
                  <a:pt x="185" y="128"/>
                </a:lnTo>
                <a:lnTo>
                  <a:pt x="163" y="103"/>
                </a:lnTo>
                <a:lnTo>
                  <a:pt x="120" y="168"/>
                </a:lnTo>
                <a:lnTo>
                  <a:pt x="70" y="177"/>
                </a:lnTo>
                <a:lnTo>
                  <a:pt x="56" y="238"/>
                </a:lnTo>
                <a:lnTo>
                  <a:pt x="0" y="23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Freeform 374"/>
          <p:cNvSpPr/>
          <p:nvPr/>
        </p:nvSpPr>
        <p:spPr bwMode="auto">
          <a:xfrm>
            <a:off x="4056380" y="2357120"/>
            <a:ext cx="942975" cy="430530"/>
          </a:xfrm>
          <a:custGeom>
            <a:avLst/>
            <a:gdLst>
              <a:gd name="T0" fmla="*/ 0 w 1209"/>
              <a:gd name="T1" fmla="*/ 4 h 587"/>
              <a:gd name="T2" fmla="*/ 1 w 1209"/>
              <a:gd name="T3" fmla="*/ 6 h 587"/>
              <a:gd name="T4" fmla="*/ 2 w 1209"/>
              <a:gd name="T5" fmla="*/ 6 h 587"/>
              <a:gd name="T6" fmla="*/ 3 w 1209"/>
              <a:gd name="T7" fmla="*/ 9 h 587"/>
              <a:gd name="T8" fmla="*/ 7 w 1209"/>
              <a:gd name="T9" fmla="*/ 10 h 587"/>
              <a:gd name="T10" fmla="*/ 8 w 1209"/>
              <a:gd name="T11" fmla="*/ 12 h 587"/>
              <a:gd name="T12" fmla="*/ 11 w 1209"/>
              <a:gd name="T13" fmla="*/ 12 h 587"/>
              <a:gd name="T14" fmla="*/ 15 w 1209"/>
              <a:gd name="T15" fmla="*/ 14 h 587"/>
              <a:gd name="T16" fmla="*/ 20 w 1209"/>
              <a:gd name="T17" fmla="*/ 12 h 587"/>
              <a:gd name="T18" fmla="*/ 21 w 1209"/>
              <a:gd name="T19" fmla="*/ 11 h 587"/>
              <a:gd name="T20" fmla="*/ 21 w 1209"/>
              <a:gd name="T21" fmla="*/ 9 h 587"/>
              <a:gd name="T22" fmla="*/ 23 w 1209"/>
              <a:gd name="T23" fmla="*/ 10 h 587"/>
              <a:gd name="T24" fmla="*/ 26 w 1209"/>
              <a:gd name="T25" fmla="*/ 7 h 587"/>
              <a:gd name="T26" fmla="*/ 28 w 1209"/>
              <a:gd name="T27" fmla="*/ 7 h 587"/>
              <a:gd name="T28" fmla="*/ 27 w 1209"/>
              <a:gd name="T29" fmla="*/ 5 h 587"/>
              <a:gd name="T30" fmla="*/ 25 w 1209"/>
              <a:gd name="T31" fmla="*/ 6 h 587"/>
              <a:gd name="T32" fmla="*/ 25 w 1209"/>
              <a:gd name="T33" fmla="*/ 4 h 587"/>
              <a:gd name="T34" fmla="*/ 25 w 1209"/>
              <a:gd name="T35" fmla="*/ 3 h 587"/>
              <a:gd name="T36" fmla="*/ 24 w 1209"/>
              <a:gd name="T37" fmla="*/ 3 h 587"/>
              <a:gd name="T38" fmla="*/ 19 w 1209"/>
              <a:gd name="T39" fmla="*/ 4 h 587"/>
              <a:gd name="T40" fmla="*/ 16 w 1209"/>
              <a:gd name="T41" fmla="*/ 2 h 587"/>
              <a:gd name="T42" fmla="*/ 13 w 1209"/>
              <a:gd name="T43" fmla="*/ 2 h 587"/>
              <a:gd name="T44" fmla="*/ 13 w 1209"/>
              <a:gd name="T45" fmla="*/ 1 h 587"/>
              <a:gd name="T46" fmla="*/ 10 w 1209"/>
              <a:gd name="T47" fmla="*/ 0 h 587"/>
              <a:gd name="T48" fmla="*/ 9 w 1209"/>
              <a:gd name="T49" fmla="*/ 1 h 587"/>
              <a:gd name="T50" fmla="*/ 9 w 1209"/>
              <a:gd name="T51" fmla="*/ 3 h 587"/>
              <a:gd name="T52" fmla="*/ 4 w 1209"/>
              <a:gd name="T53" fmla="*/ 2 h 587"/>
              <a:gd name="T54" fmla="*/ 0 w 1209"/>
              <a:gd name="T55" fmla="*/ 4 h 58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209"/>
              <a:gd name="T85" fmla="*/ 0 h 587"/>
              <a:gd name="T86" fmla="*/ 1209 w 1209"/>
              <a:gd name="T87" fmla="*/ 587 h 58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209" h="587">
                <a:moveTo>
                  <a:pt x="0" y="184"/>
                </a:moveTo>
                <a:lnTo>
                  <a:pt x="39" y="242"/>
                </a:lnTo>
                <a:lnTo>
                  <a:pt x="94" y="265"/>
                </a:lnTo>
                <a:lnTo>
                  <a:pt x="113" y="389"/>
                </a:lnTo>
                <a:lnTo>
                  <a:pt x="282" y="439"/>
                </a:lnTo>
                <a:lnTo>
                  <a:pt x="353" y="526"/>
                </a:lnTo>
                <a:lnTo>
                  <a:pt x="494" y="522"/>
                </a:lnTo>
                <a:lnTo>
                  <a:pt x="651" y="587"/>
                </a:lnTo>
                <a:lnTo>
                  <a:pt x="856" y="526"/>
                </a:lnTo>
                <a:lnTo>
                  <a:pt x="920" y="477"/>
                </a:lnTo>
                <a:lnTo>
                  <a:pt x="920" y="408"/>
                </a:lnTo>
                <a:lnTo>
                  <a:pt x="979" y="416"/>
                </a:lnTo>
                <a:lnTo>
                  <a:pt x="1110" y="318"/>
                </a:lnTo>
                <a:lnTo>
                  <a:pt x="1209" y="312"/>
                </a:lnTo>
                <a:lnTo>
                  <a:pt x="1162" y="238"/>
                </a:lnTo>
                <a:lnTo>
                  <a:pt x="1065" y="257"/>
                </a:lnTo>
                <a:lnTo>
                  <a:pt x="1064" y="174"/>
                </a:lnTo>
                <a:lnTo>
                  <a:pt x="1088" y="127"/>
                </a:lnTo>
                <a:lnTo>
                  <a:pt x="1018" y="115"/>
                </a:lnTo>
                <a:lnTo>
                  <a:pt x="838" y="167"/>
                </a:lnTo>
                <a:lnTo>
                  <a:pt x="677" y="90"/>
                </a:lnTo>
                <a:lnTo>
                  <a:pt x="576" y="101"/>
                </a:lnTo>
                <a:lnTo>
                  <a:pt x="539" y="39"/>
                </a:lnTo>
                <a:lnTo>
                  <a:pt x="439" y="0"/>
                </a:lnTo>
                <a:lnTo>
                  <a:pt x="386" y="42"/>
                </a:lnTo>
                <a:lnTo>
                  <a:pt x="383" y="126"/>
                </a:lnTo>
                <a:lnTo>
                  <a:pt x="153" y="89"/>
                </a:lnTo>
                <a:lnTo>
                  <a:pt x="0" y="18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Freeform 375"/>
          <p:cNvSpPr/>
          <p:nvPr/>
        </p:nvSpPr>
        <p:spPr bwMode="auto">
          <a:xfrm>
            <a:off x="2992755" y="3394710"/>
            <a:ext cx="229870" cy="281305"/>
          </a:xfrm>
          <a:custGeom>
            <a:avLst/>
            <a:gdLst>
              <a:gd name="T0" fmla="*/ 0 w 294"/>
              <a:gd name="T1" fmla="*/ 6 h 383"/>
              <a:gd name="T2" fmla="*/ 1 w 294"/>
              <a:gd name="T3" fmla="*/ 9 h 383"/>
              <a:gd name="T4" fmla="*/ 3 w 294"/>
              <a:gd name="T5" fmla="*/ 9 h 383"/>
              <a:gd name="T6" fmla="*/ 5 w 294"/>
              <a:gd name="T7" fmla="*/ 6 h 383"/>
              <a:gd name="T8" fmla="*/ 5 w 294"/>
              <a:gd name="T9" fmla="*/ 5 h 383"/>
              <a:gd name="T10" fmla="*/ 7 w 294"/>
              <a:gd name="T11" fmla="*/ 3 h 383"/>
              <a:gd name="T12" fmla="*/ 7 w 294"/>
              <a:gd name="T13" fmla="*/ 3 h 383"/>
              <a:gd name="T14" fmla="*/ 6 w 294"/>
              <a:gd name="T15" fmla="*/ 1 h 383"/>
              <a:gd name="T16" fmla="*/ 4 w 294"/>
              <a:gd name="T17" fmla="*/ 0 h 383"/>
              <a:gd name="T18" fmla="*/ 3 w 294"/>
              <a:gd name="T19" fmla="*/ 0 h 383"/>
              <a:gd name="T20" fmla="*/ 4 w 294"/>
              <a:gd name="T21" fmla="*/ 1 h 383"/>
              <a:gd name="T22" fmla="*/ 3 w 294"/>
              <a:gd name="T23" fmla="*/ 2 h 383"/>
              <a:gd name="T24" fmla="*/ 3 w 294"/>
              <a:gd name="T25" fmla="*/ 3 h 383"/>
              <a:gd name="T26" fmla="*/ 3 w 294"/>
              <a:gd name="T27" fmla="*/ 5 h 383"/>
              <a:gd name="T28" fmla="*/ 0 w 294"/>
              <a:gd name="T29" fmla="*/ 6 h 38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94"/>
              <a:gd name="T46" fmla="*/ 0 h 383"/>
              <a:gd name="T47" fmla="*/ 294 w 294"/>
              <a:gd name="T48" fmla="*/ 383 h 38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94" h="383">
                <a:moveTo>
                  <a:pt x="0" y="270"/>
                </a:moveTo>
                <a:lnTo>
                  <a:pt x="40" y="383"/>
                </a:lnTo>
                <a:lnTo>
                  <a:pt x="109" y="364"/>
                </a:lnTo>
                <a:lnTo>
                  <a:pt x="218" y="269"/>
                </a:lnTo>
                <a:lnTo>
                  <a:pt x="217" y="223"/>
                </a:lnTo>
                <a:lnTo>
                  <a:pt x="289" y="139"/>
                </a:lnTo>
                <a:lnTo>
                  <a:pt x="294" y="114"/>
                </a:lnTo>
                <a:lnTo>
                  <a:pt x="255" y="64"/>
                </a:lnTo>
                <a:lnTo>
                  <a:pt x="164" y="0"/>
                </a:lnTo>
                <a:lnTo>
                  <a:pt x="141" y="1"/>
                </a:lnTo>
                <a:lnTo>
                  <a:pt x="153" y="36"/>
                </a:lnTo>
                <a:lnTo>
                  <a:pt x="122" y="101"/>
                </a:lnTo>
                <a:lnTo>
                  <a:pt x="141" y="134"/>
                </a:lnTo>
                <a:lnTo>
                  <a:pt x="111" y="226"/>
                </a:lnTo>
                <a:lnTo>
                  <a:pt x="0" y="27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Freeform 376"/>
          <p:cNvSpPr/>
          <p:nvPr/>
        </p:nvSpPr>
        <p:spPr bwMode="auto">
          <a:xfrm>
            <a:off x="3829685" y="3206115"/>
            <a:ext cx="234950" cy="133985"/>
          </a:xfrm>
          <a:custGeom>
            <a:avLst/>
            <a:gdLst>
              <a:gd name="T0" fmla="*/ 0 w 305"/>
              <a:gd name="T1" fmla="*/ 2 h 184"/>
              <a:gd name="T2" fmla="*/ 1 w 305"/>
              <a:gd name="T3" fmla="*/ 0 h 184"/>
              <a:gd name="T4" fmla="*/ 4 w 305"/>
              <a:gd name="T5" fmla="*/ 1 h 184"/>
              <a:gd name="T6" fmla="*/ 5 w 305"/>
              <a:gd name="T7" fmla="*/ 3 h 184"/>
              <a:gd name="T8" fmla="*/ 7 w 305"/>
              <a:gd name="T9" fmla="*/ 3 h 184"/>
              <a:gd name="T10" fmla="*/ 7 w 305"/>
              <a:gd name="T11" fmla="*/ 4 h 184"/>
              <a:gd name="T12" fmla="*/ 2 w 305"/>
              <a:gd name="T13" fmla="*/ 3 h 184"/>
              <a:gd name="T14" fmla="*/ 0 w 305"/>
              <a:gd name="T15" fmla="*/ 2 h 18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5"/>
              <a:gd name="T25" fmla="*/ 0 h 184"/>
              <a:gd name="T26" fmla="*/ 305 w 305"/>
              <a:gd name="T27" fmla="*/ 184 h 18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5" h="184">
                <a:moveTo>
                  <a:pt x="0" y="72"/>
                </a:moveTo>
                <a:lnTo>
                  <a:pt x="39" y="0"/>
                </a:lnTo>
                <a:lnTo>
                  <a:pt x="158" y="46"/>
                </a:lnTo>
                <a:lnTo>
                  <a:pt x="223" y="117"/>
                </a:lnTo>
                <a:lnTo>
                  <a:pt x="305" y="117"/>
                </a:lnTo>
                <a:lnTo>
                  <a:pt x="302" y="184"/>
                </a:lnTo>
                <a:lnTo>
                  <a:pt x="102" y="141"/>
                </a:lnTo>
                <a:lnTo>
                  <a:pt x="0" y="7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Freeform 377"/>
          <p:cNvSpPr/>
          <p:nvPr/>
        </p:nvSpPr>
        <p:spPr bwMode="auto">
          <a:xfrm>
            <a:off x="1549400" y="2307590"/>
            <a:ext cx="106045" cy="111125"/>
          </a:xfrm>
          <a:custGeom>
            <a:avLst/>
            <a:gdLst>
              <a:gd name="T0" fmla="*/ 0 w 138"/>
              <a:gd name="T1" fmla="*/ 3 h 148"/>
              <a:gd name="T2" fmla="*/ 1 w 138"/>
              <a:gd name="T3" fmla="*/ 2 h 148"/>
              <a:gd name="T4" fmla="*/ 1 w 138"/>
              <a:gd name="T5" fmla="*/ 2 h 148"/>
              <a:gd name="T6" fmla="*/ 1 w 138"/>
              <a:gd name="T7" fmla="*/ 1 h 148"/>
              <a:gd name="T8" fmla="*/ 2 w 138"/>
              <a:gd name="T9" fmla="*/ 1 h 148"/>
              <a:gd name="T10" fmla="*/ 2 w 138"/>
              <a:gd name="T11" fmla="*/ 0 h 148"/>
              <a:gd name="T12" fmla="*/ 3 w 138"/>
              <a:gd name="T13" fmla="*/ 0 h 148"/>
              <a:gd name="T14" fmla="*/ 3 w 138"/>
              <a:gd name="T15" fmla="*/ 1 h 148"/>
              <a:gd name="T16" fmla="*/ 2 w 138"/>
              <a:gd name="T17" fmla="*/ 2 h 148"/>
              <a:gd name="T18" fmla="*/ 2 w 138"/>
              <a:gd name="T19" fmla="*/ 3 h 148"/>
              <a:gd name="T20" fmla="*/ 1 w 138"/>
              <a:gd name="T21" fmla="*/ 3 h 148"/>
              <a:gd name="T22" fmla="*/ 0 w 138"/>
              <a:gd name="T23" fmla="*/ 3 h 1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8"/>
              <a:gd name="T37" fmla="*/ 0 h 148"/>
              <a:gd name="T38" fmla="*/ 138 w 138"/>
              <a:gd name="T39" fmla="*/ 148 h 1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8" h="148">
                <a:moveTo>
                  <a:pt x="0" y="111"/>
                </a:moveTo>
                <a:lnTo>
                  <a:pt x="54" y="92"/>
                </a:lnTo>
                <a:lnTo>
                  <a:pt x="29" y="76"/>
                </a:lnTo>
                <a:lnTo>
                  <a:pt x="53" y="23"/>
                </a:lnTo>
                <a:lnTo>
                  <a:pt x="75" y="57"/>
                </a:lnTo>
                <a:lnTo>
                  <a:pt x="76" y="0"/>
                </a:lnTo>
                <a:lnTo>
                  <a:pt x="138" y="0"/>
                </a:lnTo>
                <a:lnTo>
                  <a:pt x="134" y="57"/>
                </a:lnTo>
                <a:lnTo>
                  <a:pt x="93" y="79"/>
                </a:lnTo>
                <a:lnTo>
                  <a:pt x="95" y="148"/>
                </a:lnTo>
                <a:lnTo>
                  <a:pt x="57" y="106"/>
                </a:lnTo>
                <a:lnTo>
                  <a:pt x="0" y="11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Freeform 378"/>
          <p:cNvSpPr/>
          <p:nvPr/>
        </p:nvSpPr>
        <p:spPr bwMode="auto">
          <a:xfrm>
            <a:off x="6396990" y="5612765"/>
            <a:ext cx="233045" cy="234950"/>
          </a:xfrm>
          <a:custGeom>
            <a:avLst/>
            <a:gdLst>
              <a:gd name="T0" fmla="*/ 0 w 298"/>
              <a:gd name="T1" fmla="*/ 6 h 322"/>
              <a:gd name="T2" fmla="*/ 1 w 298"/>
              <a:gd name="T3" fmla="*/ 4 h 322"/>
              <a:gd name="T4" fmla="*/ 4 w 298"/>
              <a:gd name="T5" fmla="*/ 3 h 322"/>
              <a:gd name="T6" fmla="*/ 5 w 298"/>
              <a:gd name="T7" fmla="*/ 0 h 322"/>
              <a:gd name="T8" fmla="*/ 6 w 298"/>
              <a:gd name="T9" fmla="*/ 1 h 322"/>
              <a:gd name="T10" fmla="*/ 7 w 298"/>
              <a:gd name="T11" fmla="*/ 0 h 322"/>
              <a:gd name="T12" fmla="*/ 7 w 298"/>
              <a:gd name="T13" fmla="*/ 1 h 322"/>
              <a:gd name="T14" fmla="*/ 6 w 298"/>
              <a:gd name="T15" fmla="*/ 3 h 322"/>
              <a:gd name="T16" fmla="*/ 6 w 298"/>
              <a:gd name="T17" fmla="*/ 4 h 322"/>
              <a:gd name="T18" fmla="*/ 4 w 298"/>
              <a:gd name="T19" fmla="*/ 4 h 322"/>
              <a:gd name="T20" fmla="*/ 4 w 298"/>
              <a:gd name="T21" fmla="*/ 6 h 322"/>
              <a:gd name="T22" fmla="*/ 2 w 298"/>
              <a:gd name="T23" fmla="*/ 7 h 322"/>
              <a:gd name="T24" fmla="*/ 0 w 298"/>
              <a:gd name="T25" fmla="*/ 6 h 32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98"/>
              <a:gd name="T40" fmla="*/ 0 h 322"/>
              <a:gd name="T41" fmla="*/ 298 w 298"/>
              <a:gd name="T42" fmla="*/ 322 h 32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98" h="322">
                <a:moveTo>
                  <a:pt x="0" y="281"/>
                </a:moveTo>
                <a:lnTo>
                  <a:pt x="63" y="182"/>
                </a:lnTo>
                <a:lnTo>
                  <a:pt x="172" y="109"/>
                </a:lnTo>
                <a:lnTo>
                  <a:pt x="223" y="0"/>
                </a:lnTo>
                <a:lnTo>
                  <a:pt x="256" y="32"/>
                </a:lnTo>
                <a:lnTo>
                  <a:pt x="293" y="17"/>
                </a:lnTo>
                <a:lnTo>
                  <a:pt x="298" y="55"/>
                </a:lnTo>
                <a:lnTo>
                  <a:pt x="242" y="134"/>
                </a:lnTo>
                <a:lnTo>
                  <a:pt x="252" y="167"/>
                </a:lnTo>
                <a:lnTo>
                  <a:pt x="190" y="180"/>
                </a:lnTo>
                <a:lnTo>
                  <a:pt x="161" y="289"/>
                </a:lnTo>
                <a:lnTo>
                  <a:pt x="96" y="322"/>
                </a:lnTo>
                <a:lnTo>
                  <a:pt x="0" y="28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Freeform 379"/>
          <p:cNvSpPr/>
          <p:nvPr/>
        </p:nvSpPr>
        <p:spPr bwMode="auto">
          <a:xfrm>
            <a:off x="6580505" y="5380990"/>
            <a:ext cx="172085" cy="260985"/>
          </a:xfrm>
          <a:custGeom>
            <a:avLst/>
            <a:gdLst>
              <a:gd name="T0" fmla="*/ 0 w 221"/>
              <a:gd name="T1" fmla="*/ 0 h 353"/>
              <a:gd name="T2" fmla="*/ 1 w 221"/>
              <a:gd name="T3" fmla="*/ 1 h 353"/>
              <a:gd name="T4" fmla="*/ 2 w 221"/>
              <a:gd name="T5" fmla="*/ 3 h 353"/>
              <a:gd name="T6" fmla="*/ 3 w 221"/>
              <a:gd name="T7" fmla="*/ 3 h 353"/>
              <a:gd name="T8" fmla="*/ 3 w 221"/>
              <a:gd name="T9" fmla="*/ 3 h 353"/>
              <a:gd name="T10" fmla="*/ 3 w 221"/>
              <a:gd name="T11" fmla="*/ 4 h 353"/>
              <a:gd name="T12" fmla="*/ 5 w 221"/>
              <a:gd name="T13" fmla="*/ 4 h 353"/>
              <a:gd name="T14" fmla="*/ 5 w 221"/>
              <a:gd name="T15" fmla="*/ 5 h 353"/>
              <a:gd name="T16" fmla="*/ 4 w 221"/>
              <a:gd name="T17" fmla="*/ 6 h 353"/>
              <a:gd name="T18" fmla="*/ 3 w 221"/>
              <a:gd name="T19" fmla="*/ 8 h 353"/>
              <a:gd name="T20" fmla="*/ 2 w 221"/>
              <a:gd name="T21" fmla="*/ 8 h 353"/>
              <a:gd name="T22" fmla="*/ 2 w 221"/>
              <a:gd name="T23" fmla="*/ 7 h 353"/>
              <a:gd name="T24" fmla="*/ 1 w 221"/>
              <a:gd name="T25" fmla="*/ 6 h 353"/>
              <a:gd name="T26" fmla="*/ 2 w 221"/>
              <a:gd name="T27" fmla="*/ 4 h 353"/>
              <a:gd name="T28" fmla="*/ 2 w 221"/>
              <a:gd name="T29" fmla="*/ 3 h 353"/>
              <a:gd name="T30" fmla="*/ 0 w 221"/>
              <a:gd name="T31" fmla="*/ 0 h 35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21"/>
              <a:gd name="T49" fmla="*/ 0 h 353"/>
              <a:gd name="T50" fmla="*/ 221 w 221"/>
              <a:gd name="T51" fmla="*/ 353 h 35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21" h="353">
                <a:moveTo>
                  <a:pt x="0" y="0"/>
                </a:moveTo>
                <a:lnTo>
                  <a:pt x="63" y="39"/>
                </a:lnTo>
                <a:lnTo>
                  <a:pt x="75" y="117"/>
                </a:lnTo>
                <a:lnTo>
                  <a:pt x="104" y="139"/>
                </a:lnTo>
                <a:lnTo>
                  <a:pt x="119" y="106"/>
                </a:lnTo>
                <a:lnTo>
                  <a:pt x="132" y="161"/>
                </a:lnTo>
                <a:lnTo>
                  <a:pt x="221" y="161"/>
                </a:lnTo>
                <a:lnTo>
                  <a:pt x="204" y="238"/>
                </a:lnTo>
                <a:lnTo>
                  <a:pt x="159" y="250"/>
                </a:lnTo>
                <a:lnTo>
                  <a:pt x="120" y="351"/>
                </a:lnTo>
                <a:lnTo>
                  <a:pt x="78" y="353"/>
                </a:lnTo>
                <a:lnTo>
                  <a:pt x="96" y="316"/>
                </a:lnTo>
                <a:lnTo>
                  <a:pt x="41" y="244"/>
                </a:lnTo>
                <a:lnTo>
                  <a:pt x="86" y="179"/>
                </a:lnTo>
                <a:lnTo>
                  <a:pt x="78" y="127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Freeform 380"/>
          <p:cNvSpPr/>
          <p:nvPr/>
        </p:nvSpPr>
        <p:spPr bwMode="auto">
          <a:xfrm>
            <a:off x="1595755" y="1406525"/>
            <a:ext cx="768985" cy="679450"/>
          </a:xfrm>
          <a:custGeom>
            <a:avLst/>
            <a:gdLst>
              <a:gd name="T0" fmla="*/ 0 w 989"/>
              <a:gd name="T1" fmla="*/ 17 h 922"/>
              <a:gd name="T2" fmla="*/ 2 w 989"/>
              <a:gd name="T3" fmla="*/ 17 h 922"/>
              <a:gd name="T4" fmla="*/ 1 w 989"/>
              <a:gd name="T5" fmla="*/ 18 h 922"/>
              <a:gd name="T6" fmla="*/ 2 w 989"/>
              <a:gd name="T7" fmla="*/ 18 h 922"/>
              <a:gd name="T8" fmla="*/ 1 w 989"/>
              <a:gd name="T9" fmla="*/ 19 h 922"/>
              <a:gd name="T10" fmla="*/ 3 w 989"/>
              <a:gd name="T11" fmla="*/ 21 h 922"/>
              <a:gd name="T12" fmla="*/ 5 w 989"/>
              <a:gd name="T13" fmla="*/ 19 h 922"/>
              <a:gd name="T14" fmla="*/ 7 w 989"/>
              <a:gd name="T15" fmla="*/ 19 h 922"/>
              <a:gd name="T16" fmla="*/ 7 w 989"/>
              <a:gd name="T17" fmla="*/ 17 h 922"/>
              <a:gd name="T18" fmla="*/ 6 w 989"/>
              <a:gd name="T19" fmla="*/ 13 h 922"/>
              <a:gd name="T20" fmla="*/ 8 w 989"/>
              <a:gd name="T21" fmla="*/ 11 h 922"/>
              <a:gd name="T22" fmla="*/ 10 w 989"/>
              <a:gd name="T23" fmla="*/ 7 h 922"/>
              <a:gd name="T24" fmla="*/ 11 w 989"/>
              <a:gd name="T25" fmla="*/ 5 h 922"/>
              <a:gd name="T26" fmla="*/ 13 w 989"/>
              <a:gd name="T27" fmla="*/ 5 h 922"/>
              <a:gd name="T28" fmla="*/ 14 w 989"/>
              <a:gd name="T29" fmla="*/ 4 h 922"/>
              <a:gd name="T30" fmla="*/ 15 w 989"/>
              <a:gd name="T31" fmla="*/ 4 h 922"/>
              <a:gd name="T32" fmla="*/ 18 w 989"/>
              <a:gd name="T33" fmla="*/ 4 h 922"/>
              <a:gd name="T34" fmla="*/ 20 w 989"/>
              <a:gd name="T35" fmla="*/ 2 h 922"/>
              <a:gd name="T36" fmla="*/ 21 w 989"/>
              <a:gd name="T37" fmla="*/ 4 h 922"/>
              <a:gd name="T38" fmla="*/ 22 w 989"/>
              <a:gd name="T39" fmla="*/ 3 h 922"/>
              <a:gd name="T40" fmla="*/ 21 w 989"/>
              <a:gd name="T41" fmla="*/ 2 h 922"/>
              <a:gd name="T42" fmla="*/ 21 w 989"/>
              <a:gd name="T43" fmla="*/ 0 h 922"/>
              <a:gd name="T44" fmla="*/ 20 w 989"/>
              <a:gd name="T45" fmla="*/ 0 h 922"/>
              <a:gd name="T46" fmla="*/ 19 w 989"/>
              <a:gd name="T47" fmla="*/ 1 h 922"/>
              <a:gd name="T48" fmla="*/ 19 w 989"/>
              <a:gd name="T49" fmla="*/ 0 h 922"/>
              <a:gd name="T50" fmla="*/ 18 w 989"/>
              <a:gd name="T51" fmla="*/ 0 h 922"/>
              <a:gd name="T52" fmla="*/ 16 w 989"/>
              <a:gd name="T53" fmla="*/ 2 h 922"/>
              <a:gd name="T54" fmla="*/ 15 w 989"/>
              <a:gd name="T55" fmla="*/ 3 h 922"/>
              <a:gd name="T56" fmla="*/ 13 w 989"/>
              <a:gd name="T57" fmla="*/ 3 h 922"/>
              <a:gd name="T58" fmla="*/ 13 w 989"/>
              <a:gd name="T59" fmla="*/ 3 h 922"/>
              <a:gd name="T60" fmla="*/ 13 w 989"/>
              <a:gd name="T61" fmla="*/ 3 h 922"/>
              <a:gd name="T62" fmla="*/ 11 w 989"/>
              <a:gd name="T63" fmla="*/ 4 h 922"/>
              <a:gd name="T64" fmla="*/ 11 w 989"/>
              <a:gd name="T65" fmla="*/ 5 h 922"/>
              <a:gd name="T66" fmla="*/ 9 w 989"/>
              <a:gd name="T67" fmla="*/ 6 h 922"/>
              <a:gd name="T68" fmla="*/ 7 w 989"/>
              <a:gd name="T69" fmla="*/ 8 h 922"/>
              <a:gd name="T70" fmla="*/ 4 w 989"/>
              <a:gd name="T71" fmla="*/ 13 h 922"/>
              <a:gd name="T72" fmla="*/ 5 w 989"/>
              <a:gd name="T73" fmla="*/ 13 h 922"/>
              <a:gd name="T74" fmla="*/ 2 w 989"/>
              <a:gd name="T75" fmla="*/ 14 h 922"/>
              <a:gd name="T76" fmla="*/ 1 w 989"/>
              <a:gd name="T77" fmla="*/ 15 h 922"/>
              <a:gd name="T78" fmla="*/ 0 w 989"/>
              <a:gd name="T79" fmla="*/ 15 h 922"/>
              <a:gd name="T80" fmla="*/ 0 w 989"/>
              <a:gd name="T81" fmla="*/ 16 h 92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89"/>
              <a:gd name="T124" fmla="*/ 0 h 922"/>
              <a:gd name="T125" fmla="*/ 989 w 989"/>
              <a:gd name="T126" fmla="*/ 922 h 92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89" h="922">
                <a:moveTo>
                  <a:pt x="0" y="688"/>
                </a:moveTo>
                <a:lnTo>
                  <a:pt x="4" y="727"/>
                </a:lnTo>
                <a:lnTo>
                  <a:pt x="91" y="702"/>
                </a:lnTo>
                <a:lnTo>
                  <a:pt x="97" y="717"/>
                </a:lnTo>
                <a:lnTo>
                  <a:pt x="3" y="741"/>
                </a:lnTo>
                <a:lnTo>
                  <a:pt x="27" y="757"/>
                </a:lnTo>
                <a:lnTo>
                  <a:pt x="17" y="807"/>
                </a:lnTo>
                <a:lnTo>
                  <a:pt x="80" y="764"/>
                </a:lnTo>
                <a:lnTo>
                  <a:pt x="12" y="834"/>
                </a:lnTo>
                <a:lnTo>
                  <a:pt x="50" y="834"/>
                </a:lnTo>
                <a:lnTo>
                  <a:pt x="27" y="895"/>
                </a:lnTo>
                <a:lnTo>
                  <a:pt x="121" y="922"/>
                </a:lnTo>
                <a:lnTo>
                  <a:pt x="196" y="863"/>
                </a:lnTo>
                <a:lnTo>
                  <a:pt x="213" y="809"/>
                </a:lnTo>
                <a:lnTo>
                  <a:pt x="235" y="863"/>
                </a:lnTo>
                <a:lnTo>
                  <a:pt x="281" y="795"/>
                </a:lnTo>
                <a:lnTo>
                  <a:pt x="270" y="737"/>
                </a:lnTo>
                <a:lnTo>
                  <a:pt x="292" y="712"/>
                </a:lnTo>
                <a:lnTo>
                  <a:pt x="270" y="685"/>
                </a:lnTo>
                <a:lnTo>
                  <a:pt x="277" y="553"/>
                </a:lnTo>
                <a:lnTo>
                  <a:pt x="344" y="523"/>
                </a:lnTo>
                <a:lnTo>
                  <a:pt x="332" y="483"/>
                </a:lnTo>
                <a:lnTo>
                  <a:pt x="364" y="381"/>
                </a:lnTo>
                <a:lnTo>
                  <a:pt x="431" y="309"/>
                </a:lnTo>
                <a:lnTo>
                  <a:pt x="443" y="249"/>
                </a:lnTo>
                <a:lnTo>
                  <a:pt x="488" y="238"/>
                </a:lnTo>
                <a:lnTo>
                  <a:pt x="505" y="198"/>
                </a:lnTo>
                <a:lnTo>
                  <a:pt x="573" y="207"/>
                </a:lnTo>
                <a:lnTo>
                  <a:pt x="574" y="159"/>
                </a:lnTo>
                <a:lnTo>
                  <a:pt x="593" y="159"/>
                </a:lnTo>
                <a:lnTo>
                  <a:pt x="620" y="138"/>
                </a:lnTo>
                <a:lnTo>
                  <a:pt x="665" y="180"/>
                </a:lnTo>
                <a:lnTo>
                  <a:pt x="744" y="188"/>
                </a:lnTo>
                <a:lnTo>
                  <a:pt x="789" y="162"/>
                </a:lnTo>
                <a:lnTo>
                  <a:pt x="801" y="100"/>
                </a:lnTo>
                <a:lnTo>
                  <a:pt x="877" y="83"/>
                </a:lnTo>
                <a:lnTo>
                  <a:pt x="917" y="108"/>
                </a:lnTo>
                <a:lnTo>
                  <a:pt x="912" y="159"/>
                </a:lnTo>
                <a:lnTo>
                  <a:pt x="986" y="100"/>
                </a:lnTo>
                <a:lnTo>
                  <a:pt x="941" y="109"/>
                </a:lnTo>
                <a:lnTo>
                  <a:pt x="952" y="96"/>
                </a:lnTo>
                <a:lnTo>
                  <a:pt x="900" y="79"/>
                </a:lnTo>
                <a:lnTo>
                  <a:pt x="989" y="51"/>
                </a:lnTo>
                <a:lnTo>
                  <a:pt x="917" y="16"/>
                </a:lnTo>
                <a:lnTo>
                  <a:pt x="872" y="51"/>
                </a:lnTo>
                <a:lnTo>
                  <a:pt x="896" y="4"/>
                </a:lnTo>
                <a:lnTo>
                  <a:pt x="861" y="0"/>
                </a:lnTo>
                <a:lnTo>
                  <a:pt x="838" y="51"/>
                </a:lnTo>
                <a:lnTo>
                  <a:pt x="823" y="55"/>
                </a:lnTo>
                <a:lnTo>
                  <a:pt x="823" y="10"/>
                </a:lnTo>
                <a:lnTo>
                  <a:pt x="761" y="83"/>
                </a:lnTo>
                <a:lnTo>
                  <a:pt x="792" y="17"/>
                </a:lnTo>
                <a:lnTo>
                  <a:pt x="761" y="8"/>
                </a:lnTo>
                <a:lnTo>
                  <a:pt x="693" y="88"/>
                </a:lnTo>
                <a:lnTo>
                  <a:pt x="630" y="62"/>
                </a:lnTo>
                <a:lnTo>
                  <a:pt x="646" y="108"/>
                </a:lnTo>
                <a:lnTo>
                  <a:pt x="620" y="83"/>
                </a:lnTo>
                <a:lnTo>
                  <a:pt x="574" y="140"/>
                </a:lnTo>
                <a:lnTo>
                  <a:pt x="580" y="93"/>
                </a:lnTo>
                <a:lnTo>
                  <a:pt x="557" y="132"/>
                </a:lnTo>
                <a:lnTo>
                  <a:pt x="535" y="105"/>
                </a:lnTo>
                <a:lnTo>
                  <a:pt x="550" y="144"/>
                </a:lnTo>
                <a:lnTo>
                  <a:pt x="500" y="128"/>
                </a:lnTo>
                <a:lnTo>
                  <a:pt x="483" y="181"/>
                </a:lnTo>
                <a:lnTo>
                  <a:pt x="438" y="203"/>
                </a:lnTo>
                <a:lnTo>
                  <a:pt x="480" y="205"/>
                </a:lnTo>
                <a:lnTo>
                  <a:pt x="401" y="234"/>
                </a:lnTo>
                <a:lnTo>
                  <a:pt x="387" y="273"/>
                </a:lnTo>
                <a:lnTo>
                  <a:pt x="414" y="273"/>
                </a:lnTo>
                <a:lnTo>
                  <a:pt x="317" y="336"/>
                </a:lnTo>
                <a:lnTo>
                  <a:pt x="283" y="446"/>
                </a:lnTo>
                <a:lnTo>
                  <a:pt x="175" y="537"/>
                </a:lnTo>
                <a:lnTo>
                  <a:pt x="196" y="560"/>
                </a:lnTo>
                <a:lnTo>
                  <a:pt x="238" y="543"/>
                </a:lnTo>
                <a:lnTo>
                  <a:pt x="134" y="570"/>
                </a:lnTo>
                <a:lnTo>
                  <a:pt x="80" y="607"/>
                </a:lnTo>
                <a:lnTo>
                  <a:pt x="91" y="629"/>
                </a:lnTo>
                <a:lnTo>
                  <a:pt x="52" y="629"/>
                </a:lnTo>
                <a:lnTo>
                  <a:pt x="56" y="657"/>
                </a:lnTo>
                <a:lnTo>
                  <a:pt x="5" y="657"/>
                </a:lnTo>
                <a:lnTo>
                  <a:pt x="52" y="673"/>
                </a:lnTo>
                <a:lnTo>
                  <a:pt x="0" y="68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Freeform 381"/>
          <p:cNvSpPr/>
          <p:nvPr/>
        </p:nvSpPr>
        <p:spPr bwMode="auto">
          <a:xfrm>
            <a:off x="3258185" y="2959100"/>
            <a:ext cx="494665" cy="474980"/>
          </a:xfrm>
          <a:custGeom>
            <a:avLst/>
            <a:gdLst>
              <a:gd name="T0" fmla="*/ 0 w 636"/>
              <a:gd name="T1" fmla="*/ 8 h 645"/>
              <a:gd name="T2" fmla="*/ 1 w 636"/>
              <a:gd name="T3" fmla="*/ 9 h 645"/>
              <a:gd name="T4" fmla="*/ 5 w 636"/>
              <a:gd name="T5" fmla="*/ 8 h 645"/>
              <a:gd name="T6" fmla="*/ 5 w 636"/>
              <a:gd name="T7" fmla="*/ 7 h 645"/>
              <a:gd name="T8" fmla="*/ 7 w 636"/>
              <a:gd name="T9" fmla="*/ 6 h 645"/>
              <a:gd name="T10" fmla="*/ 7 w 636"/>
              <a:gd name="T11" fmla="*/ 5 h 645"/>
              <a:gd name="T12" fmla="*/ 8 w 636"/>
              <a:gd name="T13" fmla="*/ 4 h 645"/>
              <a:gd name="T14" fmla="*/ 8 w 636"/>
              <a:gd name="T15" fmla="*/ 4 h 645"/>
              <a:gd name="T16" fmla="*/ 9 w 636"/>
              <a:gd name="T17" fmla="*/ 3 h 645"/>
              <a:gd name="T18" fmla="*/ 9 w 636"/>
              <a:gd name="T19" fmla="*/ 2 h 645"/>
              <a:gd name="T20" fmla="*/ 9 w 636"/>
              <a:gd name="T21" fmla="*/ 1 h 645"/>
              <a:gd name="T22" fmla="*/ 12 w 636"/>
              <a:gd name="T23" fmla="*/ 0 h 645"/>
              <a:gd name="T24" fmla="*/ 15 w 636"/>
              <a:gd name="T25" fmla="*/ 2 h 645"/>
              <a:gd name="T26" fmla="*/ 14 w 636"/>
              <a:gd name="T27" fmla="*/ 3 h 645"/>
              <a:gd name="T28" fmla="*/ 11 w 636"/>
              <a:gd name="T29" fmla="*/ 3 h 645"/>
              <a:gd name="T30" fmla="*/ 11 w 636"/>
              <a:gd name="T31" fmla="*/ 4 h 645"/>
              <a:gd name="T32" fmla="*/ 13 w 636"/>
              <a:gd name="T33" fmla="*/ 5 h 645"/>
              <a:gd name="T34" fmla="*/ 12 w 636"/>
              <a:gd name="T35" fmla="*/ 6 h 645"/>
              <a:gd name="T36" fmla="*/ 12 w 636"/>
              <a:gd name="T37" fmla="*/ 7 h 645"/>
              <a:gd name="T38" fmla="*/ 9 w 636"/>
              <a:gd name="T39" fmla="*/ 11 h 645"/>
              <a:gd name="T40" fmla="*/ 9 w 636"/>
              <a:gd name="T41" fmla="*/ 10 h 645"/>
              <a:gd name="T42" fmla="*/ 7 w 636"/>
              <a:gd name="T43" fmla="*/ 11 h 645"/>
              <a:gd name="T44" fmla="*/ 9 w 636"/>
              <a:gd name="T45" fmla="*/ 14 h 645"/>
              <a:gd name="T46" fmla="*/ 7 w 636"/>
              <a:gd name="T47" fmla="*/ 14 h 645"/>
              <a:gd name="T48" fmla="*/ 6 w 636"/>
              <a:gd name="T49" fmla="*/ 15 h 645"/>
              <a:gd name="T50" fmla="*/ 5 w 636"/>
              <a:gd name="T51" fmla="*/ 13 h 645"/>
              <a:gd name="T52" fmla="*/ 1 w 636"/>
              <a:gd name="T53" fmla="*/ 13 h 645"/>
              <a:gd name="T54" fmla="*/ 2 w 636"/>
              <a:gd name="T55" fmla="*/ 11 h 645"/>
              <a:gd name="T56" fmla="*/ 0 w 636"/>
              <a:gd name="T57" fmla="*/ 8 h 64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36"/>
              <a:gd name="T88" fmla="*/ 0 h 645"/>
              <a:gd name="T89" fmla="*/ 636 w 636"/>
              <a:gd name="T90" fmla="*/ 645 h 64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36" h="645">
                <a:moveTo>
                  <a:pt x="0" y="354"/>
                </a:moveTo>
                <a:lnTo>
                  <a:pt x="59" y="377"/>
                </a:lnTo>
                <a:lnTo>
                  <a:pt x="198" y="354"/>
                </a:lnTo>
                <a:lnTo>
                  <a:pt x="225" y="289"/>
                </a:lnTo>
                <a:lnTo>
                  <a:pt x="319" y="253"/>
                </a:lnTo>
                <a:lnTo>
                  <a:pt x="326" y="197"/>
                </a:lnTo>
                <a:lnTo>
                  <a:pt x="361" y="182"/>
                </a:lnTo>
                <a:lnTo>
                  <a:pt x="347" y="154"/>
                </a:lnTo>
                <a:lnTo>
                  <a:pt x="379" y="150"/>
                </a:lnTo>
                <a:lnTo>
                  <a:pt x="404" y="96"/>
                </a:lnTo>
                <a:lnTo>
                  <a:pt x="394" y="40"/>
                </a:lnTo>
                <a:lnTo>
                  <a:pt x="524" y="0"/>
                </a:lnTo>
                <a:lnTo>
                  <a:pt x="636" y="84"/>
                </a:lnTo>
                <a:lnTo>
                  <a:pt x="607" y="119"/>
                </a:lnTo>
                <a:lnTo>
                  <a:pt x="497" y="119"/>
                </a:lnTo>
                <a:lnTo>
                  <a:pt x="499" y="191"/>
                </a:lnTo>
                <a:lnTo>
                  <a:pt x="548" y="237"/>
                </a:lnTo>
                <a:lnTo>
                  <a:pt x="521" y="261"/>
                </a:lnTo>
                <a:lnTo>
                  <a:pt x="528" y="300"/>
                </a:lnTo>
                <a:lnTo>
                  <a:pt x="412" y="449"/>
                </a:lnTo>
                <a:lnTo>
                  <a:pt x="364" y="444"/>
                </a:lnTo>
                <a:lnTo>
                  <a:pt x="326" y="481"/>
                </a:lnTo>
                <a:lnTo>
                  <a:pt x="387" y="617"/>
                </a:lnTo>
                <a:lnTo>
                  <a:pt x="302" y="617"/>
                </a:lnTo>
                <a:lnTo>
                  <a:pt x="271" y="645"/>
                </a:lnTo>
                <a:lnTo>
                  <a:pt x="207" y="564"/>
                </a:lnTo>
                <a:lnTo>
                  <a:pt x="27" y="580"/>
                </a:lnTo>
                <a:lnTo>
                  <a:pt x="86" y="487"/>
                </a:lnTo>
                <a:lnTo>
                  <a:pt x="0" y="35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Freeform 382"/>
          <p:cNvSpPr/>
          <p:nvPr/>
        </p:nvSpPr>
        <p:spPr bwMode="auto">
          <a:xfrm>
            <a:off x="5644515" y="4304030"/>
            <a:ext cx="297815" cy="250190"/>
          </a:xfrm>
          <a:custGeom>
            <a:avLst/>
            <a:gdLst>
              <a:gd name="T0" fmla="*/ 0 w 380"/>
              <a:gd name="T1" fmla="*/ 0 h 340"/>
              <a:gd name="T2" fmla="*/ 0 w 380"/>
              <a:gd name="T3" fmla="*/ 7 h 340"/>
              <a:gd name="T4" fmla="*/ 2 w 380"/>
              <a:gd name="T5" fmla="*/ 7 h 340"/>
              <a:gd name="T6" fmla="*/ 3 w 380"/>
              <a:gd name="T7" fmla="*/ 5 h 340"/>
              <a:gd name="T8" fmla="*/ 5 w 380"/>
              <a:gd name="T9" fmla="*/ 6 h 340"/>
              <a:gd name="T10" fmla="*/ 6 w 380"/>
              <a:gd name="T11" fmla="*/ 8 h 340"/>
              <a:gd name="T12" fmla="*/ 9 w 380"/>
              <a:gd name="T13" fmla="*/ 8 h 340"/>
              <a:gd name="T14" fmla="*/ 6 w 380"/>
              <a:gd name="T15" fmla="*/ 5 h 340"/>
              <a:gd name="T16" fmla="*/ 6 w 380"/>
              <a:gd name="T17" fmla="*/ 3 h 340"/>
              <a:gd name="T18" fmla="*/ 4 w 380"/>
              <a:gd name="T19" fmla="*/ 3 h 340"/>
              <a:gd name="T20" fmla="*/ 3 w 380"/>
              <a:gd name="T21" fmla="*/ 1 h 340"/>
              <a:gd name="T22" fmla="*/ 0 w 380"/>
              <a:gd name="T23" fmla="*/ 0 h 3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80"/>
              <a:gd name="T37" fmla="*/ 0 h 340"/>
              <a:gd name="T38" fmla="*/ 380 w 380"/>
              <a:gd name="T39" fmla="*/ 340 h 34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80" h="340">
                <a:moveTo>
                  <a:pt x="0" y="0"/>
                </a:moveTo>
                <a:lnTo>
                  <a:pt x="6" y="285"/>
                </a:lnTo>
                <a:lnTo>
                  <a:pt x="68" y="293"/>
                </a:lnTo>
                <a:lnTo>
                  <a:pt x="129" y="215"/>
                </a:lnTo>
                <a:lnTo>
                  <a:pt x="195" y="250"/>
                </a:lnTo>
                <a:lnTo>
                  <a:pt x="259" y="327"/>
                </a:lnTo>
                <a:lnTo>
                  <a:pt x="380" y="340"/>
                </a:lnTo>
                <a:lnTo>
                  <a:pt x="243" y="213"/>
                </a:lnTo>
                <a:lnTo>
                  <a:pt x="251" y="151"/>
                </a:lnTo>
                <a:lnTo>
                  <a:pt x="188" y="128"/>
                </a:lnTo>
                <a:lnTo>
                  <a:pt x="126" y="5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Freeform 383"/>
          <p:cNvSpPr/>
          <p:nvPr/>
        </p:nvSpPr>
        <p:spPr bwMode="auto">
          <a:xfrm>
            <a:off x="5861050" y="4355465"/>
            <a:ext cx="122555" cy="64770"/>
          </a:xfrm>
          <a:custGeom>
            <a:avLst/>
            <a:gdLst>
              <a:gd name="T0" fmla="*/ 0 w 159"/>
              <a:gd name="T1" fmla="*/ 1 h 90"/>
              <a:gd name="T2" fmla="*/ 2 w 159"/>
              <a:gd name="T3" fmla="*/ 2 h 90"/>
              <a:gd name="T4" fmla="*/ 4 w 159"/>
              <a:gd name="T5" fmla="*/ 1 h 90"/>
              <a:gd name="T6" fmla="*/ 3 w 159"/>
              <a:gd name="T7" fmla="*/ 0 h 90"/>
              <a:gd name="T8" fmla="*/ 3 w 159"/>
              <a:gd name="T9" fmla="*/ 1 h 90"/>
              <a:gd name="T10" fmla="*/ 0 w 159"/>
              <a:gd name="T11" fmla="*/ 1 h 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9"/>
              <a:gd name="T19" fmla="*/ 0 h 90"/>
              <a:gd name="T20" fmla="*/ 159 w 159"/>
              <a:gd name="T21" fmla="*/ 90 h 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9" h="90">
                <a:moveTo>
                  <a:pt x="0" y="57"/>
                </a:moveTo>
                <a:lnTo>
                  <a:pt x="93" y="90"/>
                </a:lnTo>
                <a:lnTo>
                  <a:pt x="159" y="27"/>
                </a:lnTo>
                <a:lnTo>
                  <a:pt x="132" y="0"/>
                </a:lnTo>
                <a:lnTo>
                  <a:pt x="114" y="35"/>
                </a:lnTo>
                <a:lnTo>
                  <a:pt x="0" y="5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Freeform 384"/>
          <p:cNvSpPr/>
          <p:nvPr/>
        </p:nvSpPr>
        <p:spPr bwMode="auto">
          <a:xfrm>
            <a:off x="5935345" y="4306570"/>
            <a:ext cx="62865" cy="64770"/>
          </a:xfrm>
          <a:custGeom>
            <a:avLst/>
            <a:gdLst>
              <a:gd name="T0" fmla="*/ 0 w 80"/>
              <a:gd name="T1" fmla="*/ 0 h 86"/>
              <a:gd name="T2" fmla="*/ 1 w 80"/>
              <a:gd name="T3" fmla="*/ 1 h 86"/>
              <a:gd name="T4" fmla="*/ 2 w 80"/>
              <a:gd name="T5" fmla="*/ 2 h 86"/>
              <a:gd name="T6" fmla="*/ 2 w 80"/>
              <a:gd name="T7" fmla="*/ 1 h 86"/>
              <a:gd name="T8" fmla="*/ 0 w 80"/>
              <a:gd name="T9" fmla="*/ 0 h 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0"/>
              <a:gd name="T16" fmla="*/ 0 h 86"/>
              <a:gd name="T17" fmla="*/ 80 w 80"/>
              <a:gd name="T18" fmla="*/ 86 h 8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0" h="86">
                <a:moveTo>
                  <a:pt x="0" y="0"/>
                </a:moveTo>
                <a:lnTo>
                  <a:pt x="63" y="39"/>
                </a:lnTo>
                <a:lnTo>
                  <a:pt x="80" y="86"/>
                </a:lnTo>
                <a:lnTo>
                  <a:pt x="79" y="51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Freeform 385"/>
          <p:cNvSpPr/>
          <p:nvPr/>
        </p:nvSpPr>
        <p:spPr bwMode="auto">
          <a:xfrm>
            <a:off x="4931410" y="3849370"/>
            <a:ext cx="71120" cy="92710"/>
          </a:xfrm>
          <a:custGeom>
            <a:avLst/>
            <a:gdLst>
              <a:gd name="T0" fmla="*/ 0 w 89"/>
              <a:gd name="T1" fmla="*/ 3 h 127"/>
              <a:gd name="T2" fmla="*/ 2 w 89"/>
              <a:gd name="T3" fmla="*/ 1 h 127"/>
              <a:gd name="T4" fmla="*/ 2 w 89"/>
              <a:gd name="T5" fmla="*/ 0 h 127"/>
              <a:gd name="T6" fmla="*/ 0 w 89"/>
              <a:gd name="T7" fmla="*/ 3 h 127"/>
              <a:gd name="T8" fmla="*/ 0 60000 65536"/>
              <a:gd name="T9" fmla="*/ 0 60000 65536"/>
              <a:gd name="T10" fmla="*/ 0 60000 65536"/>
              <a:gd name="T11" fmla="*/ 0 60000 65536"/>
              <a:gd name="T12" fmla="*/ 0 w 89"/>
              <a:gd name="T13" fmla="*/ 0 h 127"/>
              <a:gd name="T14" fmla="*/ 89 w 89"/>
              <a:gd name="T15" fmla="*/ 127 h 12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9" h="127">
                <a:moveTo>
                  <a:pt x="0" y="127"/>
                </a:moveTo>
                <a:lnTo>
                  <a:pt x="64" y="67"/>
                </a:lnTo>
                <a:lnTo>
                  <a:pt x="89" y="0"/>
                </a:lnTo>
                <a:lnTo>
                  <a:pt x="0" y="12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Freeform 386"/>
          <p:cNvSpPr/>
          <p:nvPr/>
        </p:nvSpPr>
        <p:spPr bwMode="auto">
          <a:xfrm>
            <a:off x="5013960" y="3609340"/>
            <a:ext cx="122555" cy="198755"/>
          </a:xfrm>
          <a:custGeom>
            <a:avLst/>
            <a:gdLst>
              <a:gd name="T0" fmla="*/ 0 w 156"/>
              <a:gd name="T1" fmla="*/ 3 h 269"/>
              <a:gd name="T2" fmla="*/ 1 w 156"/>
              <a:gd name="T3" fmla="*/ 0 h 269"/>
              <a:gd name="T4" fmla="*/ 2 w 156"/>
              <a:gd name="T5" fmla="*/ 0 h 269"/>
              <a:gd name="T6" fmla="*/ 2 w 156"/>
              <a:gd name="T7" fmla="*/ 2 h 269"/>
              <a:gd name="T8" fmla="*/ 1 w 156"/>
              <a:gd name="T9" fmla="*/ 3 h 269"/>
              <a:gd name="T10" fmla="*/ 1 w 156"/>
              <a:gd name="T11" fmla="*/ 4 h 269"/>
              <a:gd name="T12" fmla="*/ 3 w 156"/>
              <a:gd name="T13" fmla="*/ 5 h 269"/>
              <a:gd name="T14" fmla="*/ 4 w 156"/>
              <a:gd name="T15" fmla="*/ 6 h 269"/>
              <a:gd name="T16" fmla="*/ 3 w 156"/>
              <a:gd name="T17" fmla="*/ 5 h 269"/>
              <a:gd name="T18" fmla="*/ 3 w 156"/>
              <a:gd name="T19" fmla="*/ 6 h 269"/>
              <a:gd name="T20" fmla="*/ 1 w 156"/>
              <a:gd name="T21" fmla="*/ 5 h 269"/>
              <a:gd name="T22" fmla="*/ 0 w 156"/>
              <a:gd name="T23" fmla="*/ 3 h 26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6"/>
              <a:gd name="T37" fmla="*/ 0 h 269"/>
              <a:gd name="T38" fmla="*/ 156 w 156"/>
              <a:gd name="T39" fmla="*/ 269 h 26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6" h="269">
                <a:moveTo>
                  <a:pt x="0" y="106"/>
                </a:moveTo>
                <a:lnTo>
                  <a:pt x="28" y="0"/>
                </a:lnTo>
                <a:lnTo>
                  <a:pt x="85" y="4"/>
                </a:lnTo>
                <a:lnTo>
                  <a:pt x="97" y="72"/>
                </a:lnTo>
                <a:lnTo>
                  <a:pt x="55" y="145"/>
                </a:lnTo>
                <a:lnTo>
                  <a:pt x="65" y="188"/>
                </a:lnTo>
                <a:lnTo>
                  <a:pt x="148" y="212"/>
                </a:lnTo>
                <a:lnTo>
                  <a:pt x="156" y="269"/>
                </a:lnTo>
                <a:lnTo>
                  <a:pt x="103" y="212"/>
                </a:lnTo>
                <a:lnTo>
                  <a:pt x="103" y="240"/>
                </a:lnTo>
                <a:lnTo>
                  <a:pt x="28" y="212"/>
                </a:lnTo>
                <a:lnTo>
                  <a:pt x="0" y="10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Freeform 387"/>
          <p:cNvSpPr/>
          <p:nvPr/>
        </p:nvSpPr>
        <p:spPr bwMode="auto">
          <a:xfrm>
            <a:off x="5024120" y="3776980"/>
            <a:ext cx="33020" cy="41275"/>
          </a:xfrm>
          <a:custGeom>
            <a:avLst/>
            <a:gdLst>
              <a:gd name="T0" fmla="*/ 0 w 43"/>
              <a:gd name="T1" fmla="*/ 0 h 57"/>
              <a:gd name="T2" fmla="*/ 1 w 43"/>
              <a:gd name="T3" fmla="*/ 0 h 57"/>
              <a:gd name="T4" fmla="*/ 1 w 43"/>
              <a:gd name="T5" fmla="*/ 0 h 57"/>
              <a:gd name="T6" fmla="*/ 1 w 43"/>
              <a:gd name="T7" fmla="*/ 1 h 57"/>
              <a:gd name="T8" fmla="*/ 0 w 43"/>
              <a:gd name="T9" fmla="*/ 0 h 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57"/>
              <a:gd name="T17" fmla="*/ 43 w 43"/>
              <a:gd name="T18" fmla="*/ 57 h 5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57">
                <a:moveTo>
                  <a:pt x="0" y="0"/>
                </a:moveTo>
                <a:lnTo>
                  <a:pt x="24" y="0"/>
                </a:lnTo>
                <a:lnTo>
                  <a:pt x="43" y="13"/>
                </a:lnTo>
                <a:lnTo>
                  <a:pt x="35" y="57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Freeform 388"/>
          <p:cNvSpPr/>
          <p:nvPr/>
        </p:nvSpPr>
        <p:spPr bwMode="auto">
          <a:xfrm>
            <a:off x="5070475" y="3828415"/>
            <a:ext cx="33020" cy="51435"/>
          </a:xfrm>
          <a:custGeom>
            <a:avLst/>
            <a:gdLst>
              <a:gd name="T0" fmla="*/ 0 w 40"/>
              <a:gd name="T1" fmla="*/ 0 h 70"/>
              <a:gd name="T2" fmla="*/ 0 w 40"/>
              <a:gd name="T3" fmla="*/ 2 h 70"/>
              <a:gd name="T4" fmla="*/ 1 w 40"/>
              <a:gd name="T5" fmla="*/ 1 h 70"/>
              <a:gd name="T6" fmla="*/ 0 w 40"/>
              <a:gd name="T7" fmla="*/ 0 h 70"/>
              <a:gd name="T8" fmla="*/ 0 60000 65536"/>
              <a:gd name="T9" fmla="*/ 0 60000 65536"/>
              <a:gd name="T10" fmla="*/ 0 60000 65536"/>
              <a:gd name="T11" fmla="*/ 0 60000 65536"/>
              <a:gd name="T12" fmla="*/ 0 w 40"/>
              <a:gd name="T13" fmla="*/ 0 h 70"/>
              <a:gd name="T14" fmla="*/ 40 w 40"/>
              <a:gd name="T15" fmla="*/ 70 h 7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" h="70">
                <a:moveTo>
                  <a:pt x="0" y="0"/>
                </a:moveTo>
                <a:lnTo>
                  <a:pt x="5" y="70"/>
                </a:lnTo>
                <a:lnTo>
                  <a:pt x="40" y="42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Freeform 389"/>
          <p:cNvSpPr/>
          <p:nvPr/>
        </p:nvSpPr>
        <p:spPr bwMode="auto">
          <a:xfrm>
            <a:off x="5076825" y="3898900"/>
            <a:ext cx="128905" cy="137160"/>
          </a:xfrm>
          <a:custGeom>
            <a:avLst/>
            <a:gdLst>
              <a:gd name="T0" fmla="*/ 0 w 167"/>
              <a:gd name="T1" fmla="*/ 3 h 186"/>
              <a:gd name="T2" fmla="*/ 1 w 167"/>
              <a:gd name="T3" fmla="*/ 1 h 186"/>
              <a:gd name="T4" fmla="*/ 2 w 167"/>
              <a:gd name="T5" fmla="*/ 2 h 186"/>
              <a:gd name="T6" fmla="*/ 3 w 167"/>
              <a:gd name="T7" fmla="*/ 0 h 186"/>
              <a:gd name="T8" fmla="*/ 4 w 167"/>
              <a:gd name="T9" fmla="*/ 1 h 186"/>
              <a:gd name="T10" fmla="*/ 4 w 167"/>
              <a:gd name="T11" fmla="*/ 4 h 186"/>
              <a:gd name="T12" fmla="*/ 3 w 167"/>
              <a:gd name="T13" fmla="*/ 3 h 186"/>
              <a:gd name="T14" fmla="*/ 3 w 167"/>
              <a:gd name="T15" fmla="*/ 4 h 186"/>
              <a:gd name="T16" fmla="*/ 2 w 167"/>
              <a:gd name="T17" fmla="*/ 4 h 186"/>
              <a:gd name="T18" fmla="*/ 1 w 167"/>
              <a:gd name="T19" fmla="*/ 2 h 186"/>
              <a:gd name="T20" fmla="*/ 0 w 167"/>
              <a:gd name="T21" fmla="*/ 3 h 18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67"/>
              <a:gd name="T34" fmla="*/ 0 h 186"/>
              <a:gd name="T35" fmla="*/ 167 w 167"/>
              <a:gd name="T36" fmla="*/ 186 h 18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67" h="186">
                <a:moveTo>
                  <a:pt x="0" y="127"/>
                </a:moveTo>
                <a:lnTo>
                  <a:pt x="34" y="62"/>
                </a:lnTo>
                <a:lnTo>
                  <a:pt x="78" y="71"/>
                </a:lnTo>
                <a:lnTo>
                  <a:pt x="138" y="0"/>
                </a:lnTo>
                <a:lnTo>
                  <a:pt x="167" y="43"/>
                </a:lnTo>
                <a:lnTo>
                  <a:pt x="162" y="153"/>
                </a:lnTo>
                <a:lnTo>
                  <a:pt x="148" y="107"/>
                </a:lnTo>
                <a:lnTo>
                  <a:pt x="131" y="186"/>
                </a:lnTo>
                <a:lnTo>
                  <a:pt x="90" y="165"/>
                </a:lnTo>
                <a:lnTo>
                  <a:pt x="63" y="82"/>
                </a:lnTo>
                <a:lnTo>
                  <a:pt x="0" y="12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Freeform 390"/>
          <p:cNvSpPr/>
          <p:nvPr/>
        </p:nvSpPr>
        <p:spPr bwMode="auto">
          <a:xfrm>
            <a:off x="5090160" y="3867785"/>
            <a:ext cx="29845" cy="54610"/>
          </a:xfrm>
          <a:custGeom>
            <a:avLst/>
            <a:gdLst>
              <a:gd name="T0" fmla="*/ 0 w 37"/>
              <a:gd name="T1" fmla="*/ 1 h 74"/>
              <a:gd name="T2" fmla="*/ 0 w 37"/>
              <a:gd name="T3" fmla="*/ 1 h 74"/>
              <a:gd name="T4" fmla="*/ 1 w 37"/>
              <a:gd name="T5" fmla="*/ 0 h 74"/>
              <a:gd name="T6" fmla="*/ 1 w 37"/>
              <a:gd name="T7" fmla="*/ 2 h 74"/>
              <a:gd name="T8" fmla="*/ 0 w 37"/>
              <a:gd name="T9" fmla="*/ 1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74"/>
              <a:gd name="T17" fmla="*/ 37 w 37"/>
              <a:gd name="T18" fmla="*/ 74 h 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74">
                <a:moveTo>
                  <a:pt x="0" y="46"/>
                </a:moveTo>
                <a:lnTo>
                  <a:pt x="8" y="34"/>
                </a:lnTo>
                <a:lnTo>
                  <a:pt x="37" y="0"/>
                </a:lnTo>
                <a:lnTo>
                  <a:pt x="25" y="74"/>
                </a:lnTo>
                <a:lnTo>
                  <a:pt x="0" y="4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Freeform 391"/>
          <p:cNvSpPr/>
          <p:nvPr/>
        </p:nvSpPr>
        <p:spPr bwMode="auto">
          <a:xfrm>
            <a:off x="1860550" y="2240280"/>
            <a:ext cx="300990" cy="245110"/>
          </a:xfrm>
          <a:custGeom>
            <a:avLst/>
            <a:gdLst>
              <a:gd name="T0" fmla="*/ 0 w 383"/>
              <a:gd name="T1" fmla="*/ 1 h 337"/>
              <a:gd name="T2" fmla="*/ 1 w 383"/>
              <a:gd name="T3" fmla="*/ 5 h 337"/>
              <a:gd name="T4" fmla="*/ 5 w 383"/>
              <a:gd name="T5" fmla="*/ 7 h 337"/>
              <a:gd name="T6" fmla="*/ 7 w 383"/>
              <a:gd name="T7" fmla="*/ 8 h 337"/>
              <a:gd name="T8" fmla="*/ 9 w 383"/>
              <a:gd name="T9" fmla="*/ 6 h 337"/>
              <a:gd name="T10" fmla="*/ 8 w 383"/>
              <a:gd name="T11" fmla="*/ 3 h 337"/>
              <a:gd name="T12" fmla="*/ 9 w 383"/>
              <a:gd name="T13" fmla="*/ 3 h 337"/>
              <a:gd name="T14" fmla="*/ 9 w 383"/>
              <a:gd name="T15" fmla="*/ 1 h 337"/>
              <a:gd name="T16" fmla="*/ 5 w 383"/>
              <a:gd name="T17" fmla="*/ 0 h 337"/>
              <a:gd name="T18" fmla="*/ 3 w 383"/>
              <a:gd name="T19" fmla="*/ 0 h 337"/>
              <a:gd name="T20" fmla="*/ 0 w 383"/>
              <a:gd name="T21" fmla="*/ 1 h 33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3"/>
              <a:gd name="T34" fmla="*/ 0 h 337"/>
              <a:gd name="T35" fmla="*/ 383 w 383"/>
              <a:gd name="T36" fmla="*/ 337 h 33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3" h="337">
                <a:moveTo>
                  <a:pt x="0" y="61"/>
                </a:moveTo>
                <a:lnTo>
                  <a:pt x="26" y="237"/>
                </a:lnTo>
                <a:lnTo>
                  <a:pt x="222" y="326"/>
                </a:lnTo>
                <a:lnTo>
                  <a:pt x="319" y="337"/>
                </a:lnTo>
                <a:lnTo>
                  <a:pt x="383" y="248"/>
                </a:lnTo>
                <a:lnTo>
                  <a:pt x="349" y="149"/>
                </a:lnTo>
                <a:lnTo>
                  <a:pt x="375" y="124"/>
                </a:lnTo>
                <a:lnTo>
                  <a:pt x="358" y="45"/>
                </a:lnTo>
                <a:lnTo>
                  <a:pt x="213" y="19"/>
                </a:lnTo>
                <a:lnTo>
                  <a:pt x="118" y="0"/>
                </a:lnTo>
                <a:lnTo>
                  <a:pt x="0" y="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Freeform 392"/>
          <p:cNvSpPr/>
          <p:nvPr/>
        </p:nvSpPr>
        <p:spPr bwMode="auto">
          <a:xfrm>
            <a:off x="1172210" y="2780665"/>
            <a:ext cx="90805" cy="178435"/>
          </a:xfrm>
          <a:custGeom>
            <a:avLst/>
            <a:gdLst>
              <a:gd name="T0" fmla="*/ 0 w 118"/>
              <a:gd name="T1" fmla="*/ 4 h 245"/>
              <a:gd name="T2" fmla="*/ 0 w 118"/>
              <a:gd name="T3" fmla="*/ 0 h 245"/>
              <a:gd name="T4" fmla="*/ 3 w 118"/>
              <a:gd name="T5" fmla="*/ 0 h 245"/>
              <a:gd name="T6" fmla="*/ 2 w 118"/>
              <a:gd name="T7" fmla="*/ 3 h 245"/>
              <a:gd name="T8" fmla="*/ 2 w 118"/>
              <a:gd name="T9" fmla="*/ 5 h 245"/>
              <a:gd name="T10" fmla="*/ 0 w 118"/>
              <a:gd name="T11" fmla="*/ 5 h 245"/>
              <a:gd name="T12" fmla="*/ 1 w 118"/>
              <a:gd name="T13" fmla="*/ 4 h 245"/>
              <a:gd name="T14" fmla="*/ 0 w 118"/>
              <a:gd name="T15" fmla="*/ 4 h 24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8"/>
              <a:gd name="T25" fmla="*/ 0 h 245"/>
              <a:gd name="T26" fmla="*/ 118 w 118"/>
              <a:gd name="T27" fmla="*/ 245 h 24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8" h="245">
                <a:moveTo>
                  <a:pt x="0" y="161"/>
                </a:moveTo>
                <a:lnTo>
                  <a:pt x="19" y="0"/>
                </a:lnTo>
                <a:lnTo>
                  <a:pt x="118" y="9"/>
                </a:lnTo>
                <a:lnTo>
                  <a:pt x="76" y="112"/>
                </a:lnTo>
                <a:lnTo>
                  <a:pt x="76" y="238"/>
                </a:lnTo>
                <a:lnTo>
                  <a:pt x="17" y="245"/>
                </a:lnTo>
                <a:lnTo>
                  <a:pt x="25" y="169"/>
                </a:lnTo>
                <a:lnTo>
                  <a:pt x="0" y="1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Freeform 393"/>
          <p:cNvSpPr/>
          <p:nvPr/>
        </p:nvSpPr>
        <p:spPr bwMode="auto">
          <a:xfrm>
            <a:off x="2044065" y="2519680"/>
            <a:ext cx="284480" cy="180340"/>
          </a:xfrm>
          <a:custGeom>
            <a:avLst/>
            <a:gdLst>
              <a:gd name="T0" fmla="*/ 0 w 366"/>
              <a:gd name="T1" fmla="*/ 3 h 247"/>
              <a:gd name="T2" fmla="*/ 2 w 366"/>
              <a:gd name="T3" fmla="*/ 5 h 247"/>
              <a:gd name="T4" fmla="*/ 7 w 366"/>
              <a:gd name="T5" fmla="*/ 6 h 247"/>
              <a:gd name="T6" fmla="*/ 9 w 366"/>
              <a:gd name="T7" fmla="*/ 4 h 247"/>
              <a:gd name="T8" fmla="*/ 7 w 366"/>
              <a:gd name="T9" fmla="*/ 4 h 247"/>
              <a:gd name="T10" fmla="*/ 7 w 366"/>
              <a:gd name="T11" fmla="*/ 2 h 247"/>
              <a:gd name="T12" fmla="*/ 6 w 366"/>
              <a:gd name="T13" fmla="*/ 0 h 247"/>
              <a:gd name="T14" fmla="*/ 2 w 366"/>
              <a:gd name="T15" fmla="*/ 0 h 247"/>
              <a:gd name="T16" fmla="*/ 0 w 366"/>
              <a:gd name="T17" fmla="*/ 3 h 24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66"/>
              <a:gd name="T28" fmla="*/ 0 h 247"/>
              <a:gd name="T29" fmla="*/ 366 w 366"/>
              <a:gd name="T30" fmla="*/ 247 h 24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66" h="247">
                <a:moveTo>
                  <a:pt x="0" y="123"/>
                </a:moveTo>
                <a:lnTo>
                  <a:pt x="100" y="223"/>
                </a:lnTo>
                <a:lnTo>
                  <a:pt x="324" y="247"/>
                </a:lnTo>
                <a:lnTo>
                  <a:pt x="366" y="162"/>
                </a:lnTo>
                <a:lnTo>
                  <a:pt x="308" y="158"/>
                </a:lnTo>
                <a:lnTo>
                  <a:pt x="301" y="81"/>
                </a:lnTo>
                <a:lnTo>
                  <a:pt x="251" y="0"/>
                </a:lnTo>
                <a:lnTo>
                  <a:pt x="100" y="18"/>
                </a:lnTo>
                <a:lnTo>
                  <a:pt x="0" y="12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Freeform 394"/>
          <p:cNvSpPr/>
          <p:nvPr/>
        </p:nvSpPr>
        <p:spPr bwMode="auto">
          <a:xfrm>
            <a:off x="2473325" y="3139440"/>
            <a:ext cx="628650" cy="570865"/>
          </a:xfrm>
          <a:custGeom>
            <a:avLst/>
            <a:gdLst>
              <a:gd name="T0" fmla="*/ 0 w 805"/>
              <a:gd name="T1" fmla="*/ 5 h 776"/>
              <a:gd name="T2" fmla="*/ 0 w 805"/>
              <a:gd name="T3" fmla="*/ 3 h 776"/>
              <a:gd name="T4" fmla="*/ 1 w 805"/>
              <a:gd name="T5" fmla="*/ 3 h 776"/>
              <a:gd name="T6" fmla="*/ 3 w 805"/>
              <a:gd name="T7" fmla="*/ 3 h 776"/>
              <a:gd name="T8" fmla="*/ 3 w 805"/>
              <a:gd name="T9" fmla="*/ 2 h 776"/>
              <a:gd name="T10" fmla="*/ 2 w 805"/>
              <a:gd name="T11" fmla="*/ 1 h 776"/>
              <a:gd name="T12" fmla="*/ 4 w 805"/>
              <a:gd name="T13" fmla="*/ 0 h 776"/>
              <a:gd name="T14" fmla="*/ 8 w 805"/>
              <a:gd name="T15" fmla="*/ 2 h 776"/>
              <a:gd name="T16" fmla="*/ 8 w 805"/>
              <a:gd name="T17" fmla="*/ 3 h 776"/>
              <a:gd name="T18" fmla="*/ 9 w 805"/>
              <a:gd name="T19" fmla="*/ 3 h 776"/>
              <a:gd name="T20" fmla="*/ 10 w 805"/>
              <a:gd name="T21" fmla="*/ 4 h 776"/>
              <a:gd name="T22" fmla="*/ 11 w 805"/>
              <a:gd name="T23" fmla="*/ 3 h 776"/>
              <a:gd name="T24" fmla="*/ 12 w 805"/>
              <a:gd name="T25" fmla="*/ 4 h 776"/>
              <a:gd name="T26" fmla="*/ 14 w 805"/>
              <a:gd name="T27" fmla="*/ 8 h 776"/>
              <a:gd name="T28" fmla="*/ 15 w 805"/>
              <a:gd name="T29" fmla="*/ 9 h 776"/>
              <a:gd name="T30" fmla="*/ 15 w 805"/>
              <a:gd name="T31" fmla="*/ 10 h 776"/>
              <a:gd name="T32" fmla="*/ 18 w 805"/>
              <a:gd name="T33" fmla="*/ 10 h 776"/>
              <a:gd name="T34" fmla="*/ 19 w 805"/>
              <a:gd name="T35" fmla="*/ 11 h 776"/>
              <a:gd name="T36" fmla="*/ 18 w 805"/>
              <a:gd name="T37" fmla="*/ 13 h 776"/>
              <a:gd name="T38" fmla="*/ 15 w 805"/>
              <a:gd name="T39" fmla="*/ 14 h 776"/>
              <a:gd name="T40" fmla="*/ 13 w 805"/>
              <a:gd name="T41" fmla="*/ 15 h 776"/>
              <a:gd name="T42" fmla="*/ 10 w 805"/>
              <a:gd name="T43" fmla="*/ 18 h 776"/>
              <a:gd name="T44" fmla="*/ 10 w 805"/>
              <a:gd name="T45" fmla="*/ 17 h 776"/>
              <a:gd name="T46" fmla="*/ 9 w 805"/>
              <a:gd name="T47" fmla="*/ 16 h 776"/>
              <a:gd name="T48" fmla="*/ 7 w 805"/>
              <a:gd name="T49" fmla="*/ 17 h 776"/>
              <a:gd name="T50" fmla="*/ 5 w 805"/>
              <a:gd name="T51" fmla="*/ 14 h 776"/>
              <a:gd name="T52" fmla="*/ 4 w 805"/>
              <a:gd name="T53" fmla="*/ 13 h 776"/>
              <a:gd name="T54" fmla="*/ 3 w 805"/>
              <a:gd name="T55" fmla="*/ 9 h 776"/>
              <a:gd name="T56" fmla="*/ 0 w 805"/>
              <a:gd name="T57" fmla="*/ 5 h 77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05"/>
              <a:gd name="T88" fmla="*/ 0 h 776"/>
              <a:gd name="T89" fmla="*/ 805 w 805"/>
              <a:gd name="T90" fmla="*/ 776 h 77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05" h="776">
                <a:moveTo>
                  <a:pt x="0" y="202"/>
                </a:moveTo>
                <a:lnTo>
                  <a:pt x="12" y="135"/>
                </a:lnTo>
                <a:lnTo>
                  <a:pt x="54" y="149"/>
                </a:lnTo>
                <a:lnTo>
                  <a:pt x="107" y="107"/>
                </a:lnTo>
                <a:lnTo>
                  <a:pt x="130" y="78"/>
                </a:lnTo>
                <a:lnTo>
                  <a:pt x="85" y="32"/>
                </a:lnTo>
                <a:lnTo>
                  <a:pt x="171" y="0"/>
                </a:lnTo>
                <a:lnTo>
                  <a:pt x="344" y="89"/>
                </a:lnTo>
                <a:lnTo>
                  <a:pt x="345" y="120"/>
                </a:lnTo>
                <a:lnTo>
                  <a:pt x="388" y="143"/>
                </a:lnTo>
                <a:lnTo>
                  <a:pt x="420" y="165"/>
                </a:lnTo>
                <a:lnTo>
                  <a:pt x="454" y="149"/>
                </a:lnTo>
                <a:lnTo>
                  <a:pt x="524" y="174"/>
                </a:lnTo>
                <a:lnTo>
                  <a:pt x="617" y="352"/>
                </a:lnTo>
                <a:lnTo>
                  <a:pt x="627" y="365"/>
                </a:lnTo>
                <a:lnTo>
                  <a:pt x="664" y="436"/>
                </a:lnTo>
                <a:lnTo>
                  <a:pt x="786" y="450"/>
                </a:lnTo>
                <a:lnTo>
                  <a:pt x="805" y="483"/>
                </a:lnTo>
                <a:lnTo>
                  <a:pt x="775" y="575"/>
                </a:lnTo>
                <a:lnTo>
                  <a:pt x="664" y="619"/>
                </a:lnTo>
                <a:lnTo>
                  <a:pt x="542" y="652"/>
                </a:lnTo>
                <a:lnTo>
                  <a:pt x="443" y="776"/>
                </a:lnTo>
                <a:lnTo>
                  <a:pt x="443" y="729"/>
                </a:lnTo>
                <a:lnTo>
                  <a:pt x="373" y="697"/>
                </a:lnTo>
                <a:lnTo>
                  <a:pt x="306" y="739"/>
                </a:lnTo>
                <a:lnTo>
                  <a:pt x="234" y="599"/>
                </a:lnTo>
                <a:lnTo>
                  <a:pt x="180" y="544"/>
                </a:lnTo>
                <a:lnTo>
                  <a:pt x="146" y="398"/>
                </a:lnTo>
                <a:lnTo>
                  <a:pt x="0" y="20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Freeform 395"/>
          <p:cNvSpPr/>
          <p:nvPr/>
        </p:nvSpPr>
        <p:spPr bwMode="auto">
          <a:xfrm>
            <a:off x="2027555" y="982980"/>
            <a:ext cx="5079365" cy="1790065"/>
          </a:xfrm>
          <a:custGeom>
            <a:avLst/>
            <a:gdLst>
              <a:gd name="T0" fmla="*/ 3 w 6518"/>
              <a:gd name="T1" fmla="*/ 35 h 2431"/>
              <a:gd name="T2" fmla="*/ 8 w 6518"/>
              <a:gd name="T3" fmla="*/ 31 h 2431"/>
              <a:gd name="T4" fmla="*/ 8 w 6518"/>
              <a:gd name="T5" fmla="*/ 18 h 2431"/>
              <a:gd name="T6" fmla="*/ 14 w 6518"/>
              <a:gd name="T7" fmla="*/ 17 h 2431"/>
              <a:gd name="T8" fmla="*/ 16 w 6518"/>
              <a:gd name="T9" fmla="*/ 26 h 2431"/>
              <a:gd name="T10" fmla="*/ 18 w 6518"/>
              <a:gd name="T11" fmla="*/ 23 h 2431"/>
              <a:gd name="T12" fmla="*/ 23 w 6518"/>
              <a:gd name="T13" fmla="*/ 20 h 2431"/>
              <a:gd name="T14" fmla="*/ 35 w 6518"/>
              <a:gd name="T15" fmla="*/ 17 h 2431"/>
              <a:gd name="T16" fmla="*/ 44 w 6518"/>
              <a:gd name="T17" fmla="*/ 17 h 2431"/>
              <a:gd name="T18" fmla="*/ 44 w 6518"/>
              <a:gd name="T19" fmla="*/ 10 h 2431"/>
              <a:gd name="T20" fmla="*/ 47 w 6518"/>
              <a:gd name="T21" fmla="*/ 19 h 2431"/>
              <a:gd name="T22" fmla="*/ 49 w 6518"/>
              <a:gd name="T23" fmla="*/ 17 h 2431"/>
              <a:gd name="T24" fmla="*/ 51 w 6518"/>
              <a:gd name="T25" fmla="*/ 17 h 2431"/>
              <a:gd name="T26" fmla="*/ 49 w 6518"/>
              <a:gd name="T27" fmla="*/ 13 h 2431"/>
              <a:gd name="T28" fmla="*/ 56 w 6518"/>
              <a:gd name="T29" fmla="*/ 12 h 2431"/>
              <a:gd name="T30" fmla="*/ 59 w 6518"/>
              <a:gd name="T31" fmla="*/ 8 h 2431"/>
              <a:gd name="T32" fmla="*/ 67 w 6518"/>
              <a:gd name="T33" fmla="*/ 3 h 2431"/>
              <a:gd name="T34" fmla="*/ 72 w 6518"/>
              <a:gd name="T35" fmla="*/ 1 h 2431"/>
              <a:gd name="T36" fmla="*/ 83 w 6518"/>
              <a:gd name="T37" fmla="*/ 4 h 2431"/>
              <a:gd name="T38" fmla="*/ 77 w 6518"/>
              <a:gd name="T39" fmla="*/ 9 h 2431"/>
              <a:gd name="T40" fmla="*/ 84 w 6518"/>
              <a:gd name="T41" fmla="*/ 9 h 2431"/>
              <a:gd name="T42" fmla="*/ 92 w 6518"/>
              <a:gd name="T43" fmla="*/ 8 h 2431"/>
              <a:gd name="T44" fmla="*/ 102 w 6518"/>
              <a:gd name="T45" fmla="*/ 12 h 2431"/>
              <a:gd name="T46" fmla="*/ 114 w 6518"/>
              <a:gd name="T47" fmla="*/ 12 h 2431"/>
              <a:gd name="T48" fmla="*/ 126 w 6518"/>
              <a:gd name="T49" fmla="*/ 16 h 2431"/>
              <a:gd name="T50" fmla="*/ 133 w 6518"/>
              <a:gd name="T51" fmla="*/ 15 h 2431"/>
              <a:gd name="T52" fmla="*/ 148 w 6518"/>
              <a:gd name="T53" fmla="*/ 21 h 2431"/>
              <a:gd name="T54" fmla="*/ 147 w 6518"/>
              <a:gd name="T55" fmla="*/ 25 h 2431"/>
              <a:gd name="T56" fmla="*/ 143 w 6518"/>
              <a:gd name="T57" fmla="*/ 22 h 2431"/>
              <a:gd name="T58" fmla="*/ 141 w 6518"/>
              <a:gd name="T59" fmla="*/ 28 h 2431"/>
              <a:gd name="T60" fmla="*/ 129 w 6518"/>
              <a:gd name="T61" fmla="*/ 31 h 2431"/>
              <a:gd name="T62" fmla="*/ 126 w 6518"/>
              <a:gd name="T63" fmla="*/ 37 h 2431"/>
              <a:gd name="T64" fmla="*/ 121 w 6518"/>
              <a:gd name="T65" fmla="*/ 45 h 2431"/>
              <a:gd name="T66" fmla="*/ 128 w 6518"/>
              <a:gd name="T67" fmla="*/ 29 h 2431"/>
              <a:gd name="T68" fmla="*/ 119 w 6518"/>
              <a:gd name="T69" fmla="*/ 32 h 2431"/>
              <a:gd name="T70" fmla="*/ 109 w 6518"/>
              <a:gd name="T71" fmla="*/ 33 h 2431"/>
              <a:gd name="T72" fmla="*/ 105 w 6518"/>
              <a:gd name="T73" fmla="*/ 41 h 2431"/>
              <a:gd name="T74" fmla="*/ 107 w 6518"/>
              <a:gd name="T75" fmla="*/ 45 h 2431"/>
              <a:gd name="T76" fmla="*/ 99 w 6518"/>
              <a:gd name="T77" fmla="*/ 55 h 2431"/>
              <a:gd name="T78" fmla="*/ 94 w 6518"/>
              <a:gd name="T79" fmla="*/ 42 h 2431"/>
              <a:gd name="T80" fmla="*/ 84 w 6518"/>
              <a:gd name="T81" fmla="*/ 46 h 2431"/>
              <a:gd name="T82" fmla="*/ 69 w 6518"/>
              <a:gd name="T83" fmla="*/ 46 h 2431"/>
              <a:gd name="T84" fmla="*/ 53 w 6518"/>
              <a:gd name="T85" fmla="*/ 46 h 2431"/>
              <a:gd name="T86" fmla="*/ 46 w 6518"/>
              <a:gd name="T87" fmla="*/ 42 h 2431"/>
              <a:gd name="T88" fmla="*/ 38 w 6518"/>
              <a:gd name="T89" fmla="*/ 39 h 2431"/>
              <a:gd name="T90" fmla="*/ 32 w 6518"/>
              <a:gd name="T91" fmla="*/ 40 h 2431"/>
              <a:gd name="T92" fmla="*/ 33 w 6518"/>
              <a:gd name="T93" fmla="*/ 45 h 2431"/>
              <a:gd name="T94" fmla="*/ 29 w 6518"/>
              <a:gd name="T95" fmla="*/ 44 h 2431"/>
              <a:gd name="T96" fmla="*/ 24 w 6518"/>
              <a:gd name="T97" fmla="*/ 46 h 2431"/>
              <a:gd name="T98" fmla="*/ 23 w 6518"/>
              <a:gd name="T99" fmla="*/ 48 h 2431"/>
              <a:gd name="T100" fmla="*/ 25 w 6518"/>
              <a:gd name="T101" fmla="*/ 51 h 2431"/>
              <a:gd name="T102" fmla="*/ 23 w 6518"/>
              <a:gd name="T103" fmla="*/ 55 h 2431"/>
              <a:gd name="T104" fmla="*/ 17 w 6518"/>
              <a:gd name="T105" fmla="*/ 54 h 2431"/>
              <a:gd name="T106" fmla="*/ 17 w 6518"/>
              <a:gd name="T107" fmla="*/ 47 h 2431"/>
              <a:gd name="T108" fmla="*/ 12 w 6518"/>
              <a:gd name="T109" fmla="*/ 43 h 2431"/>
              <a:gd name="T110" fmla="*/ 10 w 6518"/>
              <a:gd name="T111" fmla="*/ 42 h 2431"/>
              <a:gd name="T112" fmla="*/ 6 w 6518"/>
              <a:gd name="T113" fmla="*/ 38 h 2431"/>
              <a:gd name="T114" fmla="*/ 4 w 6518"/>
              <a:gd name="T115" fmla="*/ 41 h 243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518"/>
              <a:gd name="T175" fmla="*/ 0 h 2431"/>
              <a:gd name="T176" fmla="*/ 6518 w 6518"/>
              <a:gd name="T177" fmla="*/ 2431 h 243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518" h="2431">
                <a:moveTo>
                  <a:pt x="0" y="1726"/>
                </a:moveTo>
                <a:lnTo>
                  <a:pt x="55" y="1671"/>
                </a:lnTo>
                <a:lnTo>
                  <a:pt x="36" y="1694"/>
                </a:lnTo>
                <a:lnTo>
                  <a:pt x="61" y="1701"/>
                </a:lnTo>
                <a:lnTo>
                  <a:pt x="55" y="1587"/>
                </a:lnTo>
                <a:lnTo>
                  <a:pt x="77" y="1534"/>
                </a:lnTo>
                <a:lnTo>
                  <a:pt x="108" y="1526"/>
                </a:lnTo>
                <a:lnTo>
                  <a:pt x="171" y="1575"/>
                </a:lnTo>
                <a:lnTo>
                  <a:pt x="182" y="1482"/>
                </a:lnTo>
                <a:lnTo>
                  <a:pt x="158" y="1483"/>
                </a:lnTo>
                <a:lnTo>
                  <a:pt x="147" y="1429"/>
                </a:lnTo>
                <a:lnTo>
                  <a:pt x="405" y="1377"/>
                </a:lnTo>
                <a:lnTo>
                  <a:pt x="339" y="1358"/>
                </a:lnTo>
                <a:lnTo>
                  <a:pt x="343" y="1330"/>
                </a:lnTo>
                <a:lnTo>
                  <a:pt x="305" y="1340"/>
                </a:lnTo>
                <a:lnTo>
                  <a:pt x="452" y="1197"/>
                </a:lnTo>
                <a:lnTo>
                  <a:pt x="389" y="1047"/>
                </a:lnTo>
                <a:lnTo>
                  <a:pt x="401" y="976"/>
                </a:lnTo>
                <a:lnTo>
                  <a:pt x="361" y="896"/>
                </a:lnTo>
                <a:lnTo>
                  <a:pt x="398" y="850"/>
                </a:lnTo>
                <a:lnTo>
                  <a:pt x="339" y="786"/>
                </a:lnTo>
                <a:lnTo>
                  <a:pt x="355" y="736"/>
                </a:lnTo>
                <a:lnTo>
                  <a:pt x="429" y="677"/>
                </a:lnTo>
                <a:lnTo>
                  <a:pt x="469" y="670"/>
                </a:lnTo>
                <a:lnTo>
                  <a:pt x="516" y="683"/>
                </a:lnTo>
                <a:lnTo>
                  <a:pt x="475" y="696"/>
                </a:lnTo>
                <a:lnTo>
                  <a:pt x="505" y="719"/>
                </a:lnTo>
                <a:lnTo>
                  <a:pt x="620" y="727"/>
                </a:lnTo>
                <a:lnTo>
                  <a:pt x="819" y="847"/>
                </a:lnTo>
                <a:lnTo>
                  <a:pt x="824" y="907"/>
                </a:lnTo>
                <a:lnTo>
                  <a:pt x="738" y="958"/>
                </a:lnTo>
                <a:lnTo>
                  <a:pt x="471" y="886"/>
                </a:lnTo>
                <a:lnTo>
                  <a:pt x="578" y="972"/>
                </a:lnTo>
                <a:lnTo>
                  <a:pt x="574" y="1074"/>
                </a:lnTo>
                <a:lnTo>
                  <a:pt x="682" y="1122"/>
                </a:lnTo>
                <a:lnTo>
                  <a:pt x="712" y="1114"/>
                </a:lnTo>
                <a:lnTo>
                  <a:pt x="698" y="1074"/>
                </a:lnTo>
                <a:lnTo>
                  <a:pt x="647" y="1057"/>
                </a:lnTo>
                <a:lnTo>
                  <a:pt x="659" y="1023"/>
                </a:lnTo>
                <a:lnTo>
                  <a:pt x="710" y="1061"/>
                </a:lnTo>
                <a:lnTo>
                  <a:pt x="813" y="1074"/>
                </a:lnTo>
                <a:lnTo>
                  <a:pt x="768" y="993"/>
                </a:lnTo>
                <a:lnTo>
                  <a:pt x="867" y="926"/>
                </a:lnTo>
                <a:lnTo>
                  <a:pt x="937" y="972"/>
                </a:lnTo>
                <a:lnTo>
                  <a:pt x="934" y="792"/>
                </a:lnTo>
                <a:lnTo>
                  <a:pt x="903" y="765"/>
                </a:lnTo>
                <a:lnTo>
                  <a:pt x="1023" y="805"/>
                </a:lnTo>
                <a:lnTo>
                  <a:pt x="1032" y="827"/>
                </a:lnTo>
                <a:lnTo>
                  <a:pt x="969" y="859"/>
                </a:lnTo>
                <a:lnTo>
                  <a:pt x="1032" y="917"/>
                </a:lnTo>
                <a:lnTo>
                  <a:pt x="1086" y="850"/>
                </a:lnTo>
                <a:lnTo>
                  <a:pt x="1303" y="743"/>
                </a:lnTo>
                <a:lnTo>
                  <a:pt x="1337" y="739"/>
                </a:lnTo>
                <a:lnTo>
                  <a:pt x="1303" y="755"/>
                </a:lnTo>
                <a:lnTo>
                  <a:pt x="1340" y="807"/>
                </a:lnTo>
                <a:lnTo>
                  <a:pt x="1500" y="739"/>
                </a:lnTo>
                <a:lnTo>
                  <a:pt x="1536" y="789"/>
                </a:lnTo>
                <a:lnTo>
                  <a:pt x="1575" y="748"/>
                </a:lnTo>
                <a:lnTo>
                  <a:pt x="1553" y="693"/>
                </a:lnTo>
                <a:lnTo>
                  <a:pt x="1578" y="674"/>
                </a:lnTo>
                <a:lnTo>
                  <a:pt x="1699" y="701"/>
                </a:lnTo>
                <a:lnTo>
                  <a:pt x="1858" y="803"/>
                </a:lnTo>
                <a:lnTo>
                  <a:pt x="1888" y="754"/>
                </a:lnTo>
                <a:lnTo>
                  <a:pt x="1855" y="704"/>
                </a:lnTo>
                <a:lnTo>
                  <a:pt x="1807" y="688"/>
                </a:lnTo>
                <a:lnTo>
                  <a:pt x="1824" y="608"/>
                </a:lnTo>
                <a:lnTo>
                  <a:pt x="1795" y="597"/>
                </a:lnTo>
                <a:lnTo>
                  <a:pt x="1803" y="560"/>
                </a:lnTo>
                <a:lnTo>
                  <a:pt x="1861" y="521"/>
                </a:lnTo>
                <a:lnTo>
                  <a:pt x="1899" y="424"/>
                </a:lnTo>
                <a:lnTo>
                  <a:pt x="1981" y="425"/>
                </a:lnTo>
                <a:lnTo>
                  <a:pt x="2024" y="439"/>
                </a:lnTo>
                <a:lnTo>
                  <a:pt x="1990" y="543"/>
                </a:lnTo>
                <a:lnTo>
                  <a:pt x="2028" y="593"/>
                </a:lnTo>
                <a:lnTo>
                  <a:pt x="2017" y="736"/>
                </a:lnTo>
                <a:lnTo>
                  <a:pt x="2056" y="784"/>
                </a:lnTo>
                <a:lnTo>
                  <a:pt x="2039" y="836"/>
                </a:lnTo>
                <a:lnTo>
                  <a:pt x="1977" y="877"/>
                </a:lnTo>
                <a:lnTo>
                  <a:pt x="1996" y="896"/>
                </a:lnTo>
                <a:lnTo>
                  <a:pt x="1914" y="915"/>
                </a:lnTo>
                <a:lnTo>
                  <a:pt x="2002" y="949"/>
                </a:lnTo>
                <a:lnTo>
                  <a:pt x="2105" y="836"/>
                </a:lnTo>
                <a:lnTo>
                  <a:pt x="2091" y="765"/>
                </a:lnTo>
                <a:lnTo>
                  <a:pt x="2123" y="754"/>
                </a:lnTo>
                <a:lnTo>
                  <a:pt x="2176" y="740"/>
                </a:lnTo>
                <a:lnTo>
                  <a:pt x="2204" y="781"/>
                </a:lnTo>
                <a:lnTo>
                  <a:pt x="2201" y="835"/>
                </a:lnTo>
                <a:lnTo>
                  <a:pt x="2263" y="851"/>
                </a:lnTo>
                <a:lnTo>
                  <a:pt x="2212" y="834"/>
                </a:lnTo>
                <a:lnTo>
                  <a:pt x="2236" y="801"/>
                </a:lnTo>
                <a:lnTo>
                  <a:pt x="2214" y="754"/>
                </a:lnTo>
                <a:lnTo>
                  <a:pt x="2067" y="723"/>
                </a:lnTo>
                <a:lnTo>
                  <a:pt x="2091" y="612"/>
                </a:lnTo>
                <a:lnTo>
                  <a:pt x="2039" y="543"/>
                </a:lnTo>
                <a:lnTo>
                  <a:pt x="2112" y="479"/>
                </a:lnTo>
                <a:lnTo>
                  <a:pt x="2106" y="433"/>
                </a:lnTo>
                <a:lnTo>
                  <a:pt x="2137" y="459"/>
                </a:lnTo>
                <a:lnTo>
                  <a:pt x="2120" y="550"/>
                </a:lnTo>
                <a:lnTo>
                  <a:pt x="2145" y="560"/>
                </a:lnTo>
                <a:lnTo>
                  <a:pt x="2246" y="587"/>
                </a:lnTo>
                <a:lnTo>
                  <a:pt x="2153" y="514"/>
                </a:lnTo>
                <a:lnTo>
                  <a:pt x="2221" y="517"/>
                </a:lnTo>
                <a:lnTo>
                  <a:pt x="2206" y="487"/>
                </a:lnTo>
                <a:lnTo>
                  <a:pt x="2246" y="472"/>
                </a:lnTo>
                <a:lnTo>
                  <a:pt x="2429" y="532"/>
                </a:lnTo>
                <a:lnTo>
                  <a:pt x="2394" y="568"/>
                </a:lnTo>
                <a:lnTo>
                  <a:pt x="2389" y="628"/>
                </a:lnTo>
                <a:lnTo>
                  <a:pt x="2427" y="660"/>
                </a:lnTo>
                <a:lnTo>
                  <a:pt x="2446" y="532"/>
                </a:lnTo>
                <a:lnTo>
                  <a:pt x="2347" y="466"/>
                </a:lnTo>
                <a:lnTo>
                  <a:pt x="2325" y="375"/>
                </a:lnTo>
                <a:lnTo>
                  <a:pt x="2558" y="344"/>
                </a:lnTo>
                <a:lnTo>
                  <a:pt x="2529" y="260"/>
                </a:lnTo>
                <a:lnTo>
                  <a:pt x="2558" y="279"/>
                </a:lnTo>
                <a:lnTo>
                  <a:pt x="2599" y="247"/>
                </a:lnTo>
                <a:lnTo>
                  <a:pt x="2568" y="237"/>
                </a:lnTo>
                <a:lnTo>
                  <a:pt x="2816" y="171"/>
                </a:lnTo>
                <a:lnTo>
                  <a:pt x="2794" y="152"/>
                </a:lnTo>
                <a:lnTo>
                  <a:pt x="2909" y="145"/>
                </a:lnTo>
                <a:lnTo>
                  <a:pt x="2908" y="167"/>
                </a:lnTo>
                <a:lnTo>
                  <a:pt x="2934" y="167"/>
                </a:lnTo>
                <a:lnTo>
                  <a:pt x="3018" y="137"/>
                </a:lnTo>
                <a:lnTo>
                  <a:pt x="3057" y="153"/>
                </a:lnTo>
                <a:lnTo>
                  <a:pt x="3019" y="117"/>
                </a:lnTo>
                <a:lnTo>
                  <a:pt x="3113" y="110"/>
                </a:lnTo>
                <a:lnTo>
                  <a:pt x="3116" y="64"/>
                </a:lnTo>
                <a:lnTo>
                  <a:pt x="3223" y="0"/>
                </a:lnTo>
                <a:lnTo>
                  <a:pt x="3300" y="38"/>
                </a:lnTo>
                <a:lnTo>
                  <a:pt x="3235" y="71"/>
                </a:lnTo>
                <a:lnTo>
                  <a:pt x="3348" y="69"/>
                </a:lnTo>
                <a:lnTo>
                  <a:pt x="3301" y="117"/>
                </a:lnTo>
                <a:lnTo>
                  <a:pt x="3491" y="92"/>
                </a:lnTo>
                <a:lnTo>
                  <a:pt x="3593" y="167"/>
                </a:lnTo>
                <a:lnTo>
                  <a:pt x="3577" y="194"/>
                </a:lnTo>
                <a:lnTo>
                  <a:pt x="3543" y="176"/>
                </a:lnTo>
                <a:lnTo>
                  <a:pt x="3590" y="201"/>
                </a:lnTo>
                <a:lnTo>
                  <a:pt x="3568" y="244"/>
                </a:lnTo>
                <a:lnTo>
                  <a:pt x="3223" y="456"/>
                </a:lnTo>
                <a:lnTo>
                  <a:pt x="3335" y="428"/>
                </a:lnTo>
                <a:lnTo>
                  <a:pt x="3311" y="401"/>
                </a:lnTo>
                <a:lnTo>
                  <a:pt x="3485" y="362"/>
                </a:lnTo>
                <a:lnTo>
                  <a:pt x="3437" y="367"/>
                </a:lnTo>
                <a:lnTo>
                  <a:pt x="3448" y="332"/>
                </a:lnTo>
                <a:lnTo>
                  <a:pt x="3543" y="362"/>
                </a:lnTo>
                <a:lnTo>
                  <a:pt x="3560" y="332"/>
                </a:lnTo>
                <a:lnTo>
                  <a:pt x="3579" y="401"/>
                </a:lnTo>
                <a:lnTo>
                  <a:pt x="3626" y="406"/>
                </a:lnTo>
                <a:lnTo>
                  <a:pt x="3582" y="376"/>
                </a:lnTo>
                <a:lnTo>
                  <a:pt x="3675" y="362"/>
                </a:lnTo>
                <a:lnTo>
                  <a:pt x="3786" y="375"/>
                </a:lnTo>
                <a:lnTo>
                  <a:pt x="3778" y="401"/>
                </a:lnTo>
                <a:lnTo>
                  <a:pt x="3871" y="424"/>
                </a:lnTo>
                <a:lnTo>
                  <a:pt x="3954" y="418"/>
                </a:lnTo>
                <a:lnTo>
                  <a:pt x="3958" y="353"/>
                </a:lnTo>
                <a:lnTo>
                  <a:pt x="3983" y="347"/>
                </a:lnTo>
                <a:lnTo>
                  <a:pt x="4193" y="418"/>
                </a:lnTo>
                <a:lnTo>
                  <a:pt x="4167" y="532"/>
                </a:lnTo>
                <a:lnTo>
                  <a:pt x="4264" y="608"/>
                </a:lnTo>
                <a:lnTo>
                  <a:pt x="4319" y="504"/>
                </a:lnTo>
                <a:lnTo>
                  <a:pt x="4354" y="550"/>
                </a:lnTo>
                <a:lnTo>
                  <a:pt x="4424" y="532"/>
                </a:lnTo>
                <a:lnTo>
                  <a:pt x="4519" y="568"/>
                </a:lnTo>
                <a:lnTo>
                  <a:pt x="4593" y="547"/>
                </a:lnTo>
                <a:lnTo>
                  <a:pt x="4589" y="504"/>
                </a:lnTo>
                <a:lnTo>
                  <a:pt x="4640" y="431"/>
                </a:lnTo>
                <a:lnTo>
                  <a:pt x="4957" y="482"/>
                </a:lnTo>
                <a:lnTo>
                  <a:pt x="4978" y="516"/>
                </a:lnTo>
                <a:lnTo>
                  <a:pt x="4938" y="531"/>
                </a:lnTo>
                <a:lnTo>
                  <a:pt x="5042" y="547"/>
                </a:lnTo>
                <a:lnTo>
                  <a:pt x="5080" y="597"/>
                </a:lnTo>
                <a:lnTo>
                  <a:pt x="5319" y="587"/>
                </a:lnTo>
                <a:lnTo>
                  <a:pt x="5362" y="628"/>
                </a:lnTo>
                <a:lnTo>
                  <a:pt x="5345" y="677"/>
                </a:lnTo>
                <a:lnTo>
                  <a:pt x="5415" y="712"/>
                </a:lnTo>
                <a:lnTo>
                  <a:pt x="5451" y="685"/>
                </a:lnTo>
                <a:lnTo>
                  <a:pt x="5622" y="705"/>
                </a:lnTo>
                <a:lnTo>
                  <a:pt x="5655" y="677"/>
                </a:lnTo>
                <a:lnTo>
                  <a:pt x="5677" y="721"/>
                </a:lnTo>
                <a:lnTo>
                  <a:pt x="5747" y="757"/>
                </a:lnTo>
                <a:lnTo>
                  <a:pt x="5780" y="732"/>
                </a:lnTo>
                <a:lnTo>
                  <a:pt x="5744" y="693"/>
                </a:lnTo>
                <a:lnTo>
                  <a:pt x="5765" y="660"/>
                </a:lnTo>
                <a:lnTo>
                  <a:pt x="6062" y="711"/>
                </a:lnTo>
                <a:lnTo>
                  <a:pt x="6258" y="838"/>
                </a:lnTo>
                <a:lnTo>
                  <a:pt x="6302" y="838"/>
                </a:lnTo>
                <a:lnTo>
                  <a:pt x="6352" y="942"/>
                </a:lnTo>
                <a:lnTo>
                  <a:pt x="6328" y="886"/>
                </a:lnTo>
                <a:lnTo>
                  <a:pt x="6361" y="881"/>
                </a:lnTo>
                <a:lnTo>
                  <a:pt x="6383" y="903"/>
                </a:lnTo>
                <a:lnTo>
                  <a:pt x="6439" y="896"/>
                </a:lnTo>
                <a:lnTo>
                  <a:pt x="6518" y="954"/>
                </a:lnTo>
                <a:lnTo>
                  <a:pt x="6404" y="1020"/>
                </a:lnTo>
                <a:lnTo>
                  <a:pt x="6428" y="1039"/>
                </a:lnTo>
                <a:lnTo>
                  <a:pt x="6387" y="1051"/>
                </a:lnTo>
                <a:lnTo>
                  <a:pt x="6420" y="1076"/>
                </a:lnTo>
                <a:lnTo>
                  <a:pt x="6352" y="1077"/>
                </a:lnTo>
                <a:lnTo>
                  <a:pt x="6327" y="1039"/>
                </a:lnTo>
                <a:lnTo>
                  <a:pt x="6303" y="1054"/>
                </a:lnTo>
                <a:lnTo>
                  <a:pt x="6258" y="993"/>
                </a:lnTo>
                <a:lnTo>
                  <a:pt x="6179" y="995"/>
                </a:lnTo>
                <a:lnTo>
                  <a:pt x="6158" y="958"/>
                </a:lnTo>
                <a:lnTo>
                  <a:pt x="6178" y="942"/>
                </a:lnTo>
                <a:lnTo>
                  <a:pt x="6150" y="942"/>
                </a:lnTo>
                <a:lnTo>
                  <a:pt x="6124" y="954"/>
                </a:lnTo>
                <a:lnTo>
                  <a:pt x="6151" y="996"/>
                </a:lnTo>
                <a:lnTo>
                  <a:pt x="6135" y="1023"/>
                </a:lnTo>
                <a:lnTo>
                  <a:pt x="6069" y="1065"/>
                </a:lnTo>
                <a:lnTo>
                  <a:pt x="6024" y="1055"/>
                </a:lnTo>
                <a:lnTo>
                  <a:pt x="6099" y="1173"/>
                </a:lnTo>
                <a:lnTo>
                  <a:pt x="6085" y="1219"/>
                </a:lnTo>
                <a:lnTo>
                  <a:pt x="6009" y="1187"/>
                </a:lnTo>
                <a:lnTo>
                  <a:pt x="6012" y="1206"/>
                </a:lnTo>
                <a:lnTo>
                  <a:pt x="5875" y="1264"/>
                </a:lnTo>
                <a:lnTo>
                  <a:pt x="5751" y="1384"/>
                </a:lnTo>
                <a:lnTo>
                  <a:pt x="5669" y="1338"/>
                </a:lnTo>
                <a:lnTo>
                  <a:pt x="5593" y="1387"/>
                </a:lnTo>
                <a:lnTo>
                  <a:pt x="5593" y="1344"/>
                </a:lnTo>
                <a:lnTo>
                  <a:pt x="5549" y="1388"/>
                </a:lnTo>
                <a:lnTo>
                  <a:pt x="5493" y="1386"/>
                </a:lnTo>
                <a:lnTo>
                  <a:pt x="5436" y="1502"/>
                </a:lnTo>
                <a:lnTo>
                  <a:pt x="5483" y="1526"/>
                </a:lnTo>
                <a:lnTo>
                  <a:pt x="5465" y="1564"/>
                </a:lnTo>
                <a:lnTo>
                  <a:pt x="5486" y="1625"/>
                </a:lnTo>
                <a:lnTo>
                  <a:pt x="5446" y="1614"/>
                </a:lnTo>
                <a:lnTo>
                  <a:pt x="5423" y="1668"/>
                </a:lnTo>
                <a:lnTo>
                  <a:pt x="5437" y="1714"/>
                </a:lnTo>
                <a:lnTo>
                  <a:pt x="5353" y="1753"/>
                </a:lnTo>
                <a:lnTo>
                  <a:pt x="5362" y="1808"/>
                </a:lnTo>
                <a:lnTo>
                  <a:pt x="5306" y="1822"/>
                </a:lnTo>
                <a:lnTo>
                  <a:pt x="5293" y="1881"/>
                </a:lnTo>
                <a:lnTo>
                  <a:pt x="5241" y="1943"/>
                </a:lnTo>
                <a:lnTo>
                  <a:pt x="5196" y="1714"/>
                </a:lnTo>
                <a:lnTo>
                  <a:pt x="5200" y="1591"/>
                </a:lnTo>
                <a:lnTo>
                  <a:pt x="5241" y="1518"/>
                </a:lnTo>
                <a:lnTo>
                  <a:pt x="5299" y="1503"/>
                </a:lnTo>
                <a:lnTo>
                  <a:pt x="5434" y="1350"/>
                </a:lnTo>
                <a:lnTo>
                  <a:pt x="5498" y="1318"/>
                </a:lnTo>
                <a:lnTo>
                  <a:pt x="5520" y="1230"/>
                </a:lnTo>
                <a:lnTo>
                  <a:pt x="5549" y="1207"/>
                </a:lnTo>
                <a:lnTo>
                  <a:pt x="5497" y="1206"/>
                </a:lnTo>
                <a:lnTo>
                  <a:pt x="5482" y="1279"/>
                </a:lnTo>
                <a:lnTo>
                  <a:pt x="5367" y="1340"/>
                </a:lnTo>
                <a:lnTo>
                  <a:pt x="5378" y="1246"/>
                </a:lnTo>
                <a:lnTo>
                  <a:pt x="5254" y="1268"/>
                </a:lnTo>
                <a:lnTo>
                  <a:pt x="5138" y="1387"/>
                </a:lnTo>
                <a:lnTo>
                  <a:pt x="5161" y="1438"/>
                </a:lnTo>
                <a:lnTo>
                  <a:pt x="5037" y="1455"/>
                </a:lnTo>
                <a:lnTo>
                  <a:pt x="5021" y="1440"/>
                </a:lnTo>
                <a:lnTo>
                  <a:pt x="5063" y="1432"/>
                </a:lnTo>
                <a:lnTo>
                  <a:pt x="4959" y="1400"/>
                </a:lnTo>
                <a:lnTo>
                  <a:pt x="4929" y="1432"/>
                </a:lnTo>
                <a:lnTo>
                  <a:pt x="4694" y="1433"/>
                </a:lnTo>
                <a:lnTo>
                  <a:pt x="4417" y="1709"/>
                </a:lnTo>
                <a:lnTo>
                  <a:pt x="4473" y="1721"/>
                </a:lnTo>
                <a:lnTo>
                  <a:pt x="4473" y="1771"/>
                </a:lnTo>
                <a:lnTo>
                  <a:pt x="4507" y="1740"/>
                </a:lnTo>
                <a:lnTo>
                  <a:pt x="4497" y="1783"/>
                </a:lnTo>
                <a:lnTo>
                  <a:pt x="4537" y="1759"/>
                </a:lnTo>
                <a:lnTo>
                  <a:pt x="4535" y="1786"/>
                </a:lnTo>
                <a:lnTo>
                  <a:pt x="4546" y="1740"/>
                </a:lnTo>
                <a:lnTo>
                  <a:pt x="4589" y="1741"/>
                </a:lnTo>
                <a:lnTo>
                  <a:pt x="4647" y="1801"/>
                </a:lnTo>
                <a:lnTo>
                  <a:pt x="4592" y="1806"/>
                </a:lnTo>
                <a:lnTo>
                  <a:pt x="4641" y="1824"/>
                </a:lnTo>
                <a:lnTo>
                  <a:pt x="4653" y="1866"/>
                </a:lnTo>
                <a:lnTo>
                  <a:pt x="4614" y="1952"/>
                </a:lnTo>
                <a:lnTo>
                  <a:pt x="4606" y="2082"/>
                </a:lnTo>
                <a:lnTo>
                  <a:pt x="4411" y="2358"/>
                </a:lnTo>
                <a:lnTo>
                  <a:pt x="4342" y="2396"/>
                </a:lnTo>
                <a:lnTo>
                  <a:pt x="4287" y="2358"/>
                </a:lnTo>
                <a:lnTo>
                  <a:pt x="4240" y="2412"/>
                </a:lnTo>
                <a:lnTo>
                  <a:pt x="4237" y="2401"/>
                </a:lnTo>
                <a:lnTo>
                  <a:pt x="4262" y="2358"/>
                </a:lnTo>
                <a:lnTo>
                  <a:pt x="4249" y="2289"/>
                </a:lnTo>
                <a:lnTo>
                  <a:pt x="4334" y="2261"/>
                </a:lnTo>
                <a:lnTo>
                  <a:pt x="4403" y="2077"/>
                </a:lnTo>
                <a:lnTo>
                  <a:pt x="4257" y="2121"/>
                </a:lnTo>
                <a:lnTo>
                  <a:pt x="4237" y="2052"/>
                </a:lnTo>
                <a:lnTo>
                  <a:pt x="4120" y="2010"/>
                </a:lnTo>
                <a:lnTo>
                  <a:pt x="4050" y="1821"/>
                </a:lnTo>
                <a:lnTo>
                  <a:pt x="3972" y="1786"/>
                </a:lnTo>
                <a:lnTo>
                  <a:pt x="3834" y="1837"/>
                </a:lnTo>
                <a:lnTo>
                  <a:pt x="3859" y="1878"/>
                </a:lnTo>
                <a:lnTo>
                  <a:pt x="3802" y="1990"/>
                </a:lnTo>
                <a:lnTo>
                  <a:pt x="3748" y="2020"/>
                </a:lnTo>
                <a:lnTo>
                  <a:pt x="3691" y="1993"/>
                </a:lnTo>
                <a:lnTo>
                  <a:pt x="3621" y="1981"/>
                </a:lnTo>
                <a:lnTo>
                  <a:pt x="3441" y="2033"/>
                </a:lnTo>
                <a:lnTo>
                  <a:pt x="3280" y="1956"/>
                </a:lnTo>
                <a:lnTo>
                  <a:pt x="3179" y="1967"/>
                </a:lnTo>
                <a:lnTo>
                  <a:pt x="3142" y="1905"/>
                </a:lnTo>
                <a:lnTo>
                  <a:pt x="3042" y="1866"/>
                </a:lnTo>
                <a:lnTo>
                  <a:pt x="2989" y="1908"/>
                </a:lnTo>
                <a:lnTo>
                  <a:pt x="2986" y="1992"/>
                </a:lnTo>
                <a:lnTo>
                  <a:pt x="2756" y="1955"/>
                </a:lnTo>
                <a:lnTo>
                  <a:pt x="2633" y="2033"/>
                </a:lnTo>
                <a:lnTo>
                  <a:pt x="2568" y="2063"/>
                </a:lnTo>
                <a:lnTo>
                  <a:pt x="2488" y="2002"/>
                </a:lnTo>
                <a:lnTo>
                  <a:pt x="2435" y="2036"/>
                </a:lnTo>
                <a:lnTo>
                  <a:pt x="2339" y="1993"/>
                </a:lnTo>
                <a:lnTo>
                  <a:pt x="2302" y="1990"/>
                </a:lnTo>
                <a:lnTo>
                  <a:pt x="2275" y="1923"/>
                </a:lnTo>
                <a:lnTo>
                  <a:pt x="2221" y="1923"/>
                </a:lnTo>
                <a:lnTo>
                  <a:pt x="2202" y="1935"/>
                </a:lnTo>
                <a:lnTo>
                  <a:pt x="2159" y="1885"/>
                </a:lnTo>
                <a:lnTo>
                  <a:pt x="2130" y="1898"/>
                </a:lnTo>
                <a:lnTo>
                  <a:pt x="2106" y="1914"/>
                </a:lnTo>
                <a:lnTo>
                  <a:pt x="1996" y="1812"/>
                </a:lnTo>
                <a:lnTo>
                  <a:pt x="1965" y="1802"/>
                </a:lnTo>
                <a:lnTo>
                  <a:pt x="1893" y="1724"/>
                </a:lnTo>
                <a:lnTo>
                  <a:pt x="1825" y="1771"/>
                </a:lnTo>
                <a:lnTo>
                  <a:pt x="1813" y="1739"/>
                </a:lnTo>
                <a:lnTo>
                  <a:pt x="1713" y="1733"/>
                </a:lnTo>
                <a:lnTo>
                  <a:pt x="1674" y="1678"/>
                </a:lnTo>
                <a:lnTo>
                  <a:pt x="1622" y="1682"/>
                </a:lnTo>
                <a:lnTo>
                  <a:pt x="1601" y="1705"/>
                </a:lnTo>
                <a:lnTo>
                  <a:pt x="1536" y="1718"/>
                </a:lnTo>
                <a:lnTo>
                  <a:pt x="1517" y="1705"/>
                </a:lnTo>
                <a:lnTo>
                  <a:pt x="1493" y="1749"/>
                </a:lnTo>
                <a:lnTo>
                  <a:pt x="1471" y="1739"/>
                </a:lnTo>
                <a:lnTo>
                  <a:pt x="1392" y="1751"/>
                </a:lnTo>
                <a:lnTo>
                  <a:pt x="1367" y="1739"/>
                </a:lnTo>
                <a:lnTo>
                  <a:pt x="1357" y="1751"/>
                </a:lnTo>
                <a:lnTo>
                  <a:pt x="1398" y="1802"/>
                </a:lnTo>
                <a:lnTo>
                  <a:pt x="1369" y="1832"/>
                </a:lnTo>
                <a:lnTo>
                  <a:pt x="1370" y="1874"/>
                </a:lnTo>
                <a:lnTo>
                  <a:pt x="1416" y="1875"/>
                </a:lnTo>
                <a:lnTo>
                  <a:pt x="1438" y="1914"/>
                </a:lnTo>
                <a:lnTo>
                  <a:pt x="1424" y="1944"/>
                </a:lnTo>
                <a:lnTo>
                  <a:pt x="1392" y="1923"/>
                </a:lnTo>
                <a:lnTo>
                  <a:pt x="1367" y="1943"/>
                </a:lnTo>
                <a:lnTo>
                  <a:pt x="1339" y="1927"/>
                </a:lnTo>
                <a:lnTo>
                  <a:pt x="1325" y="1898"/>
                </a:lnTo>
                <a:lnTo>
                  <a:pt x="1295" y="1914"/>
                </a:lnTo>
                <a:lnTo>
                  <a:pt x="1273" y="1900"/>
                </a:lnTo>
                <a:lnTo>
                  <a:pt x="1245" y="1923"/>
                </a:lnTo>
                <a:lnTo>
                  <a:pt x="1211" y="1929"/>
                </a:lnTo>
                <a:lnTo>
                  <a:pt x="1190" y="1898"/>
                </a:lnTo>
                <a:lnTo>
                  <a:pt x="1066" y="1890"/>
                </a:lnTo>
                <a:lnTo>
                  <a:pt x="1054" y="1905"/>
                </a:lnTo>
                <a:lnTo>
                  <a:pt x="1042" y="1904"/>
                </a:lnTo>
                <a:lnTo>
                  <a:pt x="1020" y="1937"/>
                </a:lnTo>
                <a:lnTo>
                  <a:pt x="1023" y="1970"/>
                </a:lnTo>
                <a:lnTo>
                  <a:pt x="1008" y="1973"/>
                </a:lnTo>
                <a:lnTo>
                  <a:pt x="999" y="1944"/>
                </a:lnTo>
                <a:lnTo>
                  <a:pt x="980" y="1947"/>
                </a:lnTo>
                <a:lnTo>
                  <a:pt x="975" y="2042"/>
                </a:lnTo>
                <a:lnTo>
                  <a:pt x="993" y="2070"/>
                </a:lnTo>
                <a:lnTo>
                  <a:pt x="993" y="2096"/>
                </a:lnTo>
                <a:lnTo>
                  <a:pt x="1015" y="2092"/>
                </a:lnTo>
                <a:lnTo>
                  <a:pt x="1042" y="2079"/>
                </a:lnTo>
                <a:lnTo>
                  <a:pt x="1064" y="2121"/>
                </a:lnTo>
                <a:lnTo>
                  <a:pt x="1078" y="2148"/>
                </a:lnTo>
                <a:lnTo>
                  <a:pt x="1097" y="2184"/>
                </a:lnTo>
                <a:lnTo>
                  <a:pt x="1126" y="2193"/>
                </a:lnTo>
                <a:lnTo>
                  <a:pt x="1089" y="2221"/>
                </a:lnTo>
                <a:lnTo>
                  <a:pt x="1065" y="2194"/>
                </a:lnTo>
                <a:lnTo>
                  <a:pt x="1040" y="2300"/>
                </a:lnTo>
                <a:lnTo>
                  <a:pt x="1070" y="2328"/>
                </a:lnTo>
                <a:lnTo>
                  <a:pt x="1095" y="2431"/>
                </a:lnTo>
                <a:lnTo>
                  <a:pt x="1071" y="2412"/>
                </a:lnTo>
                <a:lnTo>
                  <a:pt x="1047" y="2401"/>
                </a:lnTo>
                <a:lnTo>
                  <a:pt x="1015" y="2396"/>
                </a:lnTo>
                <a:lnTo>
                  <a:pt x="993" y="2384"/>
                </a:lnTo>
                <a:lnTo>
                  <a:pt x="973" y="2381"/>
                </a:lnTo>
                <a:lnTo>
                  <a:pt x="958" y="2345"/>
                </a:lnTo>
                <a:lnTo>
                  <a:pt x="918" y="2366"/>
                </a:lnTo>
                <a:lnTo>
                  <a:pt x="883" y="2365"/>
                </a:lnTo>
                <a:lnTo>
                  <a:pt x="856" y="2334"/>
                </a:lnTo>
                <a:lnTo>
                  <a:pt x="796" y="2303"/>
                </a:lnTo>
                <a:lnTo>
                  <a:pt x="737" y="2309"/>
                </a:lnTo>
                <a:lnTo>
                  <a:pt x="671" y="2258"/>
                </a:lnTo>
                <a:lnTo>
                  <a:pt x="722" y="2212"/>
                </a:lnTo>
                <a:lnTo>
                  <a:pt x="727" y="2170"/>
                </a:lnTo>
                <a:lnTo>
                  <a:pt x="726" y="2131"/>
                </a:lnTo>
                <a:lnTo>
                  <a:pt x="733" y="2098"/>
                </a:lnTo>
                <a:lnTo>
                  <a:pt x="765" y="2088"/>
                </a:lnTo>
                <a:lnTo>
                  <a:pt x="745" y="2027"/>
                </a:lnTo>
                <a:lnTo>
                  <a:pt x="708" y="2010"/>
                </a:lnTo>
                <a:lnTo>
                  <a:pt x="688" y="2000"/>
                </a:lnTo>
                <a:lnTo>
                  <a:pt x="660" y="2009"/>
                </a:lnTo>
                <a:lnTo>
                  <a:pt x="605" y="1992"/>
                </a:lnTo>
                <a:lnTo>
                  <a:pt x="562" y="1931"/>
                </a:lnTo>
                <a:lnTo>
                  <a:pt x="524" y="1913"/>
                </a:lnTo>
                <a:lnTo>
                  <a:pt x="505" y="1858"/>
                </a:lnTo>
                <a:lnTo>
                  <a:pt x="475" y="1851"/>
                </a:lnTo>
                <a:lnTo>
                  <a:pt x="444" y="1870"/>
                </a:lnTo>
                <a:lnTo>
                  <a:pt x="423" y="1881"/>
                </a:lnTo>
                <a:lnTo>
                  <a:pt x="412" y="1856"/>
                </a:lnTo>
                <a:lnTo>
                  <a:pt x="399" y="1831"/>
                </a:lnTo>
                <a:lnTo>
                  <a:pt x="441" y="1825"/>
                </a:lnTo>
                <a:lnTo>
                  <a:pt x="439" y="1810"/>
                </a:lnTo>
                <a:lnTo>
                  <a:pt x="429" y="1797"/>
                </a:lnTo>
                <a:lnTo>
                  <a:pt x="412" y="1785"/>
                </a:lnTo>
                <a:lnTo>
                  <a:pt x="391" y="1718"/>
                </a:lnTo>
                <a:lnTo>
                  <a:pt x="355" y="1686"/>
                </a:lnTo>
                <a:lnTo>
                  <a:pt x="322" y="1684"/>
                </a:lnTo>
                <a:lnTo>
                  <a:pt x="287" y="1684"/>
                </a:lnTo>
                <a:lnTo>
                  <a:pt x="265" y="1664"/>
                </a:lnTo>
                <a:lnTo>
                  <a:pt x="241" y="1660"/>
                </a:lnTo>
                <a:lnTo>
                  <a:pt x="222" y="1660"/>
                </a:lnTo>
                <a:lnTo>
                  <a:pt x="210" y="1678"/>
                </a:lnTo>
                <a:lnTo>
                  <a:pt x="186" y="1703"/>
                </a:lnTo>
                <a:lnTo>
                  <a:pt x="181" y="1730"/>
                </a:lnTo>
                <a:lnTo>
                  <a:pt x="173" y="1739"/>
                </a:lnTo>
                <a:lnTo>
                  <a:pt x="159" y="1783"/>
                </a:lnTo>
                <a:lnTo>
                  <a:pt x="150" y="1768"/>
                </a:lnTo>
                <a:lnTo>
                  <a:pt x="145" y="1752"/>
                </a:lnTo>
                <a:lnTo>
                  <a:pt x="0" y="1726"/>
                </a:lnTo>
                <a:close/>
              </a:path>
            </a:pathLst>
          </a:custGeom>
          <a:solidFill>
            <a:srgbClr val="9EC1D3"/>
          </a:solidFill>
          <a:ln w="12700" cmpd="sng">
            <a:noFill/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Freeform 396"/>
          <p:cNvSpPr/>
          <p:nvPr/>
        </p:nvSpPr>
        <p:spPr bwMode="auto">
          <a:xfrm>
            <a:off x="2831465" y="750570"/>
            <a:ext cx="147320" cy="72390"/>
          </a:xfrm>
          <a:custGeom>
            <a:avLst/>
            <a:gdLst>
              <a:gd name="T0" fmla="*/ 0 w 190"/>
              <a:gd name="T1" fmla="*/ 2 h 94"/>
              <a:gd name="T2" fmla="*/ 1 w 190"/>
              <a:gd name="T3" fmla="*/ 1 h 94"/>
              <a:gd name="T4" fmla="*/ 0 w 190"/>
              <a:gd name="T5" fmla="*/ 1 h 94"/>
              <a:gd name="T6" fmla="*/ 3 w 190"/>
              <a:gd name="T7" fmla="*/ 0 h 94"/>
              <a:gd name="T8" fmla="*/ 4 w 190"/>
              <a:gd name="T9" fmla="*/ 0 h 94"/>
              <a:gd name="T10" fmla="*/ 3 w 190"/>
              <a:gd name="T11" fmla="*/ 1 h 94"/>
              <a:gd name="T12" fmla="*/ 4 w 190"/>
              <a:gd name="T13" fmla="*/ 1 h 94"/>
              <a:gd name="T14" fmla="*/ 1 w 190"/>
              <a:gd name="T15" fmla="*/ 2 h 94"/>
              <a:gd name="T16" fmla="*/ 1 w 190"/>
              <a:gd name="T17" fmla="*/ 2 h 94"/>
              <a:gd name="T18" fmla="*/ 1 w 190"/>
              <a:gd name="T19" fmla="*/ 2 h 94"/>
              <a:gd name="T20" fmla="*/ 0 w 190"/>
              <a:gd name="T21" fmla="*/ 2 h 9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0"/>
              <a:gd name="T34" fmla="*/ 0 h 94"/>
              <a:gd name="T35" fmla="*/ 190 w 190"/>
              <a:gd name="T36" fmla="*/ 94 h 9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0" h="94">
                <a:moveTo>
                  <a:pt x="0" y="67"/>
                </a:moveTo>
                <a:lnTo>
                  <a:pt x="39" y="46"/>
                </a:lnTo>
                <a:lnTo>
                  <a:pt x="11" y="27"/>
                </a:lnTo>
                <a:lnTo>
                  <a:pt x="146" y="0"/>
                </a:lnTo>
                <a:lnTo>
                  <a:pt x="168" y="1"/>
                </a:lnTo>
                <a:lnTo>
                  <a:pt x="142" y="25"/>
                </a:lnTo>
                <a:lnTo>
                  <a:pt x="190" y="23"/>
                </a:lnTo>
                <a:lnTo>
                  <a:pt x="66" y="79"/>
                </a:lnTo>
                <a:lnTo>
                  <a:pt x="39" y="94"/>
                </a:lnTo>
                <a:lnTo>
                  <a:pt x="45" y="71"/>
                </a:lnTo>
                <a:lnTo>
                  <a:pt x="0" y="6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Freeform 397"/>
          <p:cNvSpPr/>
          <p:nvPr/>
        </p:nvSpPr>
        <p:spPr bwMode="auto">
          <a:xfrm>
            <a:off x="2875280" y="1501775"/>
            <a:ext cx="59690" cy="36195"/>
          </a:xfrm>
          <a:custGeom>
            <a:avLst/>
            <a:gdLst>
              <a:gd name="T0" fmla="*/ 0 w 75"/>
              <a:gd name="T1" fmla="*/ 1 h 49"/>
              <a:gd name="T2" fmla="*/ 1 w 75"/>
              <a:gd name="T3" fmla="*/ 0 h 49"/>
              <a:gd name="T4" fmla="*/ 2 w 75"/>
              <a:gd name="T5" fmla="*/ 1 h 49"/>
              <a:gd name="T6" fmla="*/ 0 w 75"/>
              <a:gd name="T7" fmla="*/ 1 h 49"/>
              <a:gd name="T8" fmla="*/ 0 60000 65536"/>
              <a:gd name="T9" fmla="*/ 0 60000 65536"/>
              <a:gd name="T10" fmla="*/ 0 60000 65536"/>
              <a:gd name="T11" fmla="*/ 0 60000 65536"/>
              <a:gd name="T12" fmla="*/ 0 w 75"/>
              <a:gd name="T13" fmla="*/ 0 h 49"/>
              <a:gd name="T14" fmla="*/ 75 w 75"/>
              <a:gd name="T15" fmla="*/ 49 h 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5" h="49">
                <a:moveTo>
                  <a:pt x="0" y="49"/>
                </a:moveTo>
                <a:lnTo>
                  <a:pt x="22" y="0"/>
                </a:lnTo>
                <a:lnTo>
                  <a:pt x="75" y="27"/>
                </a:lnTo>
                <a:lnTo>
                  <a:pt x="0" y="4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Freeform 398"/>
          <p:cNvSpPr/>
          <p:nvPr/>
        </p:nvSpPr>
        <p:spPr bwMode="auto">
          <a:xfrm>
            <a:off x="2979420" y="1276985"/>
            <a:ext cx="180340" cy="149225"/>
          </a:xfrm>
          <a:custGeom>
            <a:avLst/>
            <a:gdLst>
              <a:gd name="T0" fmla="*/ 0 w 229"/>
              <a:gd name="T1" fmla="*/ 2 h 204"/>
              <a:gd name="T2" fmla="*/ 0 w 229"/>
              <a:gd name="T3" fmla="*/ 3 h 204"/>
              <a:gd name="T4" fmla="*/ 1 w 229"/>
              <a:gd name="T5" fmla="*/ 3 h 204"/>
              <a:gd name="T6" fmla="*/ 2 w 229"/>
              <a:gd name="T7" fmla="*/ 4 h 204"/>
              <a:gd name="T8" fmla="*/ 2 w 229"/>
              <a:gd name="T9" fmla="*/ 3 h 204"/>
              <a:gd name="T10" fmla="*/ 2 w 229"/>
              <a:gd name="T11" fmla="*/ 5 h 204"/>
              <a:gd name="T12" fmla="*/ 5 w 229"/>
              <a:gd name="T13" fmla="*/ 5 h 204"/>
              <a:gd name="T14" fmla="*/ 4 w 229"/>
              <a:gd name="T15" fmla="*/ 4 h 204"/>
              <a:gd name="T16" fmla="*/ 3 w 229"/>
              <a:gd name="T17" fmla="*/ 3 h 204"/>
              <a:gd name="T18" fmla="*/ 3 w 229"/>
              <a:gd name="T19" fmla="*/ 1 h 204"/>
              <a:gd name="T20" fmla="*/ 5 w 229"/>
              <a:gd name="T21" fmla="*/ 0 h 204"/>
              <a:gd name="T22" fmla="*/ 1 w 229"/>
              <a:gd name="T23" fmla="*/ 0 h 204"/>
              <a:gd name="T24" fmla="*/ 1 w 229"/>
              <a:gd name="T25" fmla="*/ 2 h 204"/>
              <a:gd name="T26" fmla="*/ 0 w 229"/>
              <a:gd name="T27" fmla="*/ 2 h 20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29"/>
              <a:gd name="T43" fmla="*/ 0 h 204"/>
              <a:gd name="T44" fmla="*/ 229 w 229"/>
              <a:gd name="T45" fmla="*/ 204 h 20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29" h="204">
                <a:moveTo>
                  <a:pt x="0" y="103"/>
                </a:moveTo>
                <a:lnTo>
                  <a:pt x="16" y="146"/>
                </a:lnTo>
                <a:lnTo>
                  <a:pt x="41" y="131"/>
                </a:lnTo>
                <a:lnTo>
                  <a:pt x="71" y="159"/>
                </a:lnTo>
                <a:lnTo>
                  <a:pt x="91" y="146"/>
                </a:lnTo>
                <a:lnTo>
                  <a:pt x="82" y="196"/>
                </a:lnTo>
                <a:lnTo>
                  <a:pt x="229" y="204"/>
                </a:lnTo>
                <a:lnTo>
                  <a:pt x="175" y="167"/>
                </a:lnTo>
                <a:lnTo>
                  <a:pt x="147" y="105"/>
                </a:lnTo>
                <a:lnTo>
                  <a:pt x="148" y="38"/>
                </a:lnTo>
                <a:lnTo>
                  <a:pt x="186" y="0"/>
                </a:lnTo>
                <a:lnTo>
                  <a:pt x="57" y="13"/>
                </a:lnTo>
                <a:lnTo>
                  <a:pt x="25" y="103"/>
                </a:lnTo>
                <a:lnTo>
                  <a:pt x="0" y="10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Freeform 399"/>
          <p:cNvSpPr/>
          <p:nvPr/>
        </p:nvSpPr>
        <p:spPr bwMode="auto">
          <a:xfrm>
            <a:off x="3039110" y="1035050"/>
            <a:ext cx="459740" cy="243205"/>
          </a:xfrm>
          <a:custGeom>
            <a:avLst/>
            <a:gdLst>
              <a:gd name="T0" fmla="*/ 0 w 587"/>
              <a:gd name="T1" fmla="*/ 7 h 330"/>
              <a:gd name="T2" fmla="*/ 1 w 587"/>
              <a:gd name="T3" fmla="*/ 7 h 330"/>
              <a:gd name="T4" fmla="*/ 0 w 587"/>
              <a:gd name="T5" fmla="*/ 7 h 330"/>
              <a:gd name="T6" fmla="*/ 3 w 587"/>
              <a:gd name="T7" fmla="*/ 8 h 330"/>
              <a:gd name="T8" fmla="*/ 3 w 587"/>
              <a:gd name="T9" fmla="*/ 7 h 330"/>
              <a:gd name="T10" fmla="*/ 3 w 587"/>
              <a:gd name="T11" fmla="*/ 7 h 330"/>
              <a:gd name="T12" fmla="*/ 3 w 587"/>
              <a:gd name="T13" fmla="*/ 7 h 330"/>
              <a:gd name="T14" fmla="*/ 4 w 587"/>
              <a:gd name="T15" fmla="*/ 7 h 330"/>
              <a:gd name="T16" fmla="*/ 3 w 587"/>
              <a:gd name="T17" fmla="*/ 6 h 330"/>
              <a:gd name="T18" fmla="*/ 4 w 587"/>
              <a:gd name="T19" fmla="*/ 6 h 330"/>
              <a:gd name="T20" fmla="*/ 5 w 587"/>
              <a:gd name="T21" fmla="*/ 6 h 330"/>
              <a:gd name="T22" fmla="*/ 4 w 587"/>
              <a:gd name="T23" fmla="*/ 5 h 330"/>
              <a:gd name="T24" fmla="*/ 5 w 587"/>
              <a:gd name="T25" fmla="*/ 5 h 330"/>
              <a:gd name="T26" fmla="*/ 5 w 587"/>
              <a:gd name="T27" fmla="*/ 5 h 330"/>
              <a:gd name="T28" fmla="*/ 6 w 587"/>
              <a:gd name="T29" fmla="*/ 5 h 330"/>
              <a:gd name="T30" fmla="*/ 6 w 587"/>
              <a:gd name="T31" fmla="*/ 4 h 330"/>
              <a:gd name="T32" fmla="*/ 13 w 587"/>
              <a:gd name="T33" fmla="*/ 2 h 330"/>
              <a:gd name="T34" fmla="*/ 14 w 587"/>
              <a:gd name="T35" fmla="*/ 1 h 330"/>
              <a:gd name="T36" fmla="*/ 13 w 587"/>
              <a:gd name="T37" fmla="*/ 0 h 330"/>
              <a:gd name="T38" fmla="*/ 9 w 587"/>
              <a:gd name="T39" fmla="*/ 1 h 330"/>
              <a:gd name="T40" fmla="*/ 7 w 587"/>
              <a:gd name="T41" fmla="*/ 1 h 330"/>
              <a:gd name="T42" fmla="*/ 3 w 587"/>
              <a:gd name="T43" fmla="*/ 4 h 330"/>
              <a:gd name="T44" fmla="*/ 2 w 587"/>
              <a:gd name="T45" fmla="*/ 4 h 330"/>
              <a:gd name="T46" fmla="*/ 2 w 587"/>
              <a:gd name="T47" fmla="*/ 5 h 330"/>
              <a:gd name="T48" fmla="*/ 3 w 587"/>
              <a:gd name="T49" fmla="*/ 5 h 330"/>
              <a:gd name="T50" fmla="*/ 2 w 587"/>
              <a:gd name="T51" fmla="*/ 5 h 330"/>
              <a:gd name="T52" fmla="*/ 2 w 587"/>
              <a:gd name="T53" fmla="*/ 5 h 330"/>
              <a:gd name="T54" fmla="*/ 1 w 587"/>
              <a:gd name="T55" fmla="*/ 6 h 330"/>
              <a:gd name="T56" fmla="*/ 2 w 587"/>
              <a:gd name="T57" fmla="*/ 6 h 330"/>
              <a:gd name="T58" fmla="*/ 0 w 587"/>
              <a:gd name="T59" fmla="*/ 7 h 33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87"/>
              <a:gd name="T91" fmla="*/ 0 h 330"/>
              <a:gd name="T92" fmla="*/ 587 w 587"/>
              <a:gd name="T93" fmla="*/ 330 h 33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87" h="330">
                <a:moveTo>
                  <a:pt x="0" y="284"/>
                </a:moveTo>
                <a:lnTo>
                  <a:pt x="58" y="293"/>
                </a:lnTo>
                <a:lnTo>
                  <a:pt x="18" y="321"/>
                </a:lnTo>
                <a:lnTo>
                  <a:pt x="117" y="330"/>
                </a:lnTo>
                <a:lnTo>
                  <a:pt x="120" y="293"/>
                </a:lnTo>
                <a:lnTo>
                  <a:pt x="149" y="298"/>
                </a:lnTo>
                <a:lnTo>
                  <a:pt x="119" y="279"/>
                </a:lnTo>
                <a:lnTo>
                  <a:pt x="158" y="286"/>
                </a:lnTo>
                <a:lnTo>
                  <a:pt x="149" y="244"/>
                </a:lnTo>
                <a:lnTo>
                  <a:pt x="167" y="270"/>
                </a:lnTo>
                <a:lnTo>
                  <a:pt x="196" y="245"/>
                </a:lnTo>
                <a:lnTo>
                  <a:pt x="177" y="217"/>
                </a:lnTo>
                <a:lnTo>
                  <a:pt x="239" y="222"/>
                </a:lnTo>
                <a:lnTo>
                  <a:pt x="221" y="205"/>
                </a:lnTo>
                <a:lnTo>
                  <a:pt x="249" y="209"/>
                </a:lnTo>
                <a:lnTo>
                  <a:pt x="265" y="175"/>
                </a:lnTo>
                <a:lnTo>
                  <a:pt x="558" y="71"/>
                </a:lnTo>
                <a:lnTo>
                  <a:pt x="587" y="30"/>
                </a:lnTo>
                <a:lnTo>
                  <a:pt x="530" y="0"/>
                </a:lnTo>
                <a:lnTo>
                  <a:pt x="409" y="67"/>
                </a:lnTo>
                <a:lnTo>
                  <a:pt x="282" y="67"/>
                </a:lnTo>
                <a:lnTo>
                  <a:pt x="147" y="155"/>
                </a:lnTo>
                <a:lnTo>
                  <a:pt x="71" y="165"/>
                </a:lnTo>
                <a:lnTo>
                  <a:pt x="76" y="205"/>
                </a:lnTo>
                <a:lnTo>
                  <a:pt x="116" y="209"/>
                </a:lnTo>
                <a:lnTo>
                  <a:pt x="70" y="210"/>
                </a:lnTo>
                <a:lnTo>
                  <a:pt x="91" y="226"/>
                </a:lnTo>
                <a:lnTo>
                  <a:pt x="58" y="245"/>
                </a:lnTo>
                <a:lnTo>
                  <a:pt x="97" y="263"/>
                </a:lnTo>
                <a:lnTo>
                  <a:pt x="0" y="28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Freeform 400"/>
          <p:cNvSpPr/>
          <p:nvPr/>
        </p:nvSpPr>
        <p:spPr bwMode="auto">
          <a:xfrm>
            <a:off x="3304540" y="714375"/>
            <a:ext cx="87630" cy="49530"/>
          </a:xfrm>
          <a:custGeom>
            <a:avLst/>
            <a:gdLst>
              <a:gd name="T0" fmla="*/ 0 w 115"/>
              <a:gd name="T1" fmla="*/ 1 h 66"/>
              <a:gd name="T2" fmla="*/ 1 w 115"/>
              <a:gd name="T3" fmla="*/ 1 h 66"/>
              <a:gd name="T4" fmla="*/ 3 w 115"/>
              <a:gd name="T5" fmla="*/ 1 h 66"/>
              <a:gd name="T6" fmla="*/ 1 w 115"/>
              <a:gd name="T7" fmla="*/ 0 h 66"/>
              <a:gd name="T8" fmla="*/ 0 w 115"/>
              <a:gd name="T9" fmla="*/ 1 h 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5"/>
              <a:gd name="T16" fmla="*/ 0 h 66"/>
              <a:gd name="T17" fmla="*/ 115 w 115"/>
              <a:gd name="T18" fmla="*/ 66 h 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5" h="66">
                <a:moveTo>
                  <a:pt x="0" y="47"/>
                </a:moveTo>
                <a:lnTo>
                  <a:pt x="32" y="66"/>
                </a:lnTo>
                <a:lnTo>
                  <a:pt x="115" y="43"/>
                </a:lnTo>
                <a:lnTo>
                  <a:pt x="66" y="0"/>
                </a:lnTo>
                <a:lnTo>
                  <a:pt x="0" y="4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Freeform 401"/>
          <p:cNvSpPr/>
          <p:nvPr/>
        </p:nvSpPr>
        <p:spPr bwMode="auto">
          <a:xfrm>
            <a:off x="4152265" y="812165"/>
            <a:ext cx="79375" cy="31115"/>
          </a:xfrm>
          <a:custGeom>
            <a:avLst/>
            <a:gdLst>
              <a:gd name="T0" fmla="*/ 0 w 103"/>
              <a:gd name="T1" fmla="*/ 0 h 42"/>
              <a:gd name="T2" fmla="*/ 1 w 103"/>
              <a:gd name="T3" fmla="*/ 1 h 42"/>
              <a:gd name="T4" fmla="*/ 1 w 103"/>
              <a:gd name="T5" fmla="*/ 1 h 42"/>
              <a:gd name="T6" fmla="*/ 2 w 103"/>
              <a:gd name="T7" fmla="*/ 1 h 42"/>
              <a:gd name="T8" fmla="*/ 2 w 103"/>
              <a:gd name="T9" fmla="*/ 1 h 42"/>
              <a:gd name="T10" fmla="*/ 0 w 103"/>
              <a:gd name="T11" fmla="*/ 0 h 4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3"/>
              <a:gd name="T19" fmla="*/ 0 h 42"/>
              <a:gd name="T20" fmla="*/ 103 w 103"/>
              <a:gd name="T21" fmla="*/ 42 h 4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3" h="42">
                <a:moveTo>
                  <a:pt x="0" y="0"/>
                </a:moveTo>
                <a:lnTo>
                  <a:pt x="46" y="34"/>
                </a:lnTo>
                <a:lnTo>
                  <a:pt x="31" y="42"/>
                </a:lnTo>
                <a:lnTo>
                  <a:pt x="70" y="41"/>
                </a:lnTo>
                <a:lnTo>
                  <a:pt x="103" y="20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Freeform 402"/>
          <p:cNvSpPr/>
          <p:nvPr/>
        </p:nvSpPr>
        <p:spPr bwMode="auto">
          <a:xfrm>
            <a:off x="4168775" y="724535"/>
            <a:ext cx="188595" cy="90805"/>
          </a:xfrm>
          <a:custGeom>
            <a:avLst/>
            <a:gdLst>
              <a:gd name="T0" fmla="*/ 0 w 242"/>
              <a:gd name="T1" fmla="*/ 2 h 123"/>
              <a:gd name="T2" fmla="*/ 1 w 242"/>
              <a:gd name="T3" fmla="*/ 1 h 123"/>
              <a:gd name="T4" fmla="*/ 4 w 242"/>
              <a:gd name="T5" fmla="*/ 0 h 123"/>
              <a:gd name="T6" fmla="*/ 6 w 242"/>
              <a:gd name="T7" fmla="*/ 1 h 123"/>
              <a:gd name="T8" fmla="*/ 5 w 242"/>
              <a:gd name="T9" fmla="*/ 2 h 123"/>
              <a:gd name="T10" fmla="*/ 5 w 242"/>
              <a:gd name="T11" fmla="*/ 2 h 123"/>
              <a:gd name="T12" fmla="*/ 2 w 242"/>
              <a:gd name="T13" fmla="*/ 3 h 123"/>
              <a:gd name="T14" fmla="*/ 0 w 242"/>
              <a:gd name="T15" fmla="*/ 2 h 1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2"/>
              <a:gd name="T25" fmla="*/ 0 h 123"/>
              <a:gd name="T26" fmla="*/ 242 w 242"/>
              <a:gd name="T27" fmla="*/ 123 h 12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2" h="123">
                <a:moveTo>
                  <a:pt x="0" y="100"/>
                </a:moveTo>
                <a:lnTo>
                  <a:pt x="65" y="33"/>
                </a:lnTo>
                <a:lnTo>
                  <a:pt x="156" y="0"/>
                </a:lnTo>
                <a:lnTo>
                  <a:pt x="242" y="59"/>
                </a:lnTo>
                <a:lnTo>
                  <a:pt x="212" y="71"/>
                </a:lnTo>
                <a:lnTo>
                  <a:pt x="220" y="98"/>
                </a:lnTo>
                <a:lnTo>
                  <a:pt x="95" y="123"/>
                </a:lnTo>
                <a:lnTo>
                  <a:pt x="0" y="10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Freeform 403"/>
          <p:cNvSpPr/>
          <p:nvPr/>
        </p:nvSpPr>
        <p:spPr bwMode="auto">
          <a:xfrm>
            <a:off x="4206875" y="805180"/>
            <a:ext cx="213360" cy="102870"/>
          </a:xfrm>
          <a:custGeom>
            <a:avLst/>
            <a:gdLst>
              <a:gd name="T0" fmla="*/ 0 w 274"/>
              <a:gd name="T1" fmla="*/ 1 h 142"/>
              <a:gd name="T2" fmla="*/ 1 w 274"/>
              <a:gd name="T3" fmla="*/ 1 h 142"/>
              <a:gd name="T4" fmla="*/ 2 w 274"/>
              <a:gd name="T5" fmla="*/ 3 h 142"/>
              <a:gd name="T6" fmla="*/ 3 w 274"/>
              <a:gd name="T7" fmla="*/ 2 h 142"/>
              <a:gd name="T8" fmla="*/ 5 w 274"/>
              <a:gd name="T9" fmla="*/ 3 h 142"/>
              <a:gd name="T10" fmla="*/ 6 w 274"/>
              <a:gd name="T11" fmla="*/ 3 h 142"/>
              <a:gd name="T12" fmla="*/ 5 w 274"/>
              <a:gd name="T13" fmla="*/ 2 h 142"/>
              <a:gd name="T14" fmla="*/ 6 w 274"/>
              <a:gd name="T15" fmla="*/ 2 h 142"/>
              <a:gd name="T16" fmla="*/ 6 w 274"/>
              <a:gd name="T17" fmla="*/ 1 h 142"/>
              <a:gd name="T18" fmla="*/ 5 w 274"/>
              <a:gd name="T19" fmla="*/ 0 h 142"/>
              <a:gd name="T20" fmla="*/ 4 w 274"/>
              <a:gd name="T21" fmla="*/ 1 h 142"/>
              <a:gd name="T22" fmla="*/ 5 w 274"/>
              <a:gd name="T23" fmla="*/ 1 h 142"/>
              <a:gd name="T24" fmla="*/ 4 w 274"/>
              <a:gd name="T25" fmla="*/ 0 h 142"/>
              <a:gd name="T26" fmla="*/ 2 w 274"/>
              <a:gd name="T27" fmla="*/ 0 h 142"/>
              <a:gd name="T28" fmla="*/ 0 w 274"/>
              <a:gd name="T29" fmla="*/ 1 h 14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4"/>
              <a:gd name="T46" fmla="*/ 0 h 142"/>
              <a:gd name="T47" fmla="*/ 274 w 274"/>
              <a:gd name="T48" fmla="*/ 142 h 14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4" h="142">
                <a:moveTo>
                  <a:pt x="0" y="61"/>
                </a:moveTo>
                <a:lnTo>
                  <a:pt x="50" y="68"/>
                </a:lnTo>
                <a:lnTo>
                  <a:pt x="85" y="118"/>
                </a:lnTo>
                <a:lnTo>
                  <a:pt x="114" y="103"/>
                </a:lnTo>
                <a:lnTo>
                  <a:pt x="225" y="142"/>
                </a:lnTo>
                <a:lnTo>
                  <a:pt x="264" y="126"/>
                </a:lnTo>
                <a:lnTo>
                  <a:pt x="235" y="88"/>
                </a:lnTo>
                <a:lnTo>
                  <a:pt x="258" y="98"/>
                </a:lnTo>
                <a:lnTo>
                  <a:pt x="274" y="39"/>
                </a:lnTo>
                <a:lnTo>
                  <a:pt x="215" y="12"/>
                </a:lnTo>
                <a:lnTo>
                  <a:pt x="156" y="52"/>
                </a:lnTo>
                <a:lnTo>
                  <a:pt x="203" y="31"/>
                </a:lnTo>
                <a:lnTo>
                  <a:pt x="173" y="0"/>
                </a:lnTo>
                <a:lnTo>
                  <a:pt x="79" y="11"/>
                </a:lnTo>
                <a:lnTo>
                  <a:pt x="0" y="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Freeform 404"/>
          <p:cNvSpPr/>
          <p:nvPr/>
        </p:nvSpPr>
        <p:spPr bwMode="auto">
          <a:xfrm>
            <a:off x="4406900" y="856615"/>
            <a:ext cx="177165" cy="107950"/>
          </a:xfrm>
          <a:custGeom>
            <a:avLst/>
            <a:gdLst>
              <a:gd name="T0" fmla="*/ 0 w 226"/>
              <a:gd name="T1" fmla="*/ 3 h 145"/>
              <a:gd name="T2" fmla="*/ 0 w 226"/>
              <a:gd name="T3" fmla="*/ 3 h 145"/>
              <a:gd name="T4" fmla="*/ 5 w 226"/>
              <a:gd name="T5" fmla="*/ 3 h 145"/>
              <a:gd name="T6" fmla="*/ 5 w 226"/>
              <a:gd name="T7" fmla="*/ 2 h 145"/>
              <a:gd name="T8" fmla="*/ 4 w 226"/>
              <a:gd name="T9" fmla="*/ 1 h 145"/>
              <a:gd name="T10" fmla="*/ 3 w 226"/>
              <a:gd name="T11" fmla="*/ 1 h 145"/>
              <a:gd name="T12" fmla="*/ 3 w 226"/>
              <a:gd name="T13" fmla="*/ 0 h 145"/>
              <a:gd name="T14" fmla="*/ 3 w 226"/>
              <a:gd name="T15" fmla="*/ 0 h 145"/>
              <a:gd name="T16" fmla="*/ 1 w 226"/>
              <a:gd name="T17" fmla="*/ 3 h 145"/>
              <a:gd name="T18" fmla="*/ 0 w 226"/>
              <a:gd name="T19" fmla="*/ 3 h 14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26"/>
              <a:gd name="T31" fmla="*/ 0 h 145"/>
              <a:gd name="T32" fmla="*/ 226 w 226"/>
              <a:gd name="T33" fmla="*/ 145 h 14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26" h="145">
                <a:moveTo>
                  <a:pt x="0" y="125"/>
                </a:moveTo>
                <a:lnTo>
                  <a:pt x="17" y="145"/>
                </a:lnTo>
                <a:lnTo>
                  <a:pt x="209" y="117"/>
                </a:lnTo>
                <a:lnTo>
                  <a:pt x="226" y="69"/>
                </a:lnTo>
                <a:lnTo>
                  <a:pt x="172" y="30"/>
                </a:lnTo>
                <a:lnTo>
                  <a:pt x="126" y="45"/>
                </a:lnTo>
                <a:lnTo>
                  <a:pt x="134" y="12"/>
                </a:lnTo>
                <a:lnTo>
                  <a:pt x="110" y="0"/>
                </a:lnTo>
                <a:lnTo>
                  <a:pt x="20" y="108"/>
                </a:lnTo>
                <a:lnTo>
                  <a:pt x="0" y="1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Freeform 405"/>
          <p:cNvSpPr/>
          <p:nvPr/>
        </p:nvSpPr>
        <p:spPr bwMode="auto">
          <a:xfrm>
            <a:off x="5508625" y="1083310"/>
            <a:ext cx="201930" cy="102870"/>
          </a:xfrm>
          <a:custGeom>
            <a:avLst/>
            <a:gdLst>
              <a:gd name="T0" fmla="*/ 0 w 258"/>
              <a:gd name="T1" fmla="*/ 2 h 136"/>
              <a:gd name="T2" fmla="*/ 1 w 258"/>
              <a:gd name="T3" fmla="*/ 0 h 136"/>
              <a:gd name="T4" fmla="*/ 2 w 258"/>
              <a:gd name="T5" fmla="*/ 0 h 136"/>
              <a:gd name="T6" fmla="*/ 3 w 258"/>
              <a:gd name="T7" fmla="*/ 1 h 136"/>
              <a:gd name="T8" fmla="*/ 4 w 258"/>
              <a:gd name="T9" fmla="*/ 0 h 136"/>
              <a:gd name="T10" fmla="*/ 5 w 258"/>
              <a:gd name="T11" fmla="*/ 1 h 136"/>
              <a:gd name="T12" fmla="*/ 5 w 258"/>
              <a:gd name="T13" fmla="*/ 2 h 136"/>
              <a:gd name="T14" fmla="*/ 6 w 258"/>
              <a:gd name="T15" fmla="*/ 3 h 136"/>
              <a:gd name="T16" fmla="*/ 3 w 258"/>
              <a:gd name="T17" fmla="*/ 3 h 136"/>
              <a:gd name="T18" fmla="*/ 3 w 258"/>
              <a:gd name="T19" fmla="*/ 3 h 136"/>
              <a:gd name="T20" fmla="*/ 2 w 258"/>
              <a:gd name="T21" fmla="*/ 4 h 136"/>
              <a:gd name="T22" fmla="*/ 0 w 258"/>
              <a:gd name="T23" fmla="*/ 2 h 1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58"/>
              <a:gd name="T37" fmla="*/ 0 h 136"/>
              <a:gd name="T38" fmla="*/ 258 w 258"/>
              <a:gd name="T39" fmla="*/ 136 h 1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58" h="136">
                <a:moveTo>
                  <a:pt x="0" y="73"/>
                </a:moveTo>
                <a:lnTo>
                  <a:pt x="53" y="5"/>
                </a:lnTo>
                <a:lnTo>
                  <a:pt x="88" y="0"/>
                </a:lnTo>
                <a:lnTo>
                  <a:pt x="147" y="50"/>
                </a:lnTo>
                <a:lnTo>
                  <a:pt x="157" y="13"/>
                </a:lnTo>
                <a:lnTo>
                  <a:pt x="220" y="44"/>
                </a:lnTo>
                <a:lnTo>
                  <a:pt x="216" y="93"/>
                </a:lnTo>
                <a:lnTo>
                  <a:pt x="258" y="112"/>
                </a:lnTo>
                <a:lnTo>
                  <a:pt x="123" y="120"/>
                </a:lnTo>
                <a:lnTo>
                  <a:pt x="115" y="98"/>
                </a:lnTo>
                <a:lnTo>
                  <a:pt x="92" y="136"/>
                </a:lnTo>
                <a:lnTo>
                  <a:pt x="0" y="7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Freeform 406"/>
          <p:cNvSpPr/>
          <p:nvPr/>
        </p:nvSpPr>
        <p:spPr bwMode="auto">
          <a:xfrm>
            <a:off x="5650865" y="1088390"/>
            <a:ext cx="122555" cy="69850"/>
          </a:xfrm>
          <a:custGeom>
            <a:avLst/>
            <a:gdLst>
              <a:gd name="T0" fmla="*/ 0 w 158"/>
              <a:gd name="T1" fmla="*/ 0 h 92"/>
              <a:gd name="T2" fmla="*/ 1 w 158"/>
              <a:gd name="T3" fmla="*/ 1 h 92"/>
              <a:gd name="T4" fmla="*/ 1 w 158"/>
              <a:gd name="T5" fmla="*/ 2 h 92"/>
              <a:gd name="T6" fmla="*/ 1 w 158"/>
              <a:gd name="T7" fmla="*/ 2 h 92"/>
              <a:gd name="T8" fmla="*/ 3 w 158"/>
              <a:gd name="T9" fmla="*/ 2 h 92"/>
              <a:gd name="T10" fmla="*/ 4 w 158"/>
              <a:gd name="T11" fmla="*/ 1 h 92"/>
              <a:gd name="T12" fmla="*/ 0 w 158"/>
              <a:gd name="T13" fmla="*/ 0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8"/>
              <a:gd name="T22" fmla="*/ 0 h 92"/>
              <a:gd name="T23" fmla="*/ 158 w 158"/>
              <a:gd name="T24" fmla="*/ 92 h 9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8" h="92">
                <a:moveTo>
                  <a:pt x="0" y="0"/>
                </a:moveTo>
                <a:lnTo>
                  <a:pt x="50" y="33"/>
                </a:lnTo>
                <a:lnTo>
                  <a:pt x="39" y="65"/>
                </a:lnTo>
                <a:lnTo>
                  <a:pt x="64" y="92"/>
                </a:lnTo>
                <a:lnTo>
                  <a:pt x="110" y="92"/>
                </a:lnTo>
                <a:lnTo>
                  <a:pt x="158" y="57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Freeform 407"/>
          <p:cNvSpPr/>
          <p:nvPr/>
        </p:nvSpPr>
        <p:spPr bwMode="auto">
          <a:xfrm>
            <a:off x="5664200" y="2258060"/>
            <a:ext cx="87630" cy="356870"/>
          </a:xfrm>
          <a:custGeom>
            <a:avLst/>
            <a:gdLst>
              <a:gd name="T0" fmla="*/ 0 w 115"/>
              <a:gd name="T1" fmla="*/ 3 h 483"/>
              <a:gd name="T2" fmla="*/ 0 w 115"/>
              <a:gd name="T3" fmla="*/ 4 h 483"/>
              <a:gd name="T4" fmla="*/ 0 w 115"/>
              <a:gd name="T5" fmla="*/ 11 h 483"/>
              <a:gd name="T6" fmla="*/ 1 w 115"/>
              <a:gd name="T7" fmla="*/ 10 h 483"/>
              <a:gd name="T8" fmla="*/ 1 w 115"/>
              <a:gd name="T9" fmla="*/ 11 h 483"/>
              <a:gd name="T10" fmla="*/ 1 w 115"/>
              <a:gd name="T11" fmla="*/ 9 h 483"/>
              <a:gd name="T12" fmla="*/ 1 w 115"/>
              <a:gd name="T13" fmla="*/ 7 h 483"/>
              <a:gd name="T14" fmla="*/ 3 w 115"/>
              <a:gd name="T15" fmla="*/ 8 h 483"/>
              <a:gd name="T16" fmla="*/ 1 w 115"/>
              <a:gd name="T17" fmla="*/ 4 h 483"/>
              <a:gd name="T18" fmla="*/ 1 w 115"/>
              <a:gd name="T19" fmla="*/ 0 h 483"/>
              <a:gd name="T20" fmla="*/ 0 w 115"/>
              <a:gd name="T21" fmla="*/ 3 h 48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5"/>
              <a:gd name="T34" fmla="*/ 0 h 483"/>
              <a:gd name="T35" fmla="*/ 115 w 115"/>
              <a:gd name="T36" fmla="*/ 483 h 48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5" h="483">
                <a:moveTo>
                  <a:pt x="0" y="123"/>
                </a:moveTo>
                <a:lnTo>
                  <a:pt x="19" y="182"/>
                </a:lnTo>
                <a:lnTo>
                  <a:pt x="19" y="483"/>
                </a:lnTo>
                <a:lnTo>
                  <a:pt x="39" y="446"/>
                </a:lnTo>
                <a:lnTo>
                  <a:pt x="70" y="469"/>
                </a:lnTo>
                <a:lnTo>
                  <a:pt x="32" y="387"/>
                </a:lnTo>
                <a:lnTo>
                  <a:pt x="53" y="304"/>
                </a:lnTo>
                <a:lnTo>
                  <a:pt x="115" y="329"/>
                </a:lnTo>
                <a:lnTo>
                  <a:pt x="57" y="169"/>
                </a:lnTo>
                <a:lnTo>
                  <a:pt x="39" y="0"/>
                </a:lnTo>
                <a:lnTo>
                  <a:pt x="0" y="12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Freeform 408"/>
          <p:cNvSpPr/>
          <p:nvPr/>
        </p:nvSpPr>
        <p:spPr bwMode="auto">
          <a:xfrm>
            <a:off x="5798185" y="1127760"/>
            <a:ext cx="137160" cy="51435"/>
          </a:xfrm>
          <a:custGeom>
            <a:avLst/>
            <a:gdLst>
              <a:gd name="T0" fmla="*/ 0 w 179"/>
              <a:gd name="T1" fmla="*/ 0 h 70"/>
              <a:gd name="T2" fmla="*/ 1 w 179"/>
              <a:gd name="T3" fmla="*/ 1 h 70"/>
              <a:gd name="T4" fmla="*/ 3 w 179"/>
              <a:gd name="T5" fmla="*/ 2 h 70"/>
              <a:gd name="T6" fmla="*/ 4 w 179"/>
              <a:gd name="T7" fmla="*/ 1 h 70"/>
              <a:gd name="T8" fmla="*/ 0 w 179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9"/>
              <a:gd name="T16" fmla="*/ 0 h 70"/>
              <a:gd name="T17" fmla="*/ 179 w 179"/>
              <a:gd name="T18" fmla="*/ 70 h 7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9" h="70">
                <a:moveTo>
                  <a:pt x="0" y="0"/>
                </a:moveTo>
                <a:lnTo>
                  <a:pt x="31" y="47"/>
                </a:lnTo>
                <a:lnTo>
                  <a:pt x="112" y="70"/>
                </a:lnTo>
                <a:lnTo>
                  <a:pt x="179" y="55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Freeform 409"/>
          <p:cNvSpPr/>
          <p:nvPr/>
        </p:nvSpPr>
        <p:spPr bwMode="auto">
          <a:xfrm>
            <a:off x="1177290" y="2707640"/>
            <a:ext cx="363855" cy="289560"/>
          </a:xfrm>
          <a:custGeom>
            <a:avLst/>
            <a:gdLst>
              <a:gd name="T0" fmla="*/ 0 w 469"/>
              <a:gd name="T1" fmla="*/ 1 h 392"/>
              <a:gd name="T2" fmla="*/ 0 w 469"/>
              <a:gd name="T3" fmla="*/ 2 h 392"/>
              <a:gd name="T4" fmla="*/ 3 w 469"/>
              <a:gd name="T5" fmla="*/ 3 h 392"/>
              <a:gd name="T6" fmla="*/ 2 w 469"/>
              <a:gd name="T7" fmla="*/ 5 h 392"/>
              <a:gd name="T8" fmla="*/ 2 w 469"/>
              <a:gd name="T9" fmla="*/ 8 h 392"/>
              <a:gd name="T10" fmla="*/ 3 w 469"/>
              <a:gd name="T11" fmla="*/ 9 h 392"/>
              <a:gd name="T12" fmla="*/ 6 w 469"/>
              <a:gd name="T13" fmla="*/ 8 h 392"/>
              <a:gd name="T14" fmla="*/ 8 w 469"/>
              <a:gd name="T15" fmla="*/ 6 h 392"/>
              <a:gd name="T16" fmla="*/ 8 w 469"/>
              <a:gd name="T17" fmla="*/ 5 h 392"/>
              <a:gd name="T18" fmla="*/ 9 w 469"/>
              <a:gd name="T19" fmla="*/ 3 h 392"/>
              <a:gd name="T20" fmla="*/ 11 w 469"/>
              <a:gd name="T21" fmla="*/ 2 h 392"/>
              <a:gd name="T22" fmla="*/ 11 w 469"/>
              <a:gd name="T23" fmla="*/ 1 h 392"/>
              <a:gd name="T24" fmla="*/ 9 w 469"/>
              <a:gd name="T25" fmla="*/ 1 h 392"/>
              <a:gd name="T26" fmla="*/ 9 w 469"/>
              <a:gd name="T27" fmla="*/ 1 h 392"/>
              <a:gd name="T28" fmla="*/ 6 w 469"/>
              <a:gd name="T29" fmla="*/ 0 h 392"/>
              <a:gd name="T30" fmla="*/ 1 w 469"/>
              <a:gd name="T31" fmla="*/ 0 h 392"/>
              <a:gd name="T32" fmla="*/ 0 w 469"/>
              <a:gd name="T33" fmla="*/ 1 h 39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69"/>
              <a:gd name="T52" fmla="*/ 0 h 392"/>
              <a:gd name="T53" fmla="*/ 469 w 469"/>
              <a:gd name="T54" fmla="*/ 392 h 39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69" h="392">
                <a:moveTo>
                  <a:pt x="0" y="33"/>
                </a:moveTo>
                <a:lnTo>
                  <a:pt x="13" y="97"/>
                </a:lnTo>
                <a:lnTo>
                  <a:pt x="112" y="106"/>
                </a:lnTo>
                <a:lnTo>
                  <a:pt x="70" y="209"/>
                </a:lnTo>
                <a:lnTo>
                  <a:pt x="70" y="335"/>
                </a:lnTo>
                <a:lnTo>
                  <a:pt x="138" y="392"/>
                </a:lnTo>
                <a:lnTo>
                  <a:pt x="275" y="355"/>
                </a:lnTo>
                <a:lnTo>
                  <a:pt x="354" y="261"/>
                </a:lnTo>
                <a:lnTo>
                  <a:pt x="338" y="223"/>
                </a:lnTo>
                <a:lnTo>
                  <a:pt x="379" y="152"/>
                </a:lnTo>
                <a:lnTo>
                  <a:pt x="468" y="98"/>
                </a:lnTo>
                <a:lnTo>
                  <a:pt x="469" y="67"/>
                </a:lnTo>
                <a:lnTo>
                  <a:pt x="412" y="60"/>
                </a:lnTo>
                <a:lnTo>
                  <a:pt x="400" y="55"/>
                </a:lnTo>
                <a:lnTo>
                  <a:pt x="279" y="13"/>
                </a:lnTo>
                <a:lnTo>
                  <a:pt x="39" y="0"/>
                </a:lnTo>
                <a:lnTo>
                  <a:pt x="0" y="3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Freeform 410"/>
          <p:cNvSpPr/>
          <p:nvPr/>
        </p:nvSpPr>
        <p:spPr bwMode="auto">
          <a:xfrm>
            <a:off x="1765935" y="812165"/>
            <a:ext cx="314325" cy="245110"/>
          </a:xfrm>
          <a:custGeom>
            <a:avLst/>
            <a:gdLst>
              <a:gd name="T0" fmla="*/ 0 w 404"/>
              <a:gd name="T1" fmla="*/ 1 h 334"/>
              <a:gd name="T2" fmla="*/ 0 w 404"/>
              <a:gd name="T3" fmla="*/ 2 h 334"/>
              <a:gd name="T4" fmla="*/ 1 w 404"/>
              <a:gd name="T5" fmla="*/ 2 h 334"/>
              <a:gd name="T6" fmla="*/ 1 w 404"/>
              <a:gd name="T7" fmla="*/ 2 h 334"/>
              <a:gd name="T8" fmla="*/ 1 w 404"/>
              <a:gd name="T9" fmla="*/ 3 h 334"/>
              <a:gd name="T10" fmla="*/ 0 w 404"/>
              <a:gd name="T11" fmla="*/ 3 h 334"/>
              <a:gd name="T12" fmla="*/ 2 w 404"/>
              <a:gd name="T13" fmla="*/ 3 h 334"/>
              <a:gd name="T14" fmla="*/ 1 w 404"/>
              <a:gd name="T15" fmla="*/ 4 h 334"/>
              <a:gd name="T16" fmla="*/ 2 w 404"/>
              <a:gd name="T17" fmla="*/ 4 h 334"/>
              <a:gd name="T18" fmla="*/ 3 w 404"/>
              <a:gd name="T19" fmla="*/ 4 h 334"/>
              <a:gd name="T20" fmla="*/ 3 w 404"/>
              <a:gd name="T21" fmla="*/ 3 h 334"/>
              <a:gd name="T22" fmla="*/ 4 w 404"/>
              <a:gd name="T23" fmla="*/ 3 h 334"/>
              <a:gd name="T24" fmla="*/ 4 w 404"/>
              <a:gd name="T25" fmla="*/ 4 h 334"/>
              <a:gd name="T26" fmla="*/ 5 w 404"/>
              <a:gd name="T27" fmla="*/ 3 h 334"/>
              <a:gd name="T28" fmla="*/ 5 w 404"/>
              <a:gd name="T29" fmla="*/ 4 h 334"/>
              <a:gd name="T30" fmla="*/ 6 w 404"/>
              <a:gd name="T31" fmla="*/ 4 h 334"/>
              <a:gd name="T32" fmla="*/ 3 w 404"/>
              <a:gd name="T33" fmla="*/ 5 h 334"/>
              <a:gd name="T34" fmla="*/ 3 w 404"/>
              <a:gd name="T35" fmla="*/ 5 h 334"/>
              <a:gd name="T36" fmla="*/ 5 w 404"/>
              <a:gd name="T37" fmla="*/ 5 h 334"/>
              <a:gd name="T38" fmla="*/ 4 w 404"/>
              <a:gd name="T39" fmla="*/ 5 h 334"/>
              <a:gd name="T40" fmla="*/ 5 w 404"/>
              <a:gd name="T41" fmla="*/ 6 h 334"/>
              <a:gd name="T42" fmla="*/ 3 w 404"/>
              <a:gd name="T43" fmla="*/ 6 h 334"/>
              <a:gd name="T44" fmla="*/ 5 w 404"/>
              <a:gd name="T45" fmla="*/ 8 h 334"/>
              <a:gd name="T46" fmla="*/ 7 w 404"/>
              <a:gd name="T47" fmla="*/ 4 h 334"/>
              <a:gd name="T48" fmla="*/ 9 w 404"/>
              <a:gd name="T49" fmla="*/ 3 h 334"/>
              <a:gd name="T50" fmla="*/ 7 w 404"/>
              <a:gd name="T51" fmla="*/ 2 h 334"/>
              <a:gd name="T52" fmla="*/ 7 w 404"/>
              <a:gd name="T53" fmla="*/ 1 h 334"/>
              <a:gd name="T54" fmla="*/ 6 w 404"/>
              <a:gd name="T55" fmla="*/ 2 h 334"/>
              <a:gd name="T56" fmla="*/ 6 w 404"/>
              <a:gd name="T57" fmla="*/ 1 h 334"/>
              <a:gd name="T58" fmla="*/ 5 w 404"/>
              <a:gd name="T59" fmla="*/ 0 h 334"/>
              <a:gd name="T60" fmla="*/ 4 w 404"/>
              <a:gd name="T61" fmla="*/ 1 h 334"/>
              <a:gd name="T62" fmla="*/ 5 w 404"/>
              <a:gd name="T63" fmla="*/ 3 h 334"/>
              <a:gd name="T64" fmla="*/ 3 w 404"/>
              <a:gd name="T65" fmla="*/ 1 h 334"/>
              <a:gd name="T66" fmla="*/ 3 w 404"/>
              <a:gd name="T67" fmla="*/ 1 h 334"/>
              <a:gd name="T68" fmla="*/ 3 w 404"/>
              <a:gd name="T69" fmla="*/ 2 h 334"/>
              <a:gd name="T70" fmla="*/ 1 w 404"/>
              <a:gd name="T71" fmla="*/ 1 h 334"/>
              <a:gd name="T72" fmla="*/ 3 w 404"/>
              <a:gd name="T73" fmla="*/ 1 h 334"/>
              <a:gd name="T74" fmla="*/ 0 w 404"/>
              <a:gd name="T75" fmla="*/ 1 h 33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04"/>
              <a:gd name="T115" fmla="*/ 0 h 334"/>
              <a:gd name="T116" fmla="*/ 404 w 404"/>
              <a:gd name="T117" fmla="*/ 334 h 33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04" h="334">
                <a:moveTo>
                  <a:pt x="0" y="41"/>
                </a:moveTo>
                <a:lnTo>
                  <a:pt x="2" y="81"/>
                </a:lnTo>
                <a:lnTo>
                  <a:pt x="43" y="81"/>
                </a:lnTo>
                <a:lnTo>
                  <a:pt x="30" y="100"/>
                </a:lnTo>
                <a:lnTo>
                  <a:pt x="64" y="115"/>
                </a:lnTo>
                <a:lnTo>
                  <a:pt x="19" y="112"/>
                </a:lnTo>
                <a:lnTo>
                  <a:pt x="94" y="147"/>
                </a:lnTo>
                <a:lnTo>
                  <a:pt x="66" y="160"/>
                </a:lnTo>
                <a:lnTo>
                  <a:pt x="86" y="187"/>
                </a:lnTo>
                <a:lnTo>
                  <a:pt x="151" y="170"/>
                </a:lnTo>
                <a:lnTo>
                  <a:pt x="150" y="135"/>
                </a:lnTo>
                <a:lnTo>
                  <a:pt x="176" y="123"/>
                </a:lnTo>
                <a:lnTo>
                  <a:pt x="182" y="162"/>
                </a:lnTo>
                <a:lnTo>
                  <a:pt x="224" y="135"/>
                </a:lnTo>
                <a:lnTo>
                  <a:pt x="215" y="162"/>
                </a:lnTo>
                <a:lnTo>
                  <a:pt x="250" y="164"/>
                </a:lnTo>
                <a:lnTo>
                  <a:pt x="113" y="203"/>
                </a:lnTo>
                <a:lnTo>
                  <a:pt x="118" y="230"/>
                </a:lnTo>
                <a:lnTo>
                  <a:pt x="235" y="211"/>
                </a:lnTo>
                <a:lnTo>
                  <a:pt x="157" y="237"/>
                </a:lnTo>
                <a:lnTo>
                  <a:pt x="201" y="252"/>
                </a:lnTo>
                <a:lnTo>
                  <a:pt x="120" y="265"/>
                </a:lnTo>
                <a:lnTo>
                  <a:pt x="238" y="334"/>
                </a:lnTo>
                <a:lnTo>
                  <a:pt x="314" y="162"/>
                </a:lnTo>
                <a:lnTo>
                  <a:pt x="404" y="122"/>
                </a:lnTo>
                <a:lnTo>
                  <a:pt x="306" y="92"/>
                </a:lnTo>
                <a:lnTo>
                  <a:pt x="291" y="47"/>
                </a:lnTo>
                <a:lnTo>
                  <a:pt x="261" y="73"/>
                </a:lnTo>
                <a:lnTo>
                  <a:pt x="276" y="34"/>
                </a:lnTo>
                <a:lnTo>
                  <a:pt x="208" y="0"/>
                </a:lnTo>
                <a:lnTo>
                  <a:pt x="185" y="34"/>
                </a:lnTo>
                <a:lnTo>
                  <a:pt x="216" y="115"/>
                </a:lnTo>
                <a:lnTo>
                  <a:pt x="143" y="30"/>
                </a:lnTo>
                <a:lnTo>
                  <a:pt x="118" y="47"/>
                </a:lnTo>
                <a:lnTo>
                  <a:pt x="134" y="89"/>
                </a:lnTo>
                <a:lnTo>
                  <a:pt x="62" y="51"/>
                </a:lnTo>
                <a:lnTo>
                  <a:pt x="113" y="27"/>
                </a:lnTo>
                <a:lnTo>
                  <a:pt x="0" y="4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Freeform 411"/>
          <p:cNvSpPr/>
          <p:nvPr/>
        </p:nvSpPr>
        <p:spPr bwMode="auto">
          <a:xfrm>
            <a:off x="1967865" y="779145"/>
            <a:ext cx="284480" cy="102870"/>
          </a:xfrm>
          <a:custGeom>
            <a:avLst/>
            <a:gdLst>
              <a:gd name="T0" fmla="*/ 0 w 365"/>
              <a:gd name="T1" fmla="*/ 1 h 141"/>
              <a:gd name="T2" fmla="*/ 1 w 365"/>
              <a:gd name="T3" fmla="*/ 1 h 141"/>
              <a:gd name="T4" fmla="*/ 0 w 365"/>
              <a:gd name="T5" fmla="*/ 1 h 141"/>
              <a:gd name="T6" fmla="*/ 1 w 365"/>
              <a:gd name="T7" fmla="*/ 2 h 141"/>
              <a:gd name="T8" fmla="*/ 4 w 365"/>
              <a:gd name="T9" fmla="*/ 2 h 141"/>
              <a:gd name="T10" fmla="*/ 2 w 365"/>
              <a:gd name="T11" fmla="*/ 2 h 141"/>
              <a:gd name="T12" fmla="*/ 5 w 365"/>
              <a:gd name="T13" fmla="*/ 3 h 141"/>
              <a:gd name="T14" fmla="*/ 7 w 365"/>
              <a:gd name="T15" fmla="*/ 3 h 141"/>
              <a:gd name="T16" fmla="*/ 9 w 365"/>
              <a:gd name="T17" fmla="*/ 1 h 141"/>
              <a:gd name="T18" fmla="*/ 8 w 365"/>
              <a:gd name="T19" fmla="*/ 1 h 141"/>
              <a:gd name="T20" fmla="*/ 6 w 365"/>
              <a:gd name="T21" fmla="*/ 1 h 141"/>
              <a:gd name="T22" fmla="*/ 7 w 365"/>
              <a:gd name="T23" fmla="*/ 0 h 141"/>
              <a:gd name="T24" fmla="*/ 5 w 365"/>
              <a:gd name="T25" fmla="*/ 1 h 141"/>
              <a:gd name="T26" fmla="*/ 5 w 365"/>
              <a:gd name="T27" fmla="*/ 0 h 141"/>
              <a:gd name="T28" fmla="*/ 4 w 365"/>
              <a:gd name="T29" fmla="*/ 1 h 141"/>
              <a:gd name="T30" fmla="*/ 2 w 365"/>
              <a:gd name="T31" fmla="*/ 0 h 141"/>
              <a:gd name="T32" fmla="*/ 2 w 365"/>
              <a:gd name="T33" fmla="*/ 1 h 141"/>
              <a:gd name="T34" fmla="*/ 1 w 365"/>
              <a:gd name="T35" fmla="*/ 0 h 141"/>
              <a:gd name="T36" fmla="*/ 2 w 365"/>
              <a:gd name="T37" fmla="*/ 1 h 141"/>
              <a:gd name="T38" fmla="*/ 0 w 365"/>
              <a:gd name="T39" fmla="*/ 1 h 14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65"/>
              <a:gd name="T61" fmla="*/ 0 h 141"/>
              <a:gd name="T62" fmla="*/ 365 w 365"/>
              <a:gd name="T63" fmla="*/ 141 h 14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65" h="141">
                <a:moveTo>
                  <a:pt x="0" y="38"/>
                </a:moveTo>
                <a:lnTo>
                  <a:pt x="53" y="49"/>
                </a:lnTo>
                <a:lnTo>
                  <a:pt x="19" y="66"/>
                </a:lnTo>
                <a:lnTo>
                  <a:pt x="33" y="76"/>
                </a:lnTo>
                <a:lnTo>
                  <a:pt x="168" y="74"/>
                </a:lnTo>
                <a:lnTo>
                  <a:pt x="83" y="96"/>
                </a:lnTo>
                <a:lnTo>
                  <a:pt x="219" y="141"/>
                </a:lnTo>
                <a:lnTo>
                  <a:pt x="309" y="115"/>
                </a:lnTo>
                <a:lnTo>
                  <a:pt x="365" y="66"/>
                </a:lnTo>
                <a:lnTo>
                  <a:pt x="351" y="43"/>
                </a:lnTo>
                <a:lnTo>
                  <a:pt x="265" y="45"/>
                </a:lnTo>
                <a:lnTo>
                  <a:pt x="277" y="19"/>
                </a:lnTo>
                <a:lnTo>
                  <a:pt x="209" y="45"/>
                </a:lnTo>
                <a:lnTo>
                  <a:pt x="198" y="0"/>
                </a:lnTo>
                <a:lnTo>
                  <a:pt x="182" y="57"/>
                </a:lnTo>
                <a:lnTo>
                  <a:pt x="83" y="0"/>
                </a:lnTo>
                <a:lnTo>
                  <a:pt x="85" y="35"/>
                </a:lnTo>
                <a:lnTo>
                  <a:pt x="57" y="19"/>
                </a:lnTo>
                <a:lnTo>
                  <a:pt x="69" y="51"/>
                </a:lnTo>
                <a:lnTo>
                  <a:pt x="0" y="3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Freeform 412"/>
          <p:cNvSpPr/>
          <p:nvPr/>
        </p:nvSpPr>
        <p:spPr bwMode="auto">
          <a:xfrm>
            <a:off x="2065655" y="947420"/>
            <a:ext cx="120650" cy="66675"/>
          </a:xfrm>
          <a:custGeom>
            <a:avLst/>
            <a:gdLst>
              <a:gd name="T0" fmla="*/ 0 w 157"/>
              <a:gd name="T1" fmla="*/ 2 h 92"/>
              <a:gd name="T2" fmla="*/ 0 w 157"/>
              <a:gd name="T3" fmla="*/ 1 h 92"/>
              <a:gd name="T4" fmla="*/ 2 w 157"/>
              <a:gd name="T5" fmla="*/ 0 h 92"/>
              <a:gd name="T6" fmla="*/ 2 w 157"/>
              <a:gd name="T7" fmla="*/ 1 h 92"/>
              <a:gd name="T8" fmla="*/ 3 w 157"/>
              <a:gd name="T9" fmla="*/ 1 h 92"/>
              <a:gd name="T10" fmla="*/ 1 w 157"/>
              <a:gd name="T11" fmla="*/ 2 h 92"/>
              <a:gd name="T12" fmla="*/ 2 w 157"/>
              <a:gd name="T13" fmla="*/ 1 h 92"/>
              <a:gd name="T14" fmla="*/ 0 w 157"/>
              <a:gd name="T15" fmla="*/ 2 h 9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7"/>
              <a:gd name="T25" fmla="*/ 0 h 92"/>
              <a:gd name="T26" fmla="*/ 157 w 157"/>
              <a:gd name="T27" fmla="*/ 92 h 9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7" h="92">
                <a:moveTo>
                  <a:pt x="0" y="73"/>
                </a:moveTo>
                <a:lnTo>
                  <a:pt x="14" y="26"/>
                </a:lnTo>
                <a:lnTo>
                  <a:pt x="78" y="0"/>
                </a:lnTo>
                <a:lnTo>
                  <a:pt x="88" y="26"/>
                </a:lnTo>
                <a:lnTo>
                  <a:pt x="157" y="48"/>
                </a:lnTo>
                <a:lnTo>
                  <a:pt x="62" y="92"/>
                </a:lnTo>
                <a:lnTo>
                  <a:pt x="78" y="68"/>
                </a:lnTo>
                <a:lnTo>
                  <a:pt x="0" y="7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Freeform 413"/>
          <p:cNvSpPr/>
          <p:nvPr/>
        </p:nvSpPr>
        <p:spPr bwMode="auto">
          <a:xfrm>
            <a:off x="1779270" y="1525270"/>
            <a:ext cx="382270" cy="687705"/>
          </a:xfrm>
          <a:custGeom>
            <a:avLst/>
            <a:gdLst>
              <a:gd name="T0" fmla="*/ 0 w 492"/>
              <a:gd name="T1" fmla="*/ 16 h 935"/>
              <a:gd name="T2" fmla="*/ 0 w 492"/>
              <a:gd name="T3" fmla="*/ 18 h 935"/>
              <a:gd name="T4" fmla="*/ 1 w 492"/>
              <a:gd name="T5" fmla="*/ 20 h 935"/>
              <a:gd name="T6" fmla="*/ 1 w 492"/>
              <a:gd name="T7" fmla="*/ 22 h 935"/>
              <a:gd name="T8" fmla="*/ 4 w 492"/>
              <a:gd name="T9" fmla="*/ 20 h 935"/>
              <a:gd name="T10" fmla="*/ 5 w 492"/>
              <a:gd name="T11" fmla="*/ 17 h 935"/>
              <a:gd name="T12" fmla="*/ 4 w 492"/>
              <a:gd name="T13" fmla="*/ 17 h 935"/>
              <a:gd name="T14" fmla="*/ 6 w 492"/>
              <a:gd name="T15" fmla="*/ 16 h 935"/>
              <a:gd name="T16" fmla="*/ 4 w 492"/>
              <a:gd name="T17" fmla="*/ 16 h 935"/>
              <a:gd name="T18" fmla="*/ 6 w 492"/>
              <a:gd name="T19" fmla="*/ 16 h 935"/>
              <a:gd name="T20" fmla="*/ 7 w 492"/>
              <a:gd name="T21" fmla="*/ 15 h 935"/>
              <a:gd name="T22" fmla="*/ 5 w 492"/>
              <a:gd name="T23" fmla="*/ 14 h 935"/>
              <a:gd name="T24" fmla="*/ 4 w 492"/>
              <a:gd name="T25" fmla="*/ 15 h 935"/>
              <a:gd name="T26" fmla="*/ 5 w 492"/>
              <a:gd name="T27" fmla="*/ 14 h 935"/>
              <a:gd name="T28" fmla="*/ 5 w 492"/>
              <a:gd name="T29" fmla="*/ 11 h 935"/>
              <a:gd name="T30" fmla="*/ 9 w 492"/>
              <a:gd name="T31" fmla="*/ 8 h 935"/>
              <a:gd name="T32" fmla="*/ 9 w 492"/>
              <a:gd name="T33" fmla="*/ 7 h 935"/>
              <a:gd name="T34" fmla="*/ 9 w 492"/>
              <a:gd name="T35" fmla="*/ 6 h 935"/>
              <a:gd name="T36" fmla="*/ 11 w 492"/>
              <a:gd name="T37" fmla="*/ 5 h 935"/>
              <a:gd name="T38" fmla="*/ 11 w 492"/>
              <a:gd name="T39" fmla="*/ 2 h 935"/>
              <a:gd name="T40" fmla="*/ 8 w 492"/>
              <a:gd name="T41" fmla="*/ 0 h 935"/>
              <a:gd name="T42" fmla="*/ 8 w 492"/>
              <a:gd name="T43" fmla="*/ 0 h 935"/>
              <a:gd name="T44" fmla="*/ 8 w 492"/>
              <a:gd name="T45" fmla="*/ 1 h 935"/>
              <a:gd name="T46" fmla="*/ 6 w 492"/>
              <a:gd name="T47" fmla="*/ 1 h 935"/>
              <a:gd name="T48" fmla="*/ 6 w 492"/>
              <a:gd name="T49" fmla="*/ 2 h 935"/>
              <a:gd name="T50" fmla="*/ 5 w 492"/>
              <a:gd name="T51" fmla="*/ 2 h 935"/>
              <a:gd name="T52" fmla="*/ 5 w 492"/>
              <a:gd name="T53" fmla="*/ 3 h 935"/>
              <a:gd name="T54" fmla="*/ 3 w 492"/>
              <a:gd name="T55" fmla="*/ 5 h 935"/>
              <a:gd name="T56" fmla="*/ 2 w 492"/>
              <a:gd name="T57" fmla="*/ 7 h 935"/>
              <a:gd name="T58" fmla="*/ 3 w 492"/>
              <a:gd name="T59" fmla="*/ 9 h 935"/>
              <a:gd name="T60" fmla="*/ 1 w 492"/>
              <a:gd name="T61" fmla="*/ 9 h 935"/>
              <a:gd name="T62" fmla="*/ 1 w 492"/>
              <a:gd name="T63" fmla="*/ 12 h 935"/>
              <a:gd name="T64" fmla="*/ 1 w 492"/>
              <a:gd name="T65" fmla="*/ 13 h 935"/>
              <a:gd name="T66" fmla="*/ 1 w 492"/>
              <a:gd name="T67" fmla="*/ 13 h 935"/>
              <a:gd name="T68" fmla="*/ 1 w 492"/>
              <a:gd name="T69" fmla="*/ 15 h 935"/>
              <a:gd name="T70" fmla="*/ 0 w 492"/>
              <a:gd name="T71" fmla="*/ 16 h 93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492"/>
              <a:gd name="T109" fmla="*/ 0 h 935"/>
              <a:gd name="T110" fmla="*/ 492 w 492"/>
              <a:gd name="T111" fmla="*/ 935 h 93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492" h="935">
                <a:moveTo>
                  <a:pt x="0" y="704"/>
                </a:moveTo>
                <a:lnTo>
                  <a:pt x="19" y="810"/>
                </a:lnTo>
                <a:lnTo>
                  <a:pt x="63" y="862"/>
                </a:lnTo>
                <a:lnTo>
                  <a:pt x="59" y="935"/>
                </a:lnTo>
                <a:lnTo>
                  <a:pt x="179" y="885"/>
                </a:lnTo>
                <a:lnTo>
                  <a:pt x="209" y="739"/>
                </a:lnTo>
                <a:lnTo>
                  <a:pt x="187" y="732"/>
                </a:lnTo>
                <a:lnTo>
                  <a:pt x="275" y="686"/>
                </a:lnTo>
                <a:lnTo>
                  <a:pt x="191" y="675"/>
                </a:lnTo>
                <a:lnTo>
                  <a:pt x="253" y="686"/>
                </a:lnTo>
                <a:lnTo>
                  <a:pt x="290" y="648"/>
                </a:lnTo>
                <a:lnTo>
                  <a:pt x="237" y="599"/>
                </a:lnTo>
                <a:lnTo>
                  <a:pt x="189" y="633"/>
                </a:lnTo>
                <a:lnTo>
                  <a:pt x="227" y="604"/>
                </a:lnTo>
                <a:lnTo>
                  <a:pt x="228" y="470"/>
                </a:lnTo>
                <a:lnTo>
                  <a:pt x="395" y="341"/>
                </a:lnTo>
                <a:lnTo>
                  <a:pt x="383" y="314"/>
                </a:lnTo>
                <a:lnTo>
                  <a:pt x="410" y="249"/>
                </a:lnTo>
                <a:lnTo>
                  <a:pt x="492" y="230"/>
                </a:lnTo>
                <a:lnTo>
                  <a:pt x="470" y="79"/>
                </a:lnTo>
                <a:lnTo>
                  <a:pt x="358" y="0"/>
                </a:lnTo>
                <a:lnTo>
                  <a:pt x="339" y="0"/>
                </a:lnTo>
                <a:lnTo>
                  <a:pt x="338" y="48"/>
                </a:lnTo>
                <a:lnTo>
                  <a:pt x="270" y="39"/>
                </a:lnTo>
                <a:lnTo>
                  <a:pt x="253" y="79"/>
                </a:lnTo>
                <a:lnTo>
                  <a:pt x="208" y="90"/>
                </a:lnTo>
                <a:lnTo>
                  <a:pt x="196" y="150"/>
                </a:lnTo>
                <a:lnTo>
                  <a:pt x="129" y="222"/>
                </a:lnTo>
                <a:lnTo>
                  <a:pt x="97" y="324"/>
                </a:lnTo>
                <a:lnTo>
                  <a:pt x="109" y="364"/>
                </a:lnTo>
                <a:lnTo>
                  <a:pt x="42" y="394"/>
                </a:lnTo>
                <a:lnTo>
                  <a:pt x="35" y="526"/>
                </a:lnTo>
                <a:lnTo>
                  <a:pt x="57" y="553"/>
                </a:lnTo>
                <a:lnTo>
                  <a:pt x="35" y="578"/>
                </a:lnTo>
                <a:lnTo>
                  <a:pt x="46" y="636"/>
                </a:lnTo>
                <a:lnTo>
                  <a:pt x="0" y="70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Freeform 414"/>
          <p:cNvSpPr/>
          <p:nvPr/>
        </p:nvSpPr>
        <p:spPr bwMode="auto">
          <a:xfrm>
            <a:off x="1623695" y="2545715"/>
            <a:ext cx="130810" cy="72390"/>
          </a:xfrm>
          <a:custGeom>
            <a:avLst/>
            <a:gdLst>
              <a:gd name="T0" fmla="*/ 0 w 169"/>
              <a:gd name="T1" fmla="*/ 1 h 98"/>
              <a:gd name="T2" fmla="*/ 1 w 169"/>
              <a:gd name="T3" fmla="*/ 2 h 98"/>
              <a:gd name="T4" fmla="*/ 2 w 169"/>
              <a:gd name="T5" fmla="*/ 2 h 98"/>
              <a:gd name="T6" fmla="*/ 3 w 169"/>
              <a:gd name="T7" fmla="*/ 2 h 98"/>
              <a:gd name="T8" fmla="*/ 4 w 169"/>
              <a:gd name="T9" fmla="*/ 1 h 98"/>
              <a:gd name="T10" fmla="*/ 3 w 169"/>
              <a:gd name="T11" fmla="*/ 1 h 98"/>
              <a:gd name="T12" fmla="*/ 3 w 169"/>
              <a:gd name="T13" fmla="*/ 0 h 98"/>
              <a:gd name="T14" fmla="*/ 3 w 169"/>
              <a:gd name="T15" fmla="*/ 0 h 98"/>
              <a:gd name="T16" fmla="*/ 1 w 169"/>
              <a:gd name="T17" fmla="*/ 0 h 98"/>
              <a:gd name="T18" fmla="*/ 0 w 169"/>
              <a:gd name="T19" fmla="*/ 1 h 9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69"/>
              <a:gd name="T31" fmla="*/ 0 h 98"/>
              <a:gd name="T32" fmla="*/ 169 w 169"/>
              <a:gd name="T33" fmla="*/ 98 h 9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69" h="98">
                <a:moveTo>
                  <a:pt x="0" y="66"/>
                </a:moveTo>
                <a:lnTo>
                  <a:pt x="39" y="98"/>
                </a:lnTo>
                <a:lnTo>
                  <a:pt x="92" y="70"/>
                </a:lnTo>
                <a:lnTo>
                  <a:pt x="115" y="96"/>
                </a:lnTo>
                <a:lnTo>
                  <a:pt x="169" y="44"/>
                </a:lnTo>
                <a:lnTo>
                  <a:pt x="136" y="38"/>
                </a:lnTo>
                <a:lnTo>
                  <a:pt x="135" y="16"/>
                </a:lnTo>
                <a:lnTo>
                  <a:pt x="128" y="9"/>
                </a:lnTo>
                <a:lnTo>
                  <a:pt x="54" y="0"/>
                </a:lnTo>
                <a:lnTo>
                  <a:pt x="0" y="6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Freeform 415"/>
          <p:cNvSpPr/>
          <p:nvPr/>
        </p:nvSpPr>
        <p:spPr bwMode="auto">
          <a:xfrm>
            <a:off x="2500630" y="2955925"/>
            <a:ext cx="213360" cy="178435"/>
          </a:xfrm>
          <a:custGeom>
            <a:avLst/>
            <a:gdLst>
              <a:gd name="T0" fmla="*/ 0 w 273"/>
              <a:gd name="T1" fmla="*/ 5 h 244"/>
              <a:gd name="T2" fmla="*/ 0 w 273"/>
              <a:gd name="T3" fmla="*/ 5 h 244"/>
              <a:gd name="T4" fmla="*/ 1 w 273"/>
              <a:gd name="T5" fmla="*/ 3 h 244"/>
              <a:gd name="T6" fmla="*/ 1 w 273"/>
              <a:gd name="T7" fmla="*/ 3 h 244"/>
              <a:gd name="T8" fmla="*/ 1 w 273"/>
              <a:gd name="T9" fmla="*/ 1 h 244"/>
              <a:gd name="T10" fmla="*/ 1 w 273"/>
              <a:gd name="T11" fmla="*/ 0 h 244"/>
              <a:gd name="T12" fmla="*/ 6 w 273"/>
              <a:gd name="T13" fmla="*/ 0 h 244"/>
              <a:gd name="T14" fmla="*/ 5 w 273"/>
              <a:gd name="T15" fmla="*/ 1 h 244"/>
              <a:gd name="T16" fmla="*/ 5 w 273"/>
              <a:gd name="T17" fmla="*/ 3 h 244"/>
              <a:gd name="T18" fmla="*/ 3 w 273"/>
              <a:gd name="T19" fmla="*/ 4 h 244"/>
              <a:gd name="T20" fmla="*/ 1 w 273"/>
              <a:gd name="T21" fmla="*/ 6 h 244"/>
              <a:gd name="T22" fmla="*/ 0 w 273"/>
              <a:gd name="T23" fmla="*/ 5 h 2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73"/>
              <a:gd name="T37" fmla="*/ 0 h 244"/>
              <a:gd name="T38" fmla="*/ 273 w 273"/>
              <a:gd name="T39" fmla="*/ 244 h 2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73" h="244">
                <a:moveTo>
                  <a:pt x="0" y="225"/>
                </a:moveTo>
                <a:lnTo>
                  <a:pt x="5" y="199"/>
                </a:lnTo>
                <a:lnTo>
                  <a:pt x="43" y="147"/>
                </a:lnTo>
                <a:lnTo>
                  <a:pt x="22" y="126"/>
                </a:lnTo>
                <a:lnTo>
                  <a:pt x="21" y="64"/>
                </a:lnTo>
                <a:lnTo>
                  <a:pt x="43" y="12"/>
                </a:lnTo>
                <a:lnTo>
                  <a:pt x="273" y="0"/>
                </a:lnTo>
                <a:lnTo>
                  <a:pt x="231" y="37"/>
                </a:lnTo>
                <a:lnTo>
                  <a:pt x="215" y="135"/>
                </a:lnTo>
                <a:lnTo>
                  <a:pt x="122" y="191"/>
                </a:lnTo>
                <a:lnTo>
                  <a:pt x="38" y="244"/>
                </a:lnTo>
                <a:lnTo>
                  <a:pt x="0" y="2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Freeform 416"/>
          <p:cNvSpPr/>
          <p:nvPr/>
        </p:nvSpPr>
        <p:spPr bwMode="auto">
          <a:xfrm>
            <a:off x="4345940" y="3536950"/>
            <a:ext cx="238125" cy="499110"/>
          </a:xfrm>
          <a:custGeom>
            <a:avLst/>
            <a:gdLst>
              <a:gd name="T0" fmla="*/ 0 w 303"/>
              <a:gd name="T1" fmla="*/ 3 h 678"/>
              <a:gd name="T2" fmla="*/ 1 w 303"/>
              <a:gd name="T3" fmla="*/ 1 h 678"/>
              <a:gd name="T4" fmla="*/ 3 w 303"/>
              <a:gd name="T5" fmla="*/ 0 h 678"/>
              <a:gd name="T6" fmla="*/ 3 w 303"/>
              <a:gd name="T7" fmla="*/ 1 h 678"/>
              <a:gd name="T8" fmla="*/ 3 w 303"/>
              <a:gd name="T9" fmla="*/ 3 h 678"/>
              <a:gd name="T10" fmla="*/ 5 w 303"/>
              <a:gd name="T11" fmla="*/ 3 h 678"/>
              <a:gd name="T12" fmla="*/ 6 w 303"/>
              <a:gd name="T13" fmla="*/ 3 h 678"/>
              <a:gd name="T14" fmla="*/ 7 w 303"/>
              <a:gd name="T15" fmla="*/ 5 h 678"/>
              <a:gd name="T16" fmla="*/ 7 w 303"/>
              <a:gd name="T17" fmla="*/ 7 h 678"/>
              <a:gd name="T18" fmla="*/ 5 w 303"/>
              <a:gd name="T19" fmla="*/ 7 h 678"/>
              <a:gd name="T20" fmla="*/ 5 w 303"/>
              <a:gd name="T21" fmla="*/ 7 h 678"/>
              <a:gd name="T22" fmla="*/ 5 w 303"/>
              <a:gd name="T23" fmla="*/ 9 h 678"/>
              <a:gd name="T24" fmla="*/ 3 w 303"/>
              <a:gd name="T25" fmla="*/ 7 h 678"/>
              <a:gd name="T26" fmla="*/ 1 w 303"/>
              <a:gd name="T27" fmla="*/ 11 h 678"/>
              <a:gd name="T28" fmla="*/ 3 w 303"/>
              <a:gd name="T29" fmla="*/ 14 h 678"/>
              <a:gd name="T30" fmla="*/ 4 w 303"/>
              <a:gd name="T31" fmla="*/ 15 h 678"/>
              <a:gd name="T32" fmla="*/ 3 w 303"/>
              <a:gd name="T33" fmla="*/ 16 h 678"/>
              <a:gd name="T34" fmla="*/ 3 w 303"/>
              <a:gd name="T35" fmla="*/ 15 h 678"/>
              <a:gd name="T36" fmla="*/ 3 w 303"/>
              <a:gd name="T37" fmla="*/ 15 h 678"/>
              <a:gd name="T38" fmla="*/ 1 w 303"/>
              <a:gd name="T39" fmla="*/ 13 h 678"/>
              <a:gd name="T40" fmla="*/ 1 w 303"/>
              <a:gd name="T41" fmla="*/ 11 h 678"/>
              <a:gd name="T42" fmla="*/ 2 w 303"/>
              <a:gd name="T43" fmla="*/ 9 h 678"/>
              <a:gd name="T44" fmla="*/ 1 w 303"/>
              <a:gd name="T45" fmla="*/ 6 h 678"/>
              <a:gd name="T46" fmla="*/ 1 w 303"/>
              <a:gd name="T47" fmla="*/ 5 h 678"/>
              <a:gd name="T48" fmla="*/ 0 w 303"/>
              <a:gd name="T49" fmla="*/ 3 h 67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03"/>
              <a:gd name="T76" fmla="*/ 0 h 678"/>
              <a:gd name="T77" fmla="*/ 303 w 303"/>
              <a:gd name="T78" fmla="*/ 678 h 67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03" h="678">
                <a:moveTo>
                  <a:pt x="0" y="109"/>
                </a:moveTo>
                <a:lnTo>
                  <a:pt x="22" y="56"/>
                </a:lnTo>
                <a:lnTo>
                  <a:pt x="105" y="0"/>
                </a:lnTo>
                <a:lnTo>
                  <a:pt x="141" y="53"/>
                </a:lnTo>
                <a:lnTo>
                  <a:pt x="130" y="144"/>
                </a:lnTo>
                <a:lnTo>
                  <a:pt x="228" y="105"/>
                </a:lnTo>
                <a:lnTo>
                  <a:pt x="265" y="144"/>
                </a:lnTo>
                <a:lnTo>
                  <a:pt x="303" y="234"/>
                </a:lnTo>
                <a:lnTo>
                  <a:pt x="293" y="290"/>
                </a:lnTo>
                <a:lnTo>
                  <a:pt x="217" y="287"/>
                </a:lnTo>
                <a:lnTo>
                  <a:pt x="192" y="311"/>
                </a:lnTo>
                <a:lnTo>
                  <a:pt x="204" y="406"/>
                </a:lnTo>
                <a:lnTo>
                  <a:pt x="106" y="324"/>
                </a:lnTo>
                <a:lnTo>
                  <a:pt x="66" y="472"/>
                </a:lnTo>
                <a:lnTo>
                  <a:pt x="113" y="605"/>
                </a:lnTo>
                <a:lnTo>
                  <a:pt x="179" y="652"/>
                </a:lnTo>
                <a:lnTo>
                  <a:pt x="144" y="678"/>
                </a:lnTo>
                <a:lnTo>
                  <a:pt x="135" y="637"/>
                </a:lnTo>
                <a:lnTo>
                  <a:pt x="106" y="637"/>
                </a:lnTo>
                <a:lnTo>
                  <a:pt x="31" y="562"/>
                </a:lnTo>
                <a:lnTo>
                  <a:pt x="43" y="477"/>
                </a:lnTo>
                <a:lnTo>
                  <a:pt x="83" y="397"/>
                </a:lnTo>
                <a:lnTo>
                  <a:pt x="29" y="267"/>
                </a:lnTo>
                <a:lnTo>
                  <a:pt x="45" y="207"/>
                </a:lnTo>
                <a:lnTo>
                  <a:pt x="0" y="10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Freeform 417"/>
          <p:cNvSpPr/>
          <p:nvPr/>
        </p:nvSpPr>
        <p:spPr bwMode="auto">
          <a:xfrm>
            <a:off x="2962910" y="3350260"/>
            <a:ext cx="155575" cy="118745"/>
          </a:xfrm>
          <a:custGeom>
            <a:avLst/>
            <a:gdLst>
              <a:gd name="T0" fmla="*/ 0 w 201"/>
              <a:gd name="T1" fmla="*/ 2 h 159"/>
              <a:gd name="T2" fmla="*/ 0 w 201"/>
              <a:gd name="T3" fmla="*/ 2 h 159"/>
              <a:gd name="T4" fmla="*/ 1 w 201"/>
              <a:gd name="T5" fmla="*/ 2 h 159"/>
              <a:gd name="T6" fmla="*/ 3 w 201"/>
              <a:gd name="T7" fmla="*/ 2 h 159"/>
              <a:gd name="T8" fmla="*/ 4 w 201"/>
              <a:gd name="T9" fmla="*/ 0 h 159"/>
              <a:gd name="T10" fmla="*/ 5 w 201"/>
              <a:gd name="T11" fmla="*/ 1 h 159"/>
              <a:gd name="T12" fmla="*/ 4 w 201"/>
              <a:gd name="T13" fmla="*/ 1 h 159"/>
              <a:gd name="T14" fmla="*/ 4 w 201"/>
              <a:gd name="T15" fmla="*/ 2 h 159"/>
              <a:gd name="T16" fmla="*/ 4 w 201"/>
              <a:gd name="T17" fmla="*/ 4 h 159"/>
              <a:gd name="T18" fmla="*/ 1 w 201"/>
              <a:gd name="T19" fmla="*/ 3 h 159"/>
              <a:gd name="T20" fmla="*/ 0 w 201"/>
              <a:gd name="T21" fmla="*/ 2 h 15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1"/>
              <a:gd name="T34" fmla="*/ 0 h 159"/>
              <a:gd name="T35" fmla="*/ 201 w 201"/>
              <a:gd name="T36" fmla="*/ 159 h 15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1" h="159">
                <a:moveTo>
                  <a:pt x="0" y="74"/>
                </a:moveTo>
                <a:lnTo>
                  <a:pt x="12" y="70"/>
                </a:lnTo>
                <a:lnTo>
                  <a:pt x="27" y="96"/>
                </a:lnTo>
                <a:lnTo>
                  <a:pt x="112" y="94"/>
                </a:lnTo>
                <a:lnTo>
                  <a:pt x="190" y="0"/>
                </a:lnTo>
                <a:lnTo>
                  <a:pt x="201" y="58"/>
                </a:lnTo>
                <a:lnTo>
                  <a:pt x="178" y="59"/>
                </a:lnTo>
                <a:lnTo>
                  <a:pt x="190" y="94"/>
                </a:lnTo>
                <a:lnTo>
                  <a:pt x="159" y="159"/>
                </a:lnTo>
                <a:lnTo>
                  <a:pt x="37" y="145"/>
                </a:lnTo>
                <a:lnTo>
                  <a:pt x="0" y="7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Freeform 418"/>
          <p:cNvSpPr/>
          <p:nvPr/>
        </p:nvSpPr>
        <p:spPr bwMode="auto">
          <a:xfrm>
            <a:off x="1663700" y="2959100"/>
            <a:ext cx="114300" cy="248285"/>
          </a:xfrm>
          <a:custGeom>
            <a:avLst/>
            <a:gdLst>
              <a:gd name="T0" fmla="*/ 0 w 149"/>
              <a:gd name="T1" fmla="*/ 4 h 334"/>
              <a:gd name="T2" fmla="*/ 1 w 149"/>
              <a:gd name="T3" fmla="*/ 3 h 334"/>
              <a:gd name="T4" fmla="*/ 1 w 149"/>
              <a:gd name="T5" fmla="*/ 0 h 334"/>
              <a:gd name="T6" fmla="*/ 3 w 149"/>
              <a:gd name="T7" fmla="*/ 0 h 334"/>
              <a:gd name="T8" fmla="*/ 3 w 149"/>
              <a:gd name="T9" fmla="*/ 1 h 334"/>
              <a:gd name="T10" fmla="*/ 3 w 149"/>
              <a:gd name="T11" fmla="*/ 2 h 334"/>
              <a:gd name="T12" fmla="*/ 2 w 149"/>
              <a:gd name="T13" fmla="*/ 4 h 334"/>
              <a:gd name="T14" fmla="*/ 3 w 149"/>
              <a:gd name="T15" fmla="*/ 5 h 334"/>
              <a:gd name="T16" fmla="*/ 2 w 149"/>
              <a:gd name="T17" fmla="*/ 8 h 334"/>
              <a:gd name="T18" fmla="*/ 1 w 149"/>
              <a:gd name="T19" fmla="*/ 6 h 334"/>
              <a:gd name="T20" fmla="*/ 0 w 149"/>
              <a:gd name="T21" fmla="*/ 4 h 3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9"/>
              <a:gd name="T34" fmla="*/ 0 h 334"/>
              <a:gd name="T35" fmla="*/ 149 w 149"/>
              <a:gd name="T36" fmla="*/ 334 h 33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9" h="334">
                <a:moveTo>
                  <a:pt x="0" y="155"/>
                </a:moveTo>
                <a:lnTo>
                  <a:pt x="35" y="124"/>
                </a:lnTo>
                <a:lnTo>
                  <a:pt x="47" y="4"/>
                </a:lnTo>
                <a:lnTo>
                  <a:pt x="142" y="0"/>
                </a:lnTo>
                <a:lnTo>
                  <a:pt x="119" y="40"/>
                </a:lnTo>
                <a:lnTo>
                  <a:pt x="146" y="93"/>
                </a:lnTo>
                <a:lnTo>
                  <a:pt x="91" y="155"/>
                </a:lnTo>
                <a:lnTo>
                  <a:pt x="149" y="195"/>
                </a:lnTo>
                <a:lnTo>
                  <a:pt x="76" y="334"/>
                </a:lnTo>
                <a:lnTo>
                  <a:pt x="67" y="245"/>
                </a:lnTo>
                <a:lnTo>
                  <a:pt x="0" y="15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Freeform 419"/>
          <p:cNvSpPr/>
          <p:nvPr/>
        </p:nvSpPr>
        <p:spPr bwMode="auto">
          <a:xfrm>
            <a:off x="2219325" y="2775585"/>
            <a:ext cx="84455" cy="69850"/>
          </a:xfrm>
          <a:custGeom>
            <a:avLst/>
            <a:gdLst>
              <a:gd name="T0" fmla="*/ 0 w 107"/>
              <a:gd name="T1" fmla="*/ 1 h 93"/>
              <a:gd name="T2" fmla="*/ 0 w 107"/>
              <a:gd name="T3" fmla="*/ 0 h 93"/>
              <a:gd name="T4" fmla="*/ 2 w 107"/>
              <a:gd name="T5" fmla="*/ 0 h 93"/>
              <a:gd name="T6" fmla="*/ 3 w 107"/>
              <a:gd name="T7" fmla="*/ 1 h 93"/>
              <a:gd name="T8" fmla="*/ 1 w 107"/>
              <a:gd name="T9" fmla="*/ 1 h 93"/>
              <a:gd name="T10" fmla="*/ 0 w 107"/>
              <a:gd name="T11" fmla="*/ 2 h 93"/>
              <a:gd name="T12" fmla="*/ 1 w 107"/>
              <a:gd name="T13" fmla="*/ 2 h 93"/>
              <a:gd name="T14" fmla="*/ 0 w 107"/>
              <a:gd name="T15" fmla="*/ 1 h 9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7"/>
              <a:gd name="T25" fmla="*/ 0 h 93"/>
              <a:gd name="T26" fmla="*/ 107 w 107"/>
              <a:gd name="T27" fmla="*/ 93 h 9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7" h="93">
                <a:moveTo>
                  <a:pt x="0" y="61"/>
                </a:moveTo>
                <a:lnTo>
                  <a:pt x="14" y="4"/>
                </a:lnTo>
                <a:lnTo>
                  <a:pt x="73" y="0"/>
                </a:lnTo>
                <a:lnTo>
                  <a:pt x="107" y="45"/>
                </a:lnTo>
                <a:lnTo>
                  <a:pt x="59" y="47"/>
                </a:lnTo>
                <a:lnTo>
                  <a:pt x="6" y="93"/>
                </a:lnTo>
                <a:lnTo>
                  <a:pt x="29" y="65"/>
                </a:lnTo>
                <a:lnTo>
                  <a:pt x="0" y="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Freeform 420"/>
          <p:cNvSpPr/>
          <p:nvPr/>
        </p:nvSpPr>
        <p:spPr bwMode="auto">
          <a:xfrm>
            <a:off x="2230120" y="2770505"/>
            <a:ext cx="549275" cy="233045"/>
          </a:xfrm>
          <a:custGeom>
            <a:avLst/>
            <a:gdLst>
              <a:gd name="T0" fmla="*/ 0 w 703"/>
              <a:gd name="T1" fmla="*/ 3 h 317"/>
              <a:gd name="T2" fmla="*/ 1 w 703"/>
              <a:gd name="T3" fmla="*/ 4 h 317"/>
              <a:gd name="T4" fmla="*/ 0 w 703"/>
              <a:gd name="T5" fmla="*/ 5 h 317"/>
              <a:gd name="T6" fmla="*/ 1 w 703"/>
              <a:gd name="T7" fmla="*/ 5 h 317"/>
              <a:gd name="T8" fmla="*/ 1 w 703"/>
              <a:gd name="T9" fmla="*/ 6 h 317"/>
              <a:gd name="T10" fmla="*/ 2 w 703"/>
              <a:gd name="T11" fmla="*/ 6 h 317"/>
              <a:gd name="T12" fmla="*/ 1 w 703"/>
              <a:gd name="T13" fmla="*/ 6 h 317"/>
              <a:gd name="T14" fmla="*/ 2 w 703"/>
              <a:gd name="T15" fmla="*/ 6 h 317"/>
              <a:gd name="T16" fmla="*/ 3 w 703"/>
              <a:gd name="T17" fmla="*/ 7 h 317"/>
              <a:gd name="T18" fmla="*/ 4 w 703"/>
              <a:gd name="T19" fmla="*/ 6 h 317"/>
              <a:gd name="T20" fmla="*/ 6 w 703"/>
              <a:gd name="T21" fmla="*/ 7 h 317"/>
              <a:gd name="T22" fmla="*/ 9 w 703"/>
              <a:gd name="T23" fmla="*/ 6 h 317"/>
              <a:gd name="T24" fmla="*/ 9 w 703"/>
              <a:gd name="T25" fmla="*/ 7 h 317"/>
              <a:gd name="T26" fmla="*/ 9 w 703"/>
              <a:gd name="T27" fmla="*/ 6 h 317"/>
              <a:gd name="T28" fmla="*/ 15 w 703"/>
              <a:gd name="T29" fmla="*/ 6 h 317"/>
              <a:gd name="T30" fmla="*/ 16 w 703"/>
              <a:gd name="T31" fmla="*/ 6 h 317"/>
              <a:gd name="T32" fmla="*/ 16 w 703"/>
              <a:gd name="T33" fmla="*/ 3 h 317"/>
              <a:gd name="T34" fmla="*/ 16 w 703"/>
              <a:gd name="T35" fmla="*/ 3 h 317"/>
              <a:gd name="T36" fmla="*/ 15 w 703"/>
              <a:gd name="T37" fmla="*/ 1 h 317"/>
              <a:gd name="T38" fmla="*/ 13 w 703"/>
              <a:gd name="T39" fmla="*/ 1 h 317"/>
              <a:gd name="T40" fmla="*/ 11 w 703"/>
              <a:gd name="T41" fmla="*/ 1 h 317"/>
              <a:gd name="T42" fmla="*/ 8 w 703"/>
              <a:gd name="T43" fmla="*/ 0 h 317"/>
              <a:gd name="T44" fmla="*/ 6 w 703"/>
              <a:gd name="T45" fmla="*/ 0 h 317"/>
              <a:gd name="T46" fmla="*/ 4 w 703"/>
              <a:gd name="T47" fmla="*/ 1 h 317"/>
              <a:gd name="T48" fmla="*/ 3 w 703"/>
              <a:gd name="T49" fmla="*/ 1 h 317"/>
              <a:gd name="T50" fmla="*/ 3 w 703"/>
              <a:gd name="T51" fmla="*/ 2 h 317"/>
              <a:gd name="T52" fmla="*/ 0 w 703"/>
              <a:gd name="T53" fmla="*/ 3 h 31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703"/>
              <a:gd name="T82" fmla="*/ 0 h 317"/>
              <a:gd name="T83" fmla="*/ 703 w 703"/>
              <a:gd name="T84" fmla="*/ 317 h 31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703" h="317">
                <a:moveTo>
                  <a:pt x="0" y="106"/>
                </a:moveTo>
                <a:lnTo>
                  <a:pt x="27" y="188"/>
                </a:lnTo>
                <a:lnTo>
                  <a:pt x="1" y="196"/>
                </a:lnTo>
                <a:lnTo>
                  <a:pt x="27" y="210"/>
                </a:lnTo>
                <a:lnTo>
                  <a:pt x="39" y="260"/>
                </a:lnTo>
                <a:lnTo>
                  <a:pt x="79" y="254"/>
                </a:lnTo>
                <a:lnTo>
                  <a:pt x="39" y="276"/>
                </a:lnTo>
                <a:lnTo>
                  <a:pt x="84" y="267"/>
                </a:lnTo>
                <a:lnTo>
                  <a:pt x="136" y="300"/>
                </a:lnTo>
                <a:lnTo>
                  <a:pt x="179" y="265"/>
                </a:lnTo>
                <a:lnTo>
                  <a:pt x="246" y="311"/>
                </a:lnTo>
                <a:lnTo>
                  <a:pt x="368" y="265"/>
                </a:lnTo>
                <a:lnTo>
                  <a:pt x="366" y="317"/>
                </a:lnTo>
                <a:lnTo>
                  <a:pt x="388" y="265"/>
                </a:lnTo>
                <a:lnTo>
                  <a:pt x="618" y="253"/>
                </a:lnTo>
                <a:lnTo>
                  <a:pt x="703" y="249"/>
                </a:lnTo>
                <a:lnTo>
                  <a:pt x="675" y="139"/>
                </a:lnTo>
                <a:lnTo>
                  <a:pt x="695" y="115"/>
                </a:lnTo>
                <a:lnTo>
                  <a:pt x="624" y="20"/>
                </a:lnTo>
                <a:lnTo>
                  <a:pt x="577" y="20"/>
                </a:lnTo>
                <a:lnTo>
                  <a:pt x="449" y="60"/>
                </a:lnTo>
                <a:lnTo>
                  <a:pt x="336" y="0"/>
                </a:lnTo>
                <a:lnTo>
                  <a:pt x="267" y="1"/>
                </a:lnTo>
                <a:lnTo>
                  <a:pt x="180" y="56"/>
                </a:lnTo>
                <a:lnTo>
                  <a:pt x="108" y="41"/>
                </a:lnTo>
                <a:lnTo>
                  <a:pt x="132" y="70"/>
                </a:lnTo>
                <a:lnTo>
                  <a:pt x="0" y="10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Freeform 421"/>
          <p:cNvSpPr/>
          <p:nvPr/>
        </p:nvSpPr>
        <p:spPr bwMode="auto">
          <a:xfrm>
            <a:off x="1144270" y="2225040"/>
            <a:ext cx="117475" cy="152400"/>
          </a:xfrm>
          <a:custGeom>
            <a:avLst/>
            <a:gdLst>
              <a:gd name="T0" fmla="*/ 0 w 152"/>
              <a:gd name="T1" fmla="*/ 4 h 209"/>
              <a:gd name="T2" fmla="*/ 0 w 152"/>
              <a:gd name="T3" fmla="*/ 4 h 209"/>
              <a:gd name="T4" fmla="*/ 0 w 152"/>
              <a:gd name="T5" fmla="*/ 5 h 209"/>
              <a:gd name="T6" fmla="*/ 3 w 152"/>
              <a:gd name="T7" fmla="*/ 4 h 209"/>
              <a:gd name="T8" fmla="*/ 3 w 152"/>
              <a:gd name="T9" fmla="*/ 1 h 209"/>
              <a:gd name="T10" fmla="*/ 3 w 152"/>
              <a:gd name="T11" fmla="*/ 1 h 209"/>
              <a:gd name="T12" fmla="*/ 2 w 152"/>
              <a:gd name="T13" fmla="*/ 1 h 209"/>
              <a:gd name="T14" fmla="*/ 2 w 152"/>
              <a:gd name="T15" fmla="*/ 1 h 209"/>
              <a:gd name="T16" fmla="*/ 2 w 152"/>
              <a:gd name="T17" fmla="*/ 0 h 209"/>
              <a:gd name="T18" fmla="*/ 2 w 152"/>
              <a:gd name="T19" fmla="*/ 0 h 209"/>
              <a:gd name="T20" fmla="*/ 1 w 152"/>
              <a:gd name="T21" fmla="*/ 1 h 209"/>
              <a:gd name="T22" fmla="*/ 0 w 152"/>
              <a:gd name="T23" fmla="*/ 1 h 209"/>
              <a:gd name="T24" fmla="*/ 1 w 152"/>
              <a:gd name="T25" fmla="*/ 2 h 209"/>
              <a:gd name="T26" fmla="*/ 0 w 152"/>
              <a:gd name="T27" fmla="*/ 3 h 209"/>
              <a:gd name="T28" fmla="*/ 1 w 152"/>
              <a:gd name="T29" fmla="*/ 3 h 209"/>
              <a:gd name="T30" fmla="*/ 0 w 152"/>
              <a:gd name="T31" fmla="*/ 4 h 209"/>
              <a:gd name="T32" fmla="*/ 1 w 152"/>
              <a:gd name="T33" fmla="*/ 3 h 209"/>
              <a:gd name="T34" fmla="*/ 0 w 152"/>
              <a:gd name="T35" fmla="*/ 4 h 20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2"/>
              <a:gd name="T55" fmla="*/ 0 h 209"/>
              <a:gd name="T56" fmla="*/ 152 w 152"/>
              <a:gd name="T57" fmla="*/ 209 h 20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2" h="209">
                <a:moveTo>
                  <a:pt x="0" y="177"/>
                </a:moveTo>
                <a:lnTo>
                  <a:pt x="18" y="193"/>
                </a:lnTo>
                <a:lnTo>
                  <a:pt x="2" y="209"/>
                </a:lnTo>
                <a:lnTo>
                  <a:pt x="142" y="178"/>
                </a:lnTo>
                <a:lnTo>
                  <a:pt x="152" y="67"/>
                </a:lnTo>
                <a:lnTo>
                  <a:pt x="133" y="41"/>
                </a:lnTo>
                <a:lnTo>
                  <a:pt x="93" y="54"/>
                </a:lnTo>
                <a:lnTo>
                  <a:pt x="79" y="37"/>
                </a:lnTo>
                <a:lnTo>
                  <a:pt x="96" y="12"/>
                </a:lnTo>
                <a:lnTo>
                  <a:pt x="79" y="0"/>
                </a:lnTo>
                <a:lnTo>
                  <a:pt x="63" y="52"/>
                </a:lnTo>
                <a:lnTo>
                  <a:pt x="2" y="67"/>
                </a:lnTo>
                <a:lnTo>
                  <a:pt x="22" y="79"/>
                </a:lnTo>
                <a:lnTo>
                  <a:pt x="8" y="109"/>
                </a:lnTo>
                <a:lnTo>
                  <a:pt x="49" y="117"/>
                </a:lnTo>
                <a:lnTo>
                  <a:pt x="13" y="158"/>
                </a:lnTo>
                <a:lnTo>
                  <a:pt x="53" y="148"/>
                </a:lnTo>
                <a:lnTo>
                  <a:pt x="0" y="17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Freeform 422"/>
          <p:cNvSpPr/>
          <p:nvPr/>
        </p:nvSpPr>
        <p:spPr bwMode="auto">
          <a:xfrm>
            <a:off x="1207135" y="2214880"/>
            <a:ext cx="74295" cy="59690"/>
          </a:xfrm>
          <a:custGeom>
            <a:avLst/>
            <a:gdLst>
              <a:gd name="T0" fmla="*/ 0 w 97"/>
              <a:gd name="T1" fmla="*/ 1 h 82"/>
              <a:gd name="T2" fmla="*/ 0 w 97"/>
              <a:gd name="T3" fmla="*/ 1 h 82"/>
              <a:gd name="T4" fmla="*/ 1 w 97"/>
              <a:gd name="T5" fmla="*/ 1 h 82"/>
              <a:gd name="T6" fmla="*/ 2 w 97"/>
              <a:gd name="T7" fmla="*/ 2 h 82"/>
              <a:gd name="T8" fmla="*/ 2 w 97"/>
              <a:gd name="T9" fmla="*/ 1 h 82"/>
              <a:gd name="T10" fmla="*/ 2 w 97"/>
              <a:gd name="T11" fmla="*/ 0 h 82"/>
              <a:gd name="T12" fmla="*/ 1 w 97"/>
              <a:gd name="T13" fmla="*/ 0 h 82"/>
              <a:gd name="T14" fmla="*/ 0 w 97"/>
              <a:gd name="T15" fmla="*/ 1 h 82"/>
              <a:gd name="T16" fmla="*/ 0 w 97"/>
              <a:gd name="T17" fmla="*/ 1 h 8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7"/>
              <a:gd name="T28" fmla="*/ 0 h 82"/>
              <a:gd name="T29" fmla="*/ 97 w 97"/>
              <a:gd name="T30" fmla="*/ 82 h 8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7" h="82">
                <a:moveTo>
                  <a:pt x="0" y="52"/>
                </a:moveTo>
                <a:lnTo>
                  <a:pt x="14" y="69"/>
                </a:lnTo>
                <a:lnTo>
                  <a:pt x="54" y="56"/>
                </a:lnTo>
                <a:lnTo>
                  <a:pt x="73" y="82"/>
                </a:lnTo>
                <a:lnTo>
                  <a:pt x="97" y="52"/>
                </a:lnTo>
                <a:lnTo>
                  <a:pt x="74" y="15"/>
                </a:lnTo>
                <a:lnTo>
                  <a:pt x="29" y="0"/>
                </a:lnTo>
                <a:lnTo>
                  <a:pt x="17" y="27"/>
                </a:lnTo>
                <a:lnTo>
                  <a:pt x="0" y="5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Freeform 423"/>
          <p:cNvSpPr/>
          <p:nvPr/>
        </p:nvSpPr>
        <p:spPr bwMode="auto">
          <a:xfrm>
            <a:off x="1240155" y="2080895"/>
            <a:ext cx="21590" cy="23495"/>
          </a:xfrm>
          <a:custGeom>
            <a:avLst/>
            <a:gdLst>
              <a:gd name="T0" fmla="*/ 0 w 26"/>
              <a:gd name="T1" fmla="*/ 1 h 35"/>
              <a:gd name="T2" fmla="*/ 0 w 26"/>
              <a:gd name="T3" fmla="*/ 0 h 35"/>
              <a:gd name="T4" fmla="*/ 1 w 26"/>
              <a:gd name="T5" fmla="*/ 0 h 35"/>
              <a:gd name="T6" fmla="*/ 0 w 26"/>
              <a:gd name="T7" fmla="*/ 1 h 35"/>
              <a:gd name="T8" fmla="*/ 0 60000 65536"/>
              <a:gd name="T9" fmla="*/ 0 60000 65536"/>
              <a:gd name="T10" fmla="*/ 0 60000 65536"/>
              <a:gd name="T11" fmla="*/ 0 60000 65536"/>
              <a:gd name="T12" fmla="*/ 0 w 26"/>
              <a:gd name="T13" fmla="*/ 0 h 35"/>
              <a:gd name="T14" fmla="*/ 26 w 26"/>
              <a:gd name="T15" fmla="*/ 35 h 3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" h="35">
                <a:moveTo>
                  <a:pt x="0" y="35"/>
                </a:moveTo>
                <a:lnTo>
                  <a:pt x="0" y="8"/>
                </a:lnTo>
                <a:lnTo>
                  <a:pt x="26" y="0"/>
                </a:lnTo>
                <a:lnTo>
                  <a:pt x="0" y="3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Freeform 424"/>
          <p:cNvSpPr/>
          <p:nvPr/>
        </p:nvSpPr>
        <p:spPr bwMode="auto">
          <a:xfrm>
            <a:off x="1248410" y="2106295"/>
            <a:ext cx="16510" cy="18415"/>
          </a:xfrm>
          <a:custGeom>
            <a:avLst/>
            <a:gdLst>
              <a:gd name="T0" fmla="*/ 0 w 22"/>
              <a:gd name="T1" fmla="*/ 0 h 24"/>
              <a:gd name="T2" fmla="*/ 0 w 22"/>
              <a:gd name="T3" fmla="*/ 0 h 24"/>
              <a:gd name="T4" fmla="*/ 1 w 22"/>
              <a:gd name="T5" fmla="*/ 1 h 24"/>
              <a:gd name="T6" fmla="*/ 0 w 22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  <a:gd name="T12" fmla="*/ 0 w 22"/>
              <a:gd name="T13" fmla="*/ 0 h 24"/>
              <a:gd name="T14" fmla="*/ 22 w 22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2" h="24">
                <a:moveTo>
                  <a:pt x="0" y="18"/>
                </a:moveTo>
                <a:lnTo>
                  <a:pt x="14" y="0"/>
                </a:lnTo>
                <a:lnTo>
                  <a:pt x="22" y="24"/>
                </a:lnTo>
                <a:lnTo>
                  <a:pt x="0" y="1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Freeform 425"/>
          <p:cNvSpPr/>
          <p:nvPr/>
        </p:nvSpPr>
        <p:spPr bwMode="auto">
          <a:xfrm>
            <a:off x="1264920" y="2065020"/>
            <a:ext cx="233045" cy="384175"/>
          </a:xfrm>
          <a:custGeom>
            <a:avLst/>
            <a:gdLst>
              <a:gd name="T0" fmla="*/ 0 w 297"/>
              <a:gd name="T1" fmla="*/ 3 h 521"/>
              <a:gd name="T2" fmla="*/ 0 w 297"/>
              <a:gd name="T3" fmla="*/ 1 h 521"/>
              <a:gd name="T4" fmla="*/ 1 w 297"/>
              <a:gd name="T5" fmla="*/ 0 h 521"/>
              <a:gd name="T6" fmla="*/ 3 w 297"/>
              <a:gd name="T7" fmla="*/ 0 h 521"/>
              <a:gd name="T8" fmla="*/ 2 w 297"/>
              <a:gd name="T9" fmla="*/ 1 h 521"/>
              <a:gd name="T10" fmla="*/ 4 w 297"/>
              <a:gd name="T11" fmla="*/ 2 h 521"/>
              <a:gd name="T12" fmla="*/ 3 w 297"/>
              <a:gd name="T13" fmla="*/ 4 h 521"/>
              <a:gd name="T14" fmla="*/ 4 w 297"/>
              <a:gd name="T15" fmla="*/ 4 h 521"/>
              <a:gd name="T16" fmla="*/ 5 w 297"/>
              <a:gd name="T17" fmla="*/ 7 h 521"/>
              <a:gd name="T18" fmla="*/ 5 w 297"/>
              <a:gd name="T19" fmla="*/ 7 h 521"/>
              <a:gd name="T20" fmla="*/ 6 w 297"/>
              <a:gd name="T21" fmla="*/ 8 h 521"/>
              <a:gd name="T22" fmla="*/ 5 w 297"/>
              <a:gd name="T23" fmla="*/ 8 h 521"/>
              <a:gd name="T24" fmla="*/ 7 w 297"/>
              <a:gd name="T25" fmla="*/ 9 h 521"/>
              <a:gd name="T26" fmla="*/ 6 w 297"/>
              <a:gd name="T27" fmla="*/ 10 h 521"/>
              <a:gd name="T28" fmla="*/ 7 w 297"/>
              <a:gd name="T29" fmla="*/ 11 h 521"/>
              <a:gd name="T30" fmla="*/ 0 w 297"/>
              <a:gd name="T31" fmla="*/ 12 h 521"/>
              <a:gd name="T32" fmla="*/ 3 w 297"/>
              <a:gd name="T33" fmla="*/ 10 h 521"/>
              <a:gd name="T34" fmla="*/ 2 w 297"/>
              <a:gd name="T35" fmla="*/ 10 h 521"/>
              <a:gd name="T36" fmla="*/ 1 w 297"/>
              <a:gd name="T37" fmla="*/ 9 h 521"/>
              <a:gd name="T38" fmla="*/ 2 w 297"/>
              <a:gd name="T39" fmla="*/ 9 h 521"/>
              <a:gd name="T40" fmla="*/ 1 w 297"/>
              <a:gd name="T41" fmla="*/ 8 h 521"/>
              <a:gd name="T42" fmla="*/ 3 w 297"/>
              <a:gd name="T43" fmla="*/ 7 h 521"/>
              <a:gd name="T44" fmla="*/ 3 w 297"/>
              <a:gd name="T45" fmla="*/ 6 h 521"/>
              <a:gd name="T46" fmla="*/ 2 w 297"/>
              <a:gd name="T47" fmla="*/ 6 h 521"/>
              <a:gd name="T48" fmla="*/ 3 w 297"/>
              <a:gd name="T49" fmla="*/ 5 h 521"/>
              <a:gd name="T50" fmla="*/ 1 w 297"/>
              <a:gd name="T51" fmla="*/ 6 h 521"/>
              <a:gd name="T52" fmla="*/ 1 w 297"/>
              <a:gd name="T53" fmla="*/ 4 h 521"/>
              <a:gd name="T54" fmla="*/ 0 w 297"/>
              <a:gd name="T55" fmla="*/ 5 h 521"/>
              <a:gd name="T56" fmla="*/ 1 w 297"/>
              <a:gd name="T57" fmla="*/ 3 h 521"/>
              <a:gd name="T58" fmla="*/ 0 w 297"/>
              <a:gd name="T59" fmla="*/ 3 h 52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97"/>
              <a:gd name="T91" fmla="*/ 0 h 521"/>
              <a:gd name="T92" fmla="*/ 297 w 297"/>
              <a:gd name="T93" fmla="*/ 521 h 52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97" h="521">
                <a:moveTo>
                  <a:pt x="0" y="122"/>
                </a:moveTo>
                <a:lnTo>
                  <a:pt x="11" y="50"/>
                </a:lnTo>
                <a:lnTo>
                  <a:pt x="49" y="0"/>
                </a:lnTo>
                <a:lnTo>
                  <a:pt x="113" y="0"/>
                </a:lnTo>
                <a:lnTo>
                  <a:pt x="73" y="62"/>
                </a:lnTo>
                <a:lnTo>
                  <a:pt x="161" y="74"/>
                </a:lnTo>
                <a:lnTo>
                  <a:pt x="106" y="161"/>
                </a:lnTo>
                <a:lnTo>
                  <a:pt x="175" y="189"/>
                </a:lnTo>
                <a:lnTo>
                  <a:pt x="239" y="296"/>
                </a:lnTo>
                <a:lnTo>
                  <a:pt x="220" y="304"/>
                </a:lnTo>
                <a:lnTo>
                  <a:pt x="248" y="330"/>
                </a:lnTo>
                <a:lnTo>
                  <a:pt x="231" y="359"/>
                </a:lnTo>
                <a:lnTo>
                  <a:pt x="297" y="364"/>
                </a:lnTo>
                <a:lnTo>
                  <a:pt x="258" y="433"/>
                </a:lnTo>
                <a:lnTo>
                  <a:pt x="285" y="455"/>
                </a:lnTo>
                <a:lnTo>
                  <a:pt x="18" y="521"/>
                </a:lnTo>
                <a:lnTo>
                  <a:pt x="139" y="423"/>
                </a:lnTo>
                <a:lnTo>
                  <a:pt x="102" y="438"/>
                </a:lnTo>
                <a:lnTo>
                  <a:pt x="34" y="410"/>
                </a:lnTo>
                <a:lnTo>
                  <a:pt x="85" y="375"/>
                </a:lnTo>
                <a:lnTo>
                  <a:pt x="55" y="359"/>
                </a:lnTo>
                <a:lnTo>
                  <a:pt x="123" y="319"/>
                </a:lnTo>
                <a:lnTo>
                  <a:pt x="133" y="271"/>
                </a:lnTo>
                <a:lnTo>
                  <a:pt x="95" y="256"/>
                </a:lnTo>
                <a:lnTo>
                  <a:pt x="113" y="229"/>
                </a:lnTo>
                <a:lnTo>
                  <a:pt x="46" y="242"/>
                </a:lnTo>
                <a:lnTo>
                  <a:pt x="49" y="169"/>
                </a:lnTo>
                <a:lnTo>
                  <a:pt x="11" y="202"/>
                </a:lnTo>
                <a:lnTo>
                  <a:pt x="31" y="126"/>
                </a:lnTo>
                <a:lnTo>
                  <a:pt x="0" y="12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Freeform 426"/>
          <p:cNvSpPr/>
          <p:nvPr/>
        </p:nvSpPr>
        <p:spPr bwMode="auto">
          <a:xfrm>
            <a:off x="7038975" y="1813560"/>
            <a:ext cx="90805" cy="31115"/>
          </a:xfrm>
          <a:custGeom>
            <a:avLst/>
            <a:gdLst>
              <a:gd name="T0" fmla="*/ 0 w 116"/>
              <a:gd name="T1" fmla="*/ 0 h 42"/>
              <a:gd name="T2" fmla="*/ 2 w 116"/>
              <a:gd name="T3" fmla="*/ 0 h 42"/>
              <a:gd name="T4" fmla="*/ 3 w 116"/>
              <a:gd name="T5" fmla="*/ 1 h 42"/>
              <a:gd name="T6" fmla="*/ 2 w 116"/>
              <a:gd name="T7" fmla="*/ 1 h 42"/>
              <a:gd name="T8" fmla="*/ 0 w 116"/>
              <a:gd name="T9" fmla="*/ 0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6"/>
              <a:gd name="T16" fmla="*/ 0 h 42"/>
              <a:gd name="T17" fmla="*/ 116 w 116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6" h="42">
                <a:moveTo>
                  <a:pt x="0" y="14"/>
                </a:moveTo>
                <a:lnTo>
                  <a:pt x="71" y="0"/>
                </a:lnTo>
                <a:lnTo>
                  <a:pt x="116" y="21"/>
                </a:lnTo>
                <a:lnTo>
                  <a:pt x="92" y="42"/>
                </a:lnTo>
                <a:lnTo>
                  <a:pt x="0" y="1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Freeform 427"/>
          <p:cNvSpPr/>
          <p:nvPr/>
        </p:nvSpPr>
        <p:spPr bwMode="auto">
          <a:xfrm>
            <a:off x="4485005" y="3454400"/>
            <a:ext cx="210185" cy="485140"/>
          </a:xfrm>
          <a:custGeom>
            <a:avLst/>
            <a:gdLst>
              <a:gd name="T0" fmla="*/ 0 w 268"/>
              <a:gd name="T1" fmla="*/ 1 h 659"/>
              <a:gd name="T2" fmla="*/ 1 w 268"/>
              <a:gd name="T3" fmla="*/ 2 h 659"/>
              <a:gd name="T4" fmla="*/ 2 w 268"/>
              <a:gd name="T5" fmla="*/ 3 h 659"/>
              <a:gd name="T6" fmla="*/ 1 w 268"/>
              <a:gd name="T7" fmla="*/ 4 h 659"/>
              <a:gd name="T8" fmla="*/ 4 w 268"/>
              <a:gd name="T9" fmla="*/ 6 h 659"/>
              <a:gd name="T10" fmla="*/ 5 w 268"/>
              <a:gd name="T11" fmla="*/ 9 h 659"/>
              <a:gd name="T12" fmla="*/ 5 w 268"/>
              <a:gd name="T13" fmla="*/ 11 h 659"/>
              <a:gd name="T14" fmla="*/ 2 w 268"/>
              <a:gd name="T15" fmla="*/ 13 h 659"/>
              <a:gd name="T16" fmla="*/ 3 w 268"/>
              <a:gd name="T17" fmla="*/ 15 h 659"/>
              <a:gd name="T18" fmla="*/ 3 w 268"/>
              <a:gd name="T19" fmla="*/ 14 h 659"/>
              <a:gd name="T20" fmla="*/ 4 w 268"/>
              <a:gd name="T21" fmla="*/ 14 h 659"/>
              <a:gd name="T22" fmla="*/ 4 w 268"/>
              <a:gd name="T23" fmla="*/ 13 h 659"/>
              <a:gd name="T24" fmla="*/ 6 w 268"/>
              <a:gd name="T25" fmla="*/ 12 h 659"/>
              <a:gd name="T26" fmla="*/ 6 w 268"/>
              <a:gd name="T27" fmla="*/ 8 h 659"/>
              <a:gd name="T28" fmla="*/ 3 w 268"/>
              <a:gd name="T29" fmla="*/ 5 h 659"/>
              <a:gd name="T30" fmla="*/ 3 w 268"/>
              <a:gd name="T31" fmla="*/ 3 h 659"/>
              <a:gd name="T32" fmla="*/ 5 w 268"/>
              <a:gd name="T33" fmla="*/ 2 h 659"/>
              <a:gd name="T34" fmla="*/ 3 w 268"/>
              <a:gd name="T35" fmla="*/ 0 h 659"/>
              <a:gd name="T36" fmla="*/ 0 w 268"/>
              <a:gd name="T37" fmla="*/ 1 h 65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68"/>
              <a:gd name="T58" fmla="*/ 0 h 659"/>
              <a:gd name="T59" fmla="*/ 268 w 268"/>
              <a:gd name="T60" fmla="*/ 659 h 65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68" h="659">
                <a:moveTo>
                  <a:pt x="0" y="34"/>
                </a:moveTo>
                <a:lnTo>
                  <a:pt x="39" y="101"/>
                </a:lnTo>
                <a:lnTo>
                  <a:pt x="92" y="128"/>
                </a:lnTo>
                <a:lnTo>
                  <a:pt x="65" y="181"/>
                </a:lnTo>
                <a:lnTo>
                  <a:pt x="158" y="268"/>
                </a:lnTo>
                <a:lnTo>
                  <a:pt x="201" y="387"/>
                </a:lnTo>
                <a:lnTo>
                  <a:pt x="204" y="489"/>
                </a:lnTo>
                <a:lnTo>
                  <a:pt x="87" y="577"/>
                </a:lnTo>
                <a:lnTo>
                  <a:pt x="110" y="659"/>
                </a:lnTo>
                <a:lnTo>
                  <a:pt x="143" y="602"/>
                </a:lnTo>
                <a:lnTo>
                  <a:pt x="165" y="615"/>
                </a:lnTo>
                <a:lnTo>
                  <a:pt x="175" y="580"/>
                </a:lnTo>
                <a:lnTo>
                  <a:pt x="268" y="519"/>
                </a:lnTo>
                <a:lnTo>
                  <a:pt x="254" y="354"/>
                </a:lnTo>
                <a:lnTo>
                  <a:pt x="129" y="201"/>
                </a:lnTo>
                <a:lnTo>
                  <a:pt x="142" y="151"/>
                </a:lnTo>
                <a:lnTo>
                  <a:pt x="217" y="76"/>
                </a:lnTo>
                <a:lnTo>
                  <a:pt x="115" y="0"/>
                </a:lnTo>
                <a:lnTo>
                  <a:pt x="0" y="3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Freeform 428"/>
          <p:cNvSpPr/>
          <p:nvPr/>
        </p:nvSpPr>
        <p:spPr bwMode="auto">
          <a:xfrm>
            <a:off x="2735580" y="3593465"/>
            <a:ext cx="287655" cy="214630"/>
          </a:xfrm>
          <a:custGeom>
            <a:avLst/>
            <a:gdLst>
              <a:gd name="T0" fmla="*/ 0 w 369"/>
              <a:gd name="T1" fmla="*/ 7 h 289"/>
              <a:gd name="T2" fmla="*/ 2 w 369"/>
              <a:gd name="T3" fmla="*/ 5 h 289"/>
              <a:gd name="T4" fmla="*/ 2 w 369"/>
              <a:gd name="T5" fmla="*/ 5 h 289"/>
              <a:gd name="T6" fmla="*/ 3 w 369"/>
              <a:gd name="T7" fmla="*/ 4 h 289"/>
              <a:gd name="T8" fmla="*/ 5 w 369"/>
              <a:gd name="T9" fmla="*/ 1 h 289"/>
              <a:gd name="T10" fmla="*/ 8 w 369"/>
              <a:gd name="T11" fmla="*/ 0 h 289"/>
              <a:gd name="T12" fmla="*/ 9 w 369"/>
              <a:gd name="T13" fmla="*/ 3 h 289"/>
              <a:gd name="T14" fmla="*/ 8 w 369"/>
              <a:gd name="T15" fmla="*/ 4 h 289"/>
              <a:gd name="T16" fmla="*/ 5 w 369"/>
              <a:gd name="T17" fmla="*/ 5 h 289"/>
              <a:gd name="T18" fmla="*/ 0 w 369"/>
              <a:gd name="T19" fmla="*/ 7 h 28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9"/>
              <a:gd name="T31" fmla="*/ 0 h 289"/>
              <a:gd name="T32" fmla="*/ 369 w 369"/>
              <a:gd name="T33" fmla="*/ 289 h 28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9" h="289">
                <a:moveTo>
                  <a:pt x="0" y="289"/>
                </a:moveTo>
                <a:lnTo>
                  <a:pt x="96" y="225"/>
                </a:lnTo>
                <a:lnTo>
                  <a:pt x="79" y="194"/>
                </a:lnTo>
                <a:lnTo>
                  <a:pt x="108" y="157"/>
                </a:lnTo>
                <a:lnTo>
                  <a:pt x="207" y="33"/>
                </a:lnTo>
                <a:lnTo>
                  <a:pt x="329" y="0"/>
                </a:lnTo>
                <a:lnTo>
                  <a:pt x="369" y="113"/>
                </a:lnTo>
                <a:lnTo>
                  <a:pt x="336" y="157"/>
                </a:lnTo>
                <a:lnTo>
                  <a:pt x="197" y="232"/>
                </a:lnTo>
                <a:lnTo>
                  <a:pt x="0" y="28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Freeform 429"/>
          <p:cNvSpPr/>
          <p:nvPr/>
        </p:nvSpPr>
        <p:spPr bwMode="auto">
          <a:xfrm>
            <a:off x="2713990" y="3650615"/>
            <a:ext cx="106045" cy="157480"/>
          </a:xfrm>
          <a:custGeom>
            <a:avLst/>
            <a:gdLst>
              <a:gd name="T0" fmla="*/ 0 w 137"/>
              <a:gd name="T1" fmla="*/ 1 h 211"/>
              <a:gd name="T2" fmla="*/ 1 w 137"/>
              <a:gd name="T3" fmla="*/ 5 h 211"/>
              <a:gd name="T4" fmla="*/ 3 w 137"/>
              <a:gd name="T5" fmla="*/ 3 h 211"/>
              <a:gd name="T6" fmla="*/ 3 w 137"/>
              <a:gd name="T7" fmla="*/ 3 h 211"/>
              <a:gd name="T8" fmla="*/ 3 w 137"/>
              <a:gd name="T9" fmla="*/ 2 h 211"/>
              <a:gd name="T10" fmla="*/ 3 w 137"/>
              <a:gd name="T11" fmla="*/ 1 h 211"/>
              <a:gd name="T12" fmla="*/ 1 w 137"/>
              <a:gd name="T13" fmla="*/ 0 h 211"/>
              <a:gd name="T14" fmla="*/ 0 w 137"/>
              <a:gd name="T15" fmla="*/ 1 h 2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7"/>
              <a:gd name="T25" fmla="*/ 0 h 211"/>
              <a:gd name="T26" fmla="*/ 137 w 137"/>
              <a:gd name="T27" fmla="*/ 211 h 2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7" h="211">
                <a:moveTo>
                  <a:pt x="0" y="42"/>
                </a:moveTo>
                <a:lnTo>
                  <a:pt x="29" y="211"/>
                </a:lnTo>
                <a:lnTo>
                  <a:pt x="125" y="147"/>
                </a:lnTo>
                <a:lnTo>
                  <a:pt x="108" y="116"/>
                </a:lnTo>
                <a:lnTo>
                  <a:pt x="137" y="79"/>
                </a:lnTo>
                <a:lnTo>
                  <a:pt x="137" y="32"/>
                </a:lnTo>
                <a:lnTo>
                  <a:pt x="67" y="0"/>
                </a:lnTo>
                <a:lnTo>
                  <a:pt x="0" y="4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Freeform 430"/>
          <p:cNvSpPr/>
          <p:nvPr/>
        </p:nvSpPr>
        <p:spPr bwMode="auto">
          <a:xfrm>
            <a:off x="1852930" y="2576195"/>
            <a:ext cx="279400" cy="238125"/>
          </a:xfrm>
          <a:custGeom>
            <a:avLst/>
            <a:gdLst>
              <a:gd name="T0" fmla="*/ 0 w 356"/>
              <a:gd name="T1" fmla="*/ 2 h 323"/>
              <a:gd name="T2" fmla="*/ 0 w 356"/>
              <a:gd name="T3" fmla="*/ 1 h 323"/>
              <a:gd name="T4" fmla="*/ 2 w 356"/>
              <a:gd name="T5" fmla="*/ 0 h 323"/>
              <a:gd name="T6" fmla="*/ 4 w 356"/>
              <a:gd name="T7" fmla="*/ 1 h 323"/>
              <a:gd name="T8" fmla="*/ 6 w 356"/>
              <a:gd name="T9" fmla="*/ 1 h 323"/>
              <a:gd name="T10" fmla="*/ 8 w 356"/>
              <a:gd name="T11" fmla="*/ 3 h 323"/>
              <a:gd name="T12" fmla="*/ 8 w 356"/>
              <a:gd name="T13" fmla="*/ 6 h 323"/>
              <a:gd name="T14" fmla="*/ 8 w 356"/>
              <a:gd name="T15" fmla="*/ 7 h 323"/>
              <a:gd name="T16" fmla="*/ 7 w 356"/>
              <a:gd name="T17" fmla="*/ 7 h 323"/>
              <a:gd name="T18" fmla="*/ 6 w 356"/>
              <a:gd name="T19" fmla="*/ 5 h 323"/>
              <a:gd name="T20" fmla="*/ 5 w 356"/>
              <a:gd name="T21" fmla="*/ 6 h 323"/>
              <a:gd name="T22" fmla="*/ 2 w 356"/>
              <a:gd name="T23" fmla="*/ 4 h 323"/>
              <a:gd name="T24" fmla="*/ 1 w 356"/>
              <a:gd name="T25" fmla="*/ 2 h 323"/>
              <a:gd name="T26" fmla="*/ 0 w 356"/>
              <a:gd name="T27" fmla="*/ 3 h 323"/>
              <a:gd name="T28" fmla="*/ 0 w 356"/>
              <a:gd name="T29" fmla="*/ 2 h 32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56"/>
              <a:gd name="T46" fmla="*/ 0 h 323"/>
              <a:gd name="T47" fmla="*/ 356 w 356"/>
              <a:gd name="T48" fmla="*/ 323 h 32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56" h="323">
                <a:moveTo>
                  <a:pt x="0" y="76"/>
                </a:moveTo>
                <a:lnTo>
                  <a:pt x="0" y="23"/>
                </a:lnTo>
                <a:lnTo>
                  <a:pt x="91" y="0"/>
                </a:lnTo>
                <a:lnTo>
                  <a:pt x="164" y="64"/>
                </a:lnTo>
                <a:lnTo>
                  <a:pt x="245" y="46"/>
                </a:lnTo>
                <a:lnTo>
                  <a:pt x="345" y="146"/>
                </a:lnTo>
                <a:lnTo>
                  <a:pt x="332" y="253"/>
                </a:lnTo>
                <a:lnTo>
                  <a:pt x="356" y="299"/>
                </a:lnTo>
                <a:lnTo>
                  <a:pt x="281" y="323"/>
                </a:lnTo>
                <a:lnTo>
                  <a:pt x="243" y="235"/>
                </a:lnTo>
                <a:lnTo>
                  <a:pt x="211" y="272"/>
                </a:lnTo>
                <a:lnTo>
                  <a:pt x="91" y="183"/>
                </a:lnTo>
                <a:lnTo>
                  <a:pt x="33" y="89"/>
                </a:lnTo>
                <a:lnTo>
                  <a:pt x="2" y="110"/>
                </a:lnTo>
                <a:lnTo>
                  <a:pt x="0" y="7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Freeform 431"/>
          <p:cNvSpPr/>
          <p:nvPr/>
        </p:nvSpPr>
        <p:spPr bwMode="auto">
          <a:xfrm>
            <a:off x="1787525" y="4404995"/>
            <a:ext cx="380365" cy="405130"/>
          </a:xfrm>
          <a:custGeom>
            <a:avLst/>
            <a:gdLst>
              <a:gd name="T0" fmla="*/ 0 w 485"/>
              <a:gd name="T1" fmla="*/ 12 h 550"/>
              <a:gd name="T2" fmla="*/ 1 w 485"/>
              <a:gd name="T3" fmla="*/ 12 h 550"/>
              <a:gd name="T4" fmla="*/ 9 w 485"/>
              <a:gd name="T5" fmla="*/ 13 h 550"/>
              <a:gd name="T6" fmla="*/ 11 w 485"/>
              <a:gd name="T7" fmla="*/ 12 h 550"/>
              <a:gd name="T8" fmla="*/ 9 w 485"/>
              <a:gd name="T9" fmla="*/ 11 h 550"/>
              <a:gd name="T10" fmla="*/ 9 w 485"/>
              <a:gd name="T11" fmla="*/ 7 h 550"/>
              <a:gd name="T12" fmla="*/ 11 w 485"/>
              <a:gd name="T13" fmla="*/ 7 h 550"/>
              <a:gd name="T14" fmla="*/ 11 w 485"/>
              <a:gd name="T15" fmla="*/ 5 h 550"/>
              <a:gd name="T16" fmla="*/ 9 w 485"/>
              <a:gd name="T17" fmla="*/ 5 h 550"/>
              <a:gd name="T18" fmla="*/ 9 w 485"/>
              <a:gd name="T19" fmla="*/ 2 h 550"/>
              <a:gd name="T20" fmla="*/ 8 w 485"/>
              <a:gd name="T21" fmla="*/ 1 h 550"/>
              <a:gd name="T22" fmla="*/ 7 w 485"/>
              <a:gd name="T23" fmla="*/ 1 h 550"/>
              <a:gd name="T24" fmla="*/ 7 w 485"/>
              <a:gd name="T25" fmla="*/ 2 h 550"/>
              <a:gd name="T26" fmla="*/ 5 w 485"/>
              <a:gd name="T27" fmla="*/ 2 h 550"/>
              <a:gd name="T28" fmla="*/ 4 w 485"/>
              <a:gd name="T29" fmla="*/ 0 h 550"/>
              <a:gd name="T30" fmla="*/ 1 w 485"/>
              <a:gd name="T31" fmla="*/ 1 h 550"/>
              <a:gd name="T32" fmla="*/ 2 w 485"/>
              <a:gd name="T33" fmla="*/ 5 h 550"/>
              <a:gd name="T34" fmla="*/ 0 w 485"/>
              <a:gd name="T35" fmla="*/ 12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485"/>
              <a:gd name="T55" fmla="*/ 0 h 550"/>
              <a:gd name="T56" fmla="*/ 485 w 485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485" h="550">
                <a:moveTo>
                  <a:pt x="0" y="515"/>
                </a:moveTo>
                <a:lnTo>
                  <a:pt x="63" y="496"/>
                </a:lnTo>
                <a:lnTo>
                  <a:pt x="376" y="550"/>
                </a:lnTo>
                <a:lnTo>
                  <a:pt x="446" y="524"/>
                </a:lnTo>
                <a:lnTo>
                  <a:pt x="399" y="484"/>
                </a:lnTo>
                <a:lnTo>
                  <a:pt x="399" y="317"/>
                </a:lnTo>
                <a:lnTo>
                  <a:pt x="485" y="317"/>
                </a:lnTo>
                <a:lnTo>
                  <a:pt x="480" y="227"/>
                </a:lnTo>
                <a:lnTo>
                  <a:pt x="399" y="236"/>
                </a:lnTo>
                <a:lnTo>
                  <a:pt x="391" y="77"/>
                </a:lnTo>
                <a:lnTo>
                  <a:pt x="356" y="48"/>
                </a:lnTo>
                <a:lnTo>
                  <a:pt x="305" y="52"/>
                </a:lnTo>
                <a:lnTo>
                  <a:pt x="294" y="96"/>
                </a:lnTo>
                <a:lnTo>
                  <a:pt x="239" y="102"/>
                </a:lnTo>
                <a:lnTo>
                  <a:pt x="179" y="0"/>
                </a:lnTo>
                <a:lnTo>
                  <a:pt x="34" y="23"/>
                </a:lnTo>
                <a:lnTo>
                  <a:pt x="86" y="231"/>
                </a:lnTo>
                <a:lnTo>
                  <a:pt x="0" y="51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Freeform 432"/>
          <p:cNvSpPr/>
          <p:nvPr/>
        </p:nvSpPr>
        <p:spPr bwMode="auto">
          <a:xfrm>
            <a:off x="1797685" y="4370705"/>
            <a:ext cx="29845" cy="34290"/>
          </a:xfrm>
          <a:custGeom>
            <a:avLst/>
            <a:gdLst>
              <a:gd name="T0" fmla="*/ 0 w 40"/>
              <a:gd name="T1" fmla="*/ 0 h 48"/>
              <a:gd name="T2" fmla="*/ 0 w 40"/>
              <a:gd name="T3" fmla="*/ 1 h 48"/>
              <a:gd name="T4" fmla="*/ 1 w 40"/>
              <a:gd name="T5" fmla="*/ 0 h 48"/>
              <a:gd name="T6" fmla="*/ 0 w 40"/>
              <a:gd name="T7" fmla="*/ 0 h 48"/>
              <a:gd name="T8" fmla="*/ 0 60000 65536"/>
              <a:gd name="T9" fmla="*/ 0 60000 65536"/>
              <a:gd name="T10" fmla="*/ 0 60000 65536"/>
              <a:gd name="T11" fmla="*/ 0 60000 65536"/>
              <a:gd name="T12" fmla="*/ 0 w 40"/>
              <a:gd name="T13" fmla="*/ 0 h 48"/>
              <a:gd name="T14" fmla="*/ 40 w 40"/>
              <a:gd name="T15" fmla="*/ 48 h 4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" h="48">
                <a:moveTo>
                  <a:pt x="0" y="16"/>
                </a:moveTo>
                <a:lnTo>
                  <a:pt x="18" y="48"/>
                </a:lnTo>
                <a:lnTo>
                  <a:pt x="40" y="0"/>
                </a:lnTo>
                <a:lnTo>
                  <a:pt x="0" y="1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Freeform 433"/>
          <p:cNvSpPr/>
          <p:nvPr/>
        </p:nvSpPr>
        <p:spPr bwMode="auto">
          <a:xfrm>
            <a:off x="2035810" y="4799330"/>
            <a:ext cx="279400" cy="302260"/>
          </a:xfrm>
          <a:custGeom>
            <a:avLst/>
            <a:gdLst>
              <a:gd name="T0" fmla="*/ 0 w 358"/>
              <a:gd name="T1" fmla="*/ 7 h 410"/>
              <a:gd name="T2" fmla="*/ 0 w 358"/>
              <a:gd name="T3" fmla="*/ 5 h 410"/>
              <a:gd name="T4" fmla="*/ 1 w 358"/>
              <a:gd name="T5" fmla="*/ 4 h 410"/>
              <a:gd name="T6" fmla="*/ 1 w 358"/>
              <a:gd name="T7" fmla="*/ 1 h 410"/>
              <a:gd name="T8" fmla="*/ 3 w 358"/>
              <a:gd name="T9" fmla="*/ 0 h 410"/>
              <a:gd name="T10" fmla="*/ 3 w 358"/>
              <a:gd name="T11" fmla="*/ 1 h 410"/>
              <a:gd name="T12" fmla="*/ 5 w 358"/>
              <a:gd name="T13" fmla="*/ 0 h 410"/>
              <a:gd name="T14" fmla="*/ 7 w 358"/>
              <a:gd name="T15" fmla="*/ 4 h 410"/>
              <a:gd name="T16" fmla="*/ 8 w 358"/>
              <a:gd name="T17" fmla="*/ 5 h 410"/>
              <a:gd name="T18" fmla="*/ 5 w 358"/>
              <a:gd name="T19" fmla="*/ 8 h 410"/>
              <a:gd name="T20" fmla="*/ 3 w 358"/>
              <a:gd name="T21" fmla="*/ 8 h 410"/>
              <a:gd name="T22" fmla="*/ 2 w 358"/>
              <a:gd name="T23" fmla="*/ 9 h 410"/>
              <a:gd name="T24" fmla="*/ 1 w 358"/>
              <a:gd name="T25" fmla="*/ 9 h 410"/>
              <a:gd name="T26" fmla="*/ 1 w 358"/>
              <a:gd name="T27" fmla="*/ 8 h 410"/>
              <a:gd name="T28" fmla="*/ 0 w 358"/>
              <a:gd name="T29" fmla="*/ 7 h 41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58"/>
              <a:gd name="T46" fmla="*/ 0 h 410"/>
              <a:gd name="T47" fmla="*/ 358 w 358"/>
              <a:gd name="T48" fmla="*/ 410 h 41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58" h="410">
                <a:moveTo>
                  <a:pt x="0" y="314"/>
                </a:moveTo>
                <a:lnTo>
                  <a:pt x="0" y="191"/>
                </a:lnTo>
                <a:lnTo>
                  <a:pt x="40" y="188"/>
                </a:lnTo>
                <a:lnTo>
                  <a:pt x="40" y="30"/>
                </a:lnTo>
                <a:lnTo>
                  <a:pt x="115" y="12"/>
                </a:lnTo>
                <a:lnTo>
                  <a:pt x="138" y="39"/>
                </a:lnTo>
                <a:lnTo>
                  <a:pt x="201" y="0"/>
                </a:lnTo>
                <a:lnTo>
                  <a:pt x="306" y="169"/>
                </a:lnTo>
                <a:lnTo>
                  <a:pt x="358" y="197"/>
                </a:lnTo>
                <a:lnTo>
                  <a:pt x="216" y="353"/>
                </a:lnTo>
                <a:lnTo>
                  <a:pt x="131" y="353"/>
                </a:lnTo>
                <a:lnTo>
                  <a:pt x="86" y="408"/>
                </a:lnTo>
                <a:lnTo>
                  <a:pt x="32" y="410"/>
                </a:lnTo>
                <a:lnTo>
                  <a:pt x="34" y="360"/>
                </a:lnTo>
                <a:lnTo>
                  <a:pt x="0" y="31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Freeform 434"/>
          <p:cNvSpPr/>
          <p:nvPr/>
        </p:nvSpPr>
        <p:spPr bwMode="auto">
          <a:xfrm>
            <a:off x="2309495" y="4293235"/>
            <a:ext cx="51435" cy="61595"/>
          </a:xfrm>
          <a:custGeom>
            <a:avLst/>
            <a:gdLst>
              <a:gd name="T0" fmla="*/ 0 w 69"/>
              <a:gd name="T1" fmla="*/ 0 h 88"/>
              <a:gd name="T2" fmla="*/ 0 w 69"/>
              <a:gd name="T3" fmla="*/ 1 h 88"/>
              <a:gd name="T4" fmla="*/ 1 w 69"/>
              <a:gd name="T5" fmla="*/ 2 h 88"/>
              <a:gd name="T6" fmla="*/ 1 w 69"/>
              <a:gd name="T7" fmla="*/ 1 h 88"/>
              <a:gd name="T8" fmla="*/ 1 w 69"/>
              <a:gd name="T9" fmla="*/ 0 h 88"/>
              <a:gd name="T10" fmla="*/ 0 w 69"/>
              <a:gd name="T11" fmla="*/ 0 h 8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9"/>
              <a:gd name="T19" fmla="*/ 0 h 88"/>
              <a:gd name="T20" fmla="*/ 69 w 69"/>
              <a:gd name="T21" fmla="*/ 88 h 8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9" h="88">
                <a:moveTo>
                  <a:pt x="0" y="15"/>
                </a:moveTo>
                <a:lnTo>
                  <a:pt x="8" y="45"/>
                </a:lnTo>
                <a:lnTo>
                  <a:pt x="27" y="88"/>
                </a:lnTo>
                <a:lnTo>
                  <a:pt x="69" y="35"/>
                </a:lnTo>
                <a:lnTo>
                  <a:pt x="66" y="0"/>
                </a:lnTo>
                <a:lnTo>
                  <a:pt x="0" y="1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Freeform 435"/>
          <p:cNvSpPr/>
          <p:nvPr/>
        </p:nvSpPr>
        <p:spPr bwMode="auto">
          <a:xfrm>
            <a:off x="1696720" y="3803015"/>
            <a:ext cx="226695" cy="367030"/>
          </a:xfrm>
          <a:custGeom>
            <a:avLst/>
            <a:gdLst>
              <a:gd name="T0" fmla="*/ 0 w 294"/>
              <a:gd name="T1" fmla="*/ 8 h 498"/>
              <a:gd name="T2" fmla="*/ 1 w 294"/>
              <a:gd name="T3" fmla="*/ 6 h 498"/>
              <a:gd name="T4" fmla="*/ 3 w 294"/>
              <a:gd name="T5" fmla="*/ 6 h 498"/>
              <a:gd name="T6" fmla="*/ 4 w 294"/>
              <a:gd name="T7" fmla="*/ 2 h 498"/>
              <a:gd name="T8" fmla="*/ 5 w 294"/>
              <a:gd name="T9" fmla="*/ 1 h 498"/>
              <a:gd name="T10" fmla="*/ 5 w 294"/>
              <a:gd name="T11" fmla="*/ 0 h 498"/>
              <a:gd name="T12" fmla="*/ 5 w 294"/>
              <a:gd name="T13" fmla="*/ 0 h 498"/>
              <a:gd name="T14" fmla="*/ 6 w 294"/>
              <a:gd name="T15" fmla="*/ 3 h 498"/>
              <a:gd name="T16" fmla="*/ 5 w 294"/>
              <a:gd name="T17" fmla="*/ 3 h 498"/>
              <a:gd name="T18" fmla="*/ 6 w 294"/>
              <a:gd name="T19" fmla="*/ 5 h 498"/>
              <a:gd name="T20" fmla="*/ 5 w 294"/>
              <a:gd name="T21" fmla="*/ 8 h 498"/>
              <a:gd name="T22" fmla="*/ 6 w 294"/>
              <a:gd name="T23" fmla="*/ 10 h 498"/>
              <a:gd name="T24" fmla="*/ 6 w 294"/>
              <a:gd name="T25" fmla="*/ 11 h 498"/>
              <a:gd name="T26" fmla="*/ 4 w 294"/>
              <a:gd name="T27" fmla="*/ 11 h 498"/>
              <a:gd name="T28" fmla="*/ 2 w 294"/>
              <a:gd name="T29" fmla="*/ 11 h 498"/>
              <a:gd name="T30" fmla="*/ 1 w 294"/>
              <a:gd name="T31" fmla="*/ 11 h 498"/>
              <a:gd name="T32" fmla="*/ 1 w 294"/>
              <a:gd name="T33" fmla="*/ 9 h 498"/>
              <a:gd name="T34" fmla="*/ 0 w 294"/>
              <a:gd name="T35" fmla="*/ 8 h 49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94"/>
              <a:gd name="T55" fmla="*/ 0 h 498"/>
              <a:gd name="T56" fmla="*/ 294 w 294"/>
              <a:gd name="T57" fmla="*/ 498 h 49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94" h="498">
                <a:moveTo>
                  <a:pt x="0" y="355"/>
                </a:moveTo>
                <a:lnTo>
                  <a:pt x="38" y="263"/>
                </a:lnTo>
                <a:lnTo>
                  <a:pt x="109" y="275"/>
                </a:lnTo>
                <a:lnTo>
                  <a:pt x="192" y="81"/>
                </a:lnTo>
                <a:lnTo>
                  <a:pt x="231" y="46"/>
                </a:lnTo>
                <a:lnTo>
                  <a:pt x="214" y="8"/>
                </a:lnTo>
                <a:lnTo>
                  <a:pt x="235" y="0"/>
                </a:lnTo>
                <a:lnTo>
                  <a:pt x="260" y="123"/>
                </a:lnTo>
                <a:lnTo>
                  <a:pt x="214" y="142"/>
                </a:lnTo>
                <a:lnTo>
                  <a:pt x="265" y="238"/>
                </a:lnTo>
                <a:lnTo>
                  <a:pt x="235" y="352"/>
                </a:lnTo>
                <a:lnTo>
                  <a:pt x="294" y="437"/>
                </a:lnTo>
                <a:lnTo>
                  <a:pt x="287" y="498"/>
                </a:lnTo>
                <a:lnTo>
                  <a:pt x="185" y="471"/>
                </a:lnTo>
                <a:lnTo>
                  <a:pt x="107" y="470"/>
                </a:lnTo>
                <a:lnTo>
                  <a:pt x="45" y="471"/>
                </a:lnTo>
                <a:lnTo>
                  <a:pt x="44" y="388"/>
                </a:lnTo>
                <a:lnTo>
                  <a:pt x="0" y="35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Freeform 436"/>
          <p:cNvSpPr/>
          <p:nvPr/>
        </p:nvSpPr>
        <p:spPr bwMode="auto">
          <a:xfrm>
            <a:off x="1877060" y="3859530"/>
            <a:ext cx="388620" cy="263525"/>
          </a:xfrm>
          <a:custGeom>
            <a:avLst/>
            <a:gdLst>
              <a:gd name="T0" fmla="*/ 0 w 497"/>
              <a:gd name="T1" fmla="*/ 6 h 357"/>
              <a:gd name="T2" fmla="*/ 1 w 497"/>
              <a:gd name="T3" fmla="*/ 4 h 357"/>
              <a:gd name="T4" fmla="*/ 4 w 497"/>
              <a:gd name="T5" fmla="*/ 3 h 357"/>
              <a:gd name="T6" fmla="*/ 4 w 497"/>
              <a:gd name="T7" fmla="*/ 2 h 357"/>
              <a:gd name="T8" fmla="*/ 5 w 497"/>
              <a:gd name="T9" fmla="*/ 2 h 357"/>
              <a:gd name="T10" fmla="*/ 7 w 497"/>
              <a:gd name="T11" fmla="*/ 0 h 357"/>
              <a:gd name="T12" fmla="*/ 8 w 497"/>
              <a:gd name="T13" fmla="*/ 2 h 357"/>
              <a:gd name="T14" fmla="*/ 9 w 497"/>
              <a:gd name="T15" fmla="*/ 3 h 357"/>
              <a:gd name="T16" fmla="*/ 12 w 497"/>
              <a:gd name="T17" fmla="*/ 6 h 357"/>
              <a:gd name="T18" fmla="*/ 6 w 497"/>
              <a:gd name="T19" fmla="*/ 7 h 357"/>
              <a:gd name="T20" fmla="*/ 4 w 497"/>
              <a:gd name="T21" fmla="*/ 6 h 357"/>
              <a:gd name="T22" fmla="*/ 4 w 497"/>
              <a:gd name="T23" fmla="*/ 7 h 357"/>
              <a:gd name="T24" fmla="*/ 2 w 497"/>
              <a:gd name="T25" fmla="*/ 7 h 357"/>
              <a:gd name="T26" fmla="*/ 1 w 497"/>
              <a:gd name="T27" fmla="*/ 8 h 357"/>
              <a:gd name="T28" fmla="*/ 0 w 497"/>
              <a:gd name="T29" fmla="*/ 6 h 35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7"/>
              <a:gd name="T46" fmla="*/ 0 h 357"/>
              <a:gd name="T47" fmla="*/ 497 w 497"/>
              <a:gd name="T48" fmla="*/ 357 h 35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7" h="357">
                <a:moveTo>
                  <a:pt x="0" y="272"/>
                </a:moveTo>
                <a:lnTo>
                  <a:pt x="30" y="158"/>
                </a:lnTo>
                <a:lnTo>
                  <a:pt x="157" y="130"/>
                </a:lnTo>
                <a:lnTo>
                  <a:pt x="169" y="93"/>
                </a:lnTo>
                <a:lnTo>
                  <a:pt x="226" y="80"/>
                </a:lnTo>
                <a:lnTo>
                  <a:pt x="311" y="0"/>
                </a:lnTo>
                <a:lnTo>
                  <a:pt x="340" y="95"/>
                </a:lnTo>
                <a:lnTo>
                  <a:pt x="405" y="130"/>
                </a:lnTo>
                <a:lnTo>
                  <a:pt x="497" y="258"/>
                </a:lnTo>
                <a:lnTo>
                  <a:pt x="266" y="295"/>
                </a:lnTo>
                <a:lnTo>
                  <a:pt x="188" y="258"/>
                </a:lnTo>
                <a:lnTo>
                  <a:pt x="157" y="322"/>
                </a:lnTo>
                <a:lnTo>
                  <a:pt x="91" y="322"/>
                </a:lnTo>
                <a:lnTo>
                  <a:pt x="59" y="357"/>
                </a:lnTo>
                <a:lnTo>
                  <a:pt x="0" y="27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Freeform 437"/>
          <p:cNvSpPr/>
          <p:nvPr/>
        </p:nvSpPr>
        <p:spPr bwMode="auto">
          <a:xfrm>
            <a:off x="1845310" y="3444240"/>
            <a:ext cx="317500" cy="531495"/>
          </a:xfrm>
          <a:custGeom>
            <a:avLst/>
            <a:gdLst>
              <a:gd name="T0" fmla="*/ 0 w 409"/>
              <a:gd name="T1" fmla="*/ 10 h 725"/>
              <a:gd name="T2" fmla="*/ 1 w 409"/>
              <a:gd name="T3" fmla="*/ 10 h 725"/>
              <a:gd name="T4" fmla="*/ 1 w 409"/>
              <a:gd name="T5" fmla="*/ 11 h 725"/>
              <a:gd name="T6" fmla="*/ 2 w 409"/>
              <a:gd name="T7" fmla="*/ 14 h 725"/>
              <a:gd name="T8" fmla="*/ 1 w 409"/>
              <a:gd name="T9" fmla="*/ 14 h 725"/>
              <a:gd name="T10" fmla="*/ 2 w 409"/>
              <a:gd name="T11" fmla="*/ 17 h 725"/>
              <a:gd name="T12" fmla="*/ 5 w 409"/>
              <a:gd name="T13" fmla="*/ 16 h 725"/>
              <a:gd name="T14" fmla="*/ 5 w 409"/>
              <a:gd name="T15" fmla="*/ 15 h 725"/>
              <a:gd name="T16" fmla="*/ 6 w 409"/>
              <a:gd name="T17" fmla="*/ 15 h 725"/>
              <a:gd name="T18" fmla="*/ 8 w 409"/>
              <a:gd name="T19" fmla="*/ 13 h 725"/>
              <a:gd name="T20" fmla="*/ 7 w 409"/>
              <a:gd name="T21" fmla="*/ 11 h 725"/>
              <a:gd name="T22" fmla="*/ 8 w 409"/>
              <a:gd name="T23" fmla="*/ 8 h 725"/>
              <a:gd name="T24" fmla="*/ 9 w 409"/>
              <a:gd name="T25" fmla="*/ 8 h 725"/>
              <a:gd name="T26" fmla="*/ 9 w 409"/>
              <a:gd name="T27" fmla="*/ 4 h 725"/>
              <a:gd name="T28" fmla="*/ 2 w 409"/>
              <a:gd name="T29" fmla="*/ 0 h 725"/>
              <a:gd name="T30" fmla="*/ 1 w 409"/>
              <a:gd name="T31" fmla="*/ 1 h 725"/>
              <a:gd name="T32" fmla="*/ 1 w 409"/>
              <a:gd name="T33" fmla="*/ 2 h 725"/>
              <a:gd name="T34" fmla="*/ 2 w 409"/>
              <a:gd name="T35" fmla="*/ 3 h 725"/>
              <a:gd name="T36" fmla="*/ 2 w 409"/>
              <a:gd name="T37" fmla="*/ 7 h 725"/>
              <a:gd name="T38" fmla="*/ 0 w 409"/>
              <a:gd name="T39" fmla="*/ 10 h 72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409"/>
              <a:gd name="T61" fmla="*/ 0 h 725"/>
              <a:gd name="T62" fmla="*/ 409 w 409"/>
              <a:gd name="T63" fmla="*/ 725 h 72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409" h="725">
                <a:moveTo>
                  <a:pt x="0" y="416"/>
                </a:moveTo>
                <a:lnTo>
                  <a:pt x="60" y="451"/>
                </a:lnTo>
                <a:lnTo>
                  <a:pt x="45" y="487"/>
                </a:lnTo>
                <a:lnTo>
                  <a:pt x="70" y="610"/>
                </a:lnTo>
                <a:lnTo>
                  <a:pt x="24" y="629"/>
                </a:lnTo>
                <a:lnTo>
                  <a:pt x="75" y="725"/>
                </a:lnTo>
                <a:lnTo>
                  <a:pt x="202" y="697"/>
                </a:lnTo>
                <a:lnTo>
                  <a:pt x="214" y="660"/>
                </a:lnTo>
                <a:lnTo>
                  <a:pt x="271" y="647"/>
                </a:lnTo>
                <a:lnTo>
                  <a:pt x="356" y="567"/>
                </a:lnTo>
                <a:lnTo>
                  <a:pt x="326" y="478"/>
                </a:lnTo>
                <a:lnTo>
                  <a:pt x="368" y="361"/>
                </a:lnTo>
                <a:lnTo>
                  <a:pt x="408" y="352"/>
                </a:lnTo>
                <a:lnTo>
                  <a:pt x="409" y="184"/>
                </a:lnTo>
                <a:lnTo>
                  <a:pt x="103" y="0"/>
                </a:lnTo>
                <a:lnTo>
                  <a:pt x="64" y="21"/>
                </a:lnTo>
                <a:lnTo>
                  <a:pt x="64" y="90"/>
                </a:lnTo>
                <a:lnTo>
                  <a:pt x="103" y="140"/>
                </a:lnTo>
                <a:lnTo>
                  <a:pt x="75" y="298"/>
                </a:lnTo>
                <a:lnTo>
                  <a:pt x="0" y="41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7" name="Freeform 438"/>
          <p:cNvSpPr/>
          <p:nvPr/>
        </p:nvSpPr>
        <p:spPr bwMode="auto">
          <a:xfrm>
            <a:off x="1776095" y="4097655"/>
            <a:ext cx="224790" cy="284480"/>
          </a:xfrm>
          <a:custGeom>
            <a:avLst/>
            <a:gdLst>
              <a:gd name="T0" fmla="*/ 0 w 289"/>
              <a:gd name="T1" fmla="*/ 8 h 385"/>
              <a:gd name="T2" fmla="*/ 1 w 289"/>
              <a:gd name="T3" fmla="*/ 9 h 385"/>
              <a:gd name="T4" fmla="*/ 2 w 289"/>
              <a:gd name="T5" fmla="*/ 9 h 385"/>
              <a:gd name="T6" fmla="*/ 3 w 289"/>
              <a:gd name="T7" fmla="*/ 9 h 385"/>
              <a:gd name="T8" fmla="*/ 4 w 289"/>
              <a:gd name="T9" fmla="*/ 8 h 385"/>
              <a:gd name="T10" fmla="*/ 5 w 289"/>
              <a:gd name="T11" fmla="*/ 6 h 385"/>
              <a:gd name="T12" fmla="*/ 6 w 289"/>
              <a:gd name="T13" fmla="*/ 5 h 385"/>
              <a:gd name="T14" fmla="*/ 7 w 289"/>
              <a:gd name="T15" fmla="*/ 0 h 385"/>
              <a:gd name="T16" fmla="*/ 5 w 289"/>
              <a:gd name="T17" fmla="*/ 0 h 385"/>
              <a:gd name="T18" fmla="*/ 4 w 289"/>
              <a:gd name="T19" fmla="*/ 1 h 385"/>
              <a:gd name="T20" fmla="*/ 4 w 289"/>
              <a:gd name="T21" fmla="*/ 2 h 385"/>
              <a:gd name="T22" fmla="*/ 2 w 289"/>
              <a:gd name="T23" fmla="*/ 2 h 385"/>
              <a:gd name="T24" fmla="*/ 2 w 289"/>
              <a:gd name="T25" fmla="*/ 3 h 385"/>
              <a:gd name="T26" fmla="*/ 3 w 289"/>
              <a:gd name="T27" fmla="*/ 3 h 385"/>
              <a:gd name="T28" fmla="*/ 3 w 289"/>
              <a:gd name="T29" fmla="*/ 6 h 385"/>
              <a:gd name="T30" fmla="*/ 1 w 289"/>
              <a:gd name="T31" fmla="*/ 6 h 385"/>
              <a:gd name="T32" fmla="*/ 0 w 289"/>
              <a:gd name="T33" fmla="*/ 8 h 38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89"/>
              <a:gd name="T52" fmla="*/ 0 h 385"/>
              <a:gd name="T53" fmla="*/ 289 w 289"/>
              <a:gd name="T54" fmla="*/ 385 h 38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89" h="385">
                <a:moveTo>
                  <a:pt x="0" y="335"/>
                </a:moveTo>
                <a:lnTo>
                  <a:pt x="30" y="385"/>
                </a:lnTo>
                <a:lnTo>
                  <a:pt x="70" y="369"/>
                </a:lnTo>
                <a:lnTo>
                  <a:pt x="130" y="372"/>
                </a:lnTo>
                <a:lnTo>
                  <a:pt x="183" y="333"/>
                </a:lnTo>
                <a:lnTo>
                  <a:pt x="199" y="257"/>
                </a:lnTo>
                <a:lnTo>
                  <a:pt x="251" y="192"/>
                </a:lnTo>
                <a:lnTo>
                  <a:pt x="289" y="0"/>
                </a:lnTo>
                <a:lnTo>
                  <a:pt x="223" y="0"/>
                </a:lnTo>
                <a:lnTo>
                  <a:pt x="191" y="35"/>
                </a:lnTo>
                <a:lnTo>
                  <a:pt x="184" y="96"/>
                </a:lnTo>
                <a:lnTo>
                  <a:pt x="82" y="69"/>
                </a:lnTo>
                <a:lnTo>
                  <a:pt x="78" y="110"/>
                </a:lnTo>
                <a:lnTo>
                  <a:pt x="121" y="111"/>
                </a:lnTo>
                <a:lnTo>
                  <a:pt x="107" y="264"/>
                </a:lnTo>
                <a:lnTo>
                  <a:pt x="59" y="246"/>
                </a:lnTo>
                <a:lnTo>
                  <a:pt x="0" y="33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Freeform 439"/>
          <p:cNvSpPr/>
          <p:nvPr/>
        </p:nvSpPr>
        <p:spPr bwMode="auto">
          <a:xfrm>
            <a:off x="1812290" y="4050030"/>
            <a:ext cx="563880" cy="596900"/>
          </a:xfrm>
          <a:custGeom>
            <a:avLst/>
            <a:gdLst>
              <a:gd name="T0" fmla="*/ 0 w 722"/>
              <a:gd name="T1" fmla="*/ 11 h 811"/>
              <a:gd name="T2" fmla="*/ 0 w 722"/>
              <a:gd name="T3" fmla="*/ 12 h 811"/>
              <a:gd name="T4" fmla="*/ 3 w 722"/>
              <a:gd name="T5" fmla="*/ 11 h 811"/>
              <a:gd name="T6" fmla="*/ 5 w 722"/>
              <a:gd name="T7" fmla="*/ 13 h 811"/>
              <a:gd name="T8" fmla="*/ 6 w 722"/>
              <a:gd name="T9" fmla="*/ 13 h 811"/>
              <a:gd name="T10" fmla="*/ 6 w 722"/>
              <a:gd name="T11" fmla="*/ 12 h 811"/>
              <a:gd name="T12" fmla="*/ 7 w 722"/>
              <a:gd name="T13" fmla="*/ 12 h 811"/>
              <a:gd name="T14" fmla="*/ 8 w 722"/>
              <a:gd name="T15" fmla="*/ 13 h 811"/>
              <a:gd name="T16" fmla="*/ 9 w 722"/>
              <a:gd name="T17" fmla="*/ 17 h 811"/>
              <a:gd name="T18" fmla="*/ 11 w 722"/>
              <a:gd name="T19" fmla="*/ 17 h 811"/>
              <a:gd name="T20" fmla="*/ 15 w 722"/>
              <a:gd name="T21" fmla="*/ 19 h 811"/>
              <a:gd name="T22" fmla="*/ 15 w 722"/>
              <a:gd name="T23" fmla="*/ 18 h 811"/>
              <a:gd name="T24" fmla="*/ 15 w 722"/>
              <a:gd name="T25" fmla="*/ 17 h 811"/>
              <a:gd name="T26" fmla="*/ 15 w 722"/>
              <a:gd name="T27" fmla="*/ 15 h 811"/>
              <a:gd name="T28" fmla="*/ 16 w 722"/>
              <a:gd name="T29" fmla="*/ 14 h 811"/>
              <a:gd name="T30" fmla="*/ 15 w 722"/>
              <a:gd name="T31" fmla="*/ 12 h 811"/>
              <a:gd name="T32" fmla="*/ 15 w 722"/>
              <a:gd name="T33" fmla="*/ 9 h 811"/>
              <a:gd name="T34" fmla="*/ 15 w 722"/>
              <a:gd name="T35" fmla="*/ 8 h 811"/>
              <a:gd name="T36" fmla="*/ 15 w 722"/>
              <a:gd name="T37" fmla="*/ 7 h 811"/>
              <a:gd name="T38" fmla="*/ 16 w 722"/>
              <a:gd name="T39" fmla="*/ 4 h 811"/>
              <a:gd name="T40" fmla="*/ 17 w 722"/>
              <a:gd name="T41" fmla="*/ 3 h 811"/>
              <a:gd name="T42" fmla="*/ 17 w 722"/>
              <a:gd name="T43" fmla="*/ 1 h 811"/>
              <a:gd name="T44" fmla="*/ 13 w 722"/>
              <a:gd name="T45" fmla="*/ 0 h 811"/>
              <a:gd name="T46" fmla="*/ 8 w 722"/>
              <a:gd name="T47" fmla="*/ 1 h 811"/>
              <a:gd name="T48" fmla="*/ 6 w 722"/>
              <a:gd name="T49" fmla="*/ 0 h 811"/>
              <a:gd name="T50" fmla="*/ 6 w 722"/>
              <a:gd name="T51" fmla="*/ 1 h 811"/>
              <a:gd name="T52" fmla="*/ 5 w 722"/>
              <a:gd name="T53" fmla="*/ 6 h 811"/>
              <a:gd name="T54" fmla="*/ 3 w 722"/>
              <a:gd name="T55" fmla="*/ 7 h 811"/>
              <a:gd name="T56" fmla="*/ 3 w 722"/>
              <a:gd name="T57" fmla="*/ 9 h 811"/>
              <a:gd name="T58" fmla="*/ 2 w 722"/>
              <a:gd name="T59" fmla="*/ 10 h 811"/>
              <a:gd name="T60" fmla="*/ 1 w 722"/>
              <a:gd name="T61" fmla="*/ 10 h 811"/>
              <a:gd name="T62" fmla="*/ 0 w 722"/>
              <a:gd name="T63" fmla="*/ 11 h 8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722"/>
              <a:gd name="T97" fmla="*/ 0 h 811"/>
              <a:gd name="T98" fmla="*/ 722 w 722"/>
              <a:gd name="T99" fmla="*/ 811 h 8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722" h="811">
                <a:moveTo>
                  <a:pt x="0" y="481"/>
                </a:moveTo>
                <a:lnTo>
                  <a:pt x="1" y="504"/>
                </a:lnTo>
                <a:lnTo>
                  <a:pt x="146" y="481"/>
                </a:lnTo>
                <a:lnTo>
                  <a:pt x="206" y="583"/>
                </a:lnTo>
                <a:lnTo>
                  <a:pt x="261" y="577"/>
                </a:lnTo>
                <a:lnTo>
                  <a:pt x="272" y="533"/>
                </a:lnTo>
                <a:lnTo>
                  <a:pt x="323" y="529"/>
                </a:lnTo>
                <a:lnTo>
                  <a:pt x="358" y="558"/>
                </a:lnTo>
                <a:lnTo>
                  <a:pt x="366" y="717"/>
                </a:lnTo>
                <a:lnTo>
                  <a:pt x="447" y="708"/>
                </a:lnTo>
                <a:lnTo>
                  <a:pt x="666" y="811"/>
                </a:lnTo>
                <a:lnTo>
                  <a:pt x="664" y="763"/>
                </a:lnTo>
                <a:lnTo>
                  <a:pt x="620" y="742"/>
                </a:lnTo>
                <a:lnTo>
                  <a:pt x="626" y="628"/>
                </a:lnTo>
                <a:lnTo>
                  <a:pt x="695" y="586"/>
                </a:lnTo>
                <a:lnTo>
                  <a:pt x="655" y="509"/>
                </a:lnTo>
                <a:lnTo>
                  <a:pt x="645" y="374"/>
                </a:lnTo>
                <a:lnTo>
                  <a:pt x="637" y="344"/>
                </a:lnTo>
                <a:lnTo>
                  <a:pt x="666" y="284"/>
                </a:lnTo>
                <a:lnTo>
                  <a:pt x="695" y="174"/>
                </a:lnTo>
                <a:lnTo>
                  <a:pt x="722" y="132"/>
                </a:lnTo>
                <a:lnTo>
                  <a:pt x="709" y="67"/>
                </a:lnTo>
                <a:lnTo>
                  <a:pt x="581" y="0"/>
                </a:lnTo>
                <a:lnTo>
                  <a:pt x="350" y="37"/>
                </a:lnTo>
                <a:lnTo>
                  <a:pt x="272" y="0"/>
                </a:lnTo>
                <a:lnTo>
                  <a:pt x="241" y="64"/>
                </a:lnTo>
                <a:lnTo>
                  <a:pt x="203" y="256"/>
                </a:lnTo>
                <a:lnTo>
                  <a:pt x="151" y="321"/>
                </a:lnTo>
                <a:lnTo>
                  <a:pt x="135" y="397"/>
                </a:lnTo>
                <a:lnTo>
                  <a:pt x="82" y="436"/>
                </a:lnTo>
                <a:lnTo>
                  <a:pt x="22" y="433"/>
                </a:lnTo>
                <a:lnTo>
                  <a:pt x="0" y="48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Freeform 440"/>
          <p:cNvSpPr/>
          <p:nvPr/>
        </p:nvSpPr>
        <p:spPr bwMode="auto">
          <a:xfrm>
            <a:off x="2407920" y="3012440"/>
            <a:ext cx="67945" cy="39370"/>
          </a:xfrm>
          <a:custGeom>
            <a:avLst/>
            <a:gdLst>
              <a:gd name="T0" fmla="*/ 0 w 89"/>
              <a:gd name="T1" fmla="*/ 1 h 54"/>
              <a:gd name="T2" fmla="*/ 1 w 89"/>
              <a:gd name="T3" fmla="*/ 1 h 54"/>
              <a:gd name="T4" fmla="*/ 2 w 89"/>
              <a:gd name="T5" fmla="*/ 0 h 54"/>
              <a:gd name="T6" fmla="*/ 0 w 89"/>
              <a:gd name="T7" fmla="*/ 1 h 54"/>
              <a:gd name="T8" fmla="*/ 0 60000 65536"/>
              <a:gd name="T9" fmla="*/ 0 60000 65536"/>
              <a:gd name="T10" fmla="*/ 0 60000 65536"/>
              <a:gd name="T11" fmla="*/ 0 60000 65536"/>
              <a:gd name="T12" fmla="*/ 0 w 89"/>
              <a:gd name="T13" fmla="*/ 0 h 54"/>
              <a:gd name="T14" fmla="*/ 89 w 89"/>
              <a:gd name="T15" fmla="*/ 54 h 5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9" h="54">
                <a:moveTo>
                  <a:pt x="0" y="30"/>
                </a:moveTo>
                <a:lnTo>
                  <a:pt x="32" y="54"/>
                </a:lnTo>
                <a:lnTo>
                  <a:pt x="89" y="0"/>
                </a:lnTo>
                <a:lnTo>
                  <a:pt x="0" y="3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Freeform 441"/>
          <p:cNvSpPr/>
          <p:nvPr/>
        </p:nvSpPr>
        <p:spPr bwMode="auto">
          <a:xfrm>
            <a:off x="1473200" y="3813175"/>
            <a:ext cx="79375" cy="200660"/>
          </a:xfrm>
          <a:custGeom>
            <a:avLst/>
            <a:gdLst>
              <a:gd name="T0" fmla="*/ 0 w 102"/>
              <a:gd name="T1" fmla="*/ 1 h 274"/>
              <a:gd name="T2" fmla="*/ 1 w 102"/>
              <a:gd name="T3" fmla="*/ 6 h 274"/>
              <a:gd name="T4" fmla="*/ 2 w 102"/>
              <a:gd name="T5" fmla="*/ 6 h 274"/>
              <a:gd name="T6" fmla="*/ 2 w 102"/>
              <a:gd name="T7" fmla="*/ 1 h 274"/>
              <a:gd name="T8" fmla="*/ 2 w 102"/>
              <a:gd name="T9" fmla="*/ 0 h 274"/>
              <a:gd name="T10" fmla="*/ 1 w 102"/>
              <a:gd name="T11" fmla="*/ 0 h 274"/>
              <a:gd name="T12" fmla="*/ 0 w 102"/>
              <a:gd name="T13" fmla="*/ 1 h 2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2"/>
              <a:gd name="T22" fmla="*/ 0 h 274"/>
              <a:gd name="T23" fmla="*/ 102 w 102"/>
              <a:gd name="T24" fmla="*/ 274 h 27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2" h="274">
                <a:moveTo>
                  <a:pt x="0" y="65"/>
                </a:moveTo>
                <a:lnTo>
                  <a:pt x="41" y="274"/>
                </a:lnTo>
                <a:lnTo>
                  <a:pt x="73" y="270"/>
                </a:lnTo>
                <a:lnTo>
                  <a:pt x="102" y="30"/>
                </a:lnTo>
                <a:lnTo>
                  <a:pt x="73" y="0"/>
                </a:lnTo>
                <a:lnTo>
                  <a:pt x="52" y="19"/>
                </a:lnTo>
                <a:lnTo>
                  <a:pt x="0" y="6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Freeform 442"/>
          <p:cNvSpPr/>
          <p:nvPr/>
        </p:nvSpPr>
        <p:spPr bwMode="auto">
          <a:xfrm>
            <a:off x="1724660" y="4145915"/>
            <a:ext cx="54610" cy="41275"/>
          </a:xfrm>
          <a:custGeom>
            <a:avLst/>
            <a:gdLst>
              <a:gd name="T0" fmla="*/ 0 w 69"/>
              <a:gd name="T1" fmla="*/ 2 h 52"/>
              <a:gd name="T2" fmla="*/ 0 w 69"/>
              <a:gd name="T3" fmla="*/ 0 h 52"/>
              <a:gd name="T4" fmla="*/ 2 w 69"/>
              <a:gd name="T5" fmla="*/ 0 h 52"/>
              <a:gd name="T6" fmla="*/ 2 w 69"/>
              <a:gd name="T7" fmla="*/ 1 h 52"/>
              <a:gd name="T8" fmla="*/ 0 w 69"/>
              <a:gd name="T9" fmla="*/ 2 h 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9"/>
              <a:gd name="T16" fmla="*/ 0 h 52"/>
              <a:gd name="T17" fmla="*/ 69 w 69"/>
              <a:gd name="T18" fmla="*/ 52 h 5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9" h="52">
                <a:moveTo>
                  <a:pt x="0" y="52"/>
                </a:moveTo>
                <a:lnTo>
                  <a:pt x="7" y="1"/>
                </a:lnTo>
                <a:lnTo>
                  <a:pt x="69" y="0"/>
                </a:lnTo>
                <a:lnTo>
                  <a:pt x="69" y="46"/>
                </a:lnTo>
                <a:lnTo>
                  <a:pt x="0" y="5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Freeform 443"/>
          <p:cNvSpPr/>
          <p:nvPr/>
        </p:nvSpPr>
        <p:spPr bwMode="auto">
          <a:xfrm>
            <a:off x="2426970" y="3624580"/>
            <a:ext cx="448310" cy="480060"/>
          </a:xfrm>
          <a:custGeom>
            <a:avLst/>
            <a:gdLst>
              <a:gd name="T0" fmla="*/ 0 w 576"/>
              <a:gd name="T1" fmla="*/ 11 h 650"/>
              <a:gd name="T2" fmla="*/ 1 w 576"/>
              <a:gd name="T3" fmla="*/ 10 h 650"/>
              <a:gd name="T4" fmla="*/ 1 w 576"/>
              <a:gd name="T5" fmla="*/ 8 h 650"/>
              <a:gd name="T6" fmla="*/ 3 w 576"/>
              <a:gd name="T7" fmla="*/ 5 h 650"/>
              <a:gd name="T8" fmla="*/ 3 w 576"/>
              <a:gd name="T9" fmla="*/ 1 h 650"/>
              <a:gd name="T10" fmla="*/ 5 w 576"/>
              <a:gd name="T11" fmla="*/ 0 h 650"/>
              <a:gd name="T12" fmla="*/ 6 w 576"/>
              <a:gd name="T13" fmla="*/ 3 h 650"/>
              <a:gd name="T14" fmla="*/ 9 w 576"/>
              <a:gd name="T15" fmla="*/ 6 h 650"/>
              <a:gd name="T16" fmla="*/ 8 w 576"/>
              <a:gd name="T17" fmla="*/ 7 h 650"/>
              <a:gd name="T18" fmla="*/ 9 w 576"/>
              <a:gd name="T19" fmla="*/ 8 h 650"/>
              <a:gd name="T20" fmla="*/ 10 w 576"/>
              <a:gd name="T21" fmla="*/ 9 h 650"/>
              <a:gd name="T22" fmla="*/ 13 w 576"/>
              <a:gd name="T23" fmla="*/ 11 h 650"/>
              <a:gd name="T24" fmla="*/ 11 w 576"/>
              <a:gd name="T25" fmla="*/ 14 h 650"/>
              <a:gd name="T26" fmla="*/ 8 w 576"/>
              <a:gd name="T27" fmla="*/ 15 h 650"/>
              <a:gd name="T28" fmla="*/ 5 w 576"/>
              <a:gd name="T29" fmla="*/ 15 h 650"/>
              <a:gd name="T30" fmla="*/ 3 w 576"/>
              <a:gd name="T31" fmla="*/ 14 h 650"/>
              <a:gd name="T32" fmla="*/ 1 w 576"/>
              <a:gd name="T33" fmla="*/ 12 h 650"/>
              <a:gd name="T34" fmla="*/ 0 w 576"/>
              <a:gd name="T35" fmla="*/ 11 h 6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76"/>
              <a:gd name="T55" fmla="*/ 0 h 650"/>
              <a:gd name="T56" fmla="*/ 576 w 576"/>
              <a:gd name="T57" fmla="*/ 650 h 6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76" h="650">
                <a:moveTo>
                  <a:pt x="0" y="454"/>
                </a:moveTo>
                <a:lnTo>
                  <a:pt x="43" y="422"/>
                </a:lnTo>
                <a:lnTo>
                  <a:pt x="51" y="342"/>
                </a:lnTo>
                <a:lnTo>
                  <a:pt x="121" y="232"/>
                </a:lnTo>
                <a:lnTo>
                  <a:pt x="152" y="43"/>
                </a:lnTo>
                <a:lnTo>
                  <a:pt x="211" y="0"/>
                </a:lnTo>
                <a:lnTo>
                  <a:pt x="255" y="131"/>
                </a:lnTo>
                <a:lnTo>
                  <a:pt x="380" y="241"/>
                </a:lnTo>
                <a:lnTo>
                  <a:pt x="336" y="308"/>
                </a:lnTo>
                <a:lnTo>
                  <a:pt x="379" y="324"/>
                </a:lnTo>
                <a:lnTo>
                  <a:pt x="423" y="404"/>
                </a:lnTo>
                <a:lnTo>
                  <a:pt x="576" y="449"/>
                </a:lnTo>
                <a:lnTo>
                  <a:pt x="459" y="581"/>
                </a:lnTo>
                <a:lnTo>
                  <a:pt x="340" y="630"/>
                </a:lnTo>
                <a:lnTo>
                  <a:pt x="229" y="650"/>
                </a:lnTo>
                <a:lnTo>
                  <a:pt x="109" y="602"/>
                </a:lnTo>
                <a:lnTo>
                  <a:pt x="65" y="510"/>
                </a:lnTo>
                <a:lnTo>
                  <a:pt x="0" y="45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Freeform 444"/>
          <p:cNvSpPr/>
          <p:nvPr/>
        </p:nvSpPr>
        <p:spPr bwMode="auto">
          <a:xfrm>
            <a:off x="2689225" y="3803015"/>
            <a:ext cx="46355" cy="61595"/>
          </a:xfrm>
          <a:custGeom>
            <a:avLst/>
            <a:gdLst>
              <a:gd name="T0" fmla="*/ 0 w 60"/>
              <a:gd name="T1" fmla="*/ 1 h 83"/>
              <a:gd name="T2" fmla="*/ 1 w 60"/>
              <a:gd name="T3" fmla="*/ 2 h 83"/>
              <a:gd name="T4" fmla="*/ 1 w 60"/>
              <a:gd name="T5" fmla="*/ 1 h 83"/>
              <a:gd name="T6" fmla="*/ 1 w 60"/>
              <a:gd name="T7" fmla="*/ 1 h 83"/>
              <a:gd name="T8" fmla="*/ 1 w 60"/>
              <a:gd name="T9" fmla="*/ 1 h 83"/>
              <a:gd name="T10" fmla="*/ 1 w 60"/>
              <a:gd name="T11" fmla="*/ 0 h 83"/>
              <a:gd name="T12" fmla="*/ 0 w 60"/>
              <a:gd name="T13" fmla="*/ 1 h 8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0"/>
              <a:gd name="T22" fmla="*/ 0 h 83"/>
              <a:gd name="T23" fmla="*/ 60 w 60"/>
              <a:gd name="T24" fmla="*/ 83 h 8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0" h="83">
                <a:moveTo>
                  <a:pt x="0" y="67"/>
                </a:moveTo>
                <a:lnTo>
                  <a:pt x="43" y="83"/>
                </a:lnTo>
                <a:lnTo>
                  <a:pt x="56" y="58"/>
                </a:lnTo>
                <a:lnTo>
                  <a:pt x="30" y="52"/>
                </a:lnTo>
                <a:lnTo>
                  <a:pt x="60" y="32"/>
                </a:lnTo>
                <a:lnTo>
                  <a:pt x="44" y="0"/>
                </a:lnTo>
                <a:lnTo>
                  <a:pt x="0" y="6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Freeform 445"/>
          <p:cNvSpPr/>
          <p:nvPr/>
        </p:nvSpPr>
        <p:spPr bwMode="auto">
          <a:xfrm>
            <a:off x="1703070" y="4145915"/>
            <a:ext cx="167005" cy="195580"/>
          </a:xfrm>
          <a:custGeom>
            <a:avLst/>
            <a:gdLst>
              <a:gd name="T0" fmla="*/ 0 w 214"/>
              <a:gd name="T1" fmla="*/ 3 h 267"/>
              <a:gd name="T2" fmla="*/ 1 w 214"/>
              <a:gd name="T3" fmla="*/ 2 h 267"/>
              <a:gd name="T4" fmla="*/ 1 w 214"/>
              <a:gd name="T5" fmla="*/ 2 h 267"/>
              <a:gd name="T6" fmla="*/ 1 w 214"/>
              <a:gd name="T7" fmla="*/ 1 h 267"/>
              <a:gd name="T8" fmla="*/ 2 w 214"/>
              <a:gd name="T9" fmla="*/ 1 h 267"/>
              <a:gd name="T10" fmla="*/ 2 w 214"/>
              <a:gd name="T11" fmla="*/ 0 h 267"/>
              <a:gd name="T12" fmla="*/ 4 w 214"/>
              <a:gd name="T13" fmla="*/ 0 h 267"/>
              <a:gd name="T14" fmla="*/ 4 w 214"/>
              <a:gd name="T15" fmla="*/ 1 h 267"/>
              <a:gd name="T16" fmla="*/ 5 w 214"/>
              <a:gd name="T17" fmla="*/ 1 h 267"/>
              <a:gd name="T18" fmla="*/ 5 w 214"/>
              <a:gd name="T19" fmla="*/ 5 h 267"/>
              <a:gd name="T20" fmla="*/ 3 w 214"/>
              <a:gd name="T21" fmla="*/ 4 h 267"/>
              <a:gd name="T22" fmla="*/ 2 w 214"/>
              <a:gd name="T23" fmla="*/ 6 h 267"/>
              <a:gd name="T24" fmla="*/ 0 w 214"/>
              <a:gd name="T25" fmla="*/ 3 h 26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4"/>
              <a:gd name="T40" fmla="*/ 0 h 267"/>
              <a:gd name="T41" fmla="*/ 214 w 214"/>
              <a:gd name="T42" fmla="*/ 267 h 26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4" h="267">
                <a:moveTo>
                  <a:pt x="0" y="125"/>
                </a:moveTo>
                <a:lnTo>
                  <a:pt x="25" y="83"/>
                </a:lnTo>
                <a:lnTo>
                  <a:pt x="41" y="88"/>
                </a:lnTo>
                <a:lnTo>
                  <a:pt x="28" y="52"/>
                </a:lnTo>
                <a:lnTo>
                  <a:pt x="97" y="46"/>
                </a:lnTo>
                <a:lnTo>
                  <a:pt x="97" y="0"/>
                </a:lnTo>
                <a:lnTo>
                  <a:pt x="175" y="1"/>
                </a:lnTo>
                <a:lnTo>
                  <a:pt x="171" y="42"/>
                </a:lnTo>
                <a:lnTo>
                  <a:pt x="214" y="43"/>
                </a:lnTo>
                <a:lnTo>
                  <a:pt x="200" y="196"/>
                </a:lnTo>
                <a:lnTo>
                  <a:pt x="152" y="178"/>
                </a:lnTo>
                <a:lnTo>
                  <a:pt x="93" y="267"/>
                </a:lnTo>
                <a:lnTo>
                  <a:pt x="0" y="12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Freeform 446"/>
          <p:cNvSpPr/>
          <p:nvPr/>
        </p:nvSpPr>
        <p:spPr bwMode="auto">
          <a:xfrm>
            <a:off x="945515" y="3773805"/>
            <a:ext cx="90805" cy="18415"/>
          </a:xfrm>
          <a:custGeom>
            <a:avLst/>
            <a:gdLst>
              <a:gd name="T0" fmla="*/ 0 w 114"/>
              <a:gd name="T1" fmla="*/ 1 h 26"/>
              <a:gd name="T2" fmla="*/ 0 w 114"/>
              <a:gd name="T3" fmla="*/ 0 h 26"/>
              <a:gd name="T4" fmla="*/ 3 w 114"/>
              <a:gd name="T5" fmla="*/ 0 h 26"/>
              <a:gd name="T6" fmla="*/ 0 w 114"/>
              <a:gd name="T7" fmla="*/ 1 h 26"/>
              <a:gd name="T8" fmla="*/ 0 60000 65536"/>
              <a:gd name="T9" fmla="*/ 0 60000 65536"/>
              <a:gd name="T10" fmla="*/ 0 60000 65536"/>
              <a:gd name="T11" fmla="*/ 0 60000 65536"/>
              <a:gd name="T12" fmla="*/ 0 w 114"/>
              <a:gd name="T13" fmla="*/ 0 h 26"/>
              <a:gd name="T14" fmla="*/ 114 w 114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4" h="26">
                <a:moveTo>
                  <a:pt x="0" y="26"/>
                </a:moveTo>
                <a:lnTo>
                  <a:pt x="7" y="0"/>
                </a:lnTo>
                <a:lnTo>
                  <a:pt x="114" y="9"/>
                </a:lnTo>
                <a:lnTo>
                  <a:pt x="0" y="2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6" name="Freeform 447"/>
          <p:cNvSpPr/>
          <p:nvPr/>
        </p:nvSpPr>
        <p:spPr bwMode="auto">
          <a:xfrm>
            <a:off x="1355725" y="3854450"/>
            <a:ext cx="125730" cy="208915"/>
          </a:xfrm>
          <a:custGeom>
            <a:avLst/>
            <a:gdLst>
              <a:gd name="T0" fmla="*/ 0 w 163"/>
              <a:gd name="T1" fmla="*/ 6 h 285"/>
              <a:gd name="T2" fmla="*/ 1 w 163"/>
              <a:gd name="T3" fmla="*/ 2 h 285"/>
              <a:gd name="T4" fmla="*/ 0 w 163"/>
              <a:gd name="T5" fmla="*/ 0 h 285"/>
              <a:gd name="T6" fmla="*/ 3 w 163"/>
              <a:gd name="T7" fmla="*/ 0 h 285"/>
              <a:gd name="T8" fmla="*/ 4 w 163"/>
              <a:gd name="T9" fmla="*/ 5 h 285"/>
              <a:gd name="T10" fmla="*/ 1 w 163"/>
              <a:gd name="T11" fmla="*/ 7 h 285"/>
              <a:gd name="T12" fmla="*/ 0 w 163"/>
              <a:gd name="T13" fmla="*/ 6 h 28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3"/>
              <a:gd name="T22" fmla="*/ 0 h 285"/>
              <a:gd name="T23" fmla="*/ 163 w 163"/>
              <a:gd name="T24" fmla="*/ 285 h 28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3" h="285">
                <a:moveTo>
                  <a:pt x="0" y="269"/>
                </a:moveTo>
                <a:lnTo>
                  <a:pt x="20" y="71"/>
                </a:lnTo>
                <a:lnTo>
                  <a:pt x="10" y="10"/>
                </a:lnTo>
                <a:lnTo>
                  <a:pt x="110" y="0"/>
                </a:lnTo>
                <a:lnTo>
                  <a:pt x="163" y="227"/>
                </a:lnTo>
                <a:lnTo>
                  <a:pt x="40" y="285"/>
                </a:lnTo>
                <a:lnTo>
                  <a:pt x="0" y="26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7" name="Freeform 448"/>
          <p:cNvSpPr/>
          <p:nvPr/>
        </p:nvSpPr>
        <p:spPr bwMode="auto">
          <a:xfrm>
            <a:off x="996950" y="3803015"/>
            <a:ext cx="218440" cy="175260"/>
          </a:xfrm>
          <a:custGeom>
            <a:avLst/>
            <a:gdLst>
              <a:gd name="T0" fmla="*/ 0 w 281"/>
              <a:gd name="T1" fmla="*/ 2 h 238"/>
              <a:gd name="T2" fmla="*/ 1 w 281"/>
              <a:gd name="T3" fmla="*/ 1 h 238"/>
              <a:gd name="T4" fmla="*/ 1 w 281"/>
              <a:gd name="T5" fmla="*/ 0 h 238"/>
              <a:gd name="T6" fmla="*/ 3 w 281"/>
              <a:gd name="T7" fmla="*/ 0 h 238"/>
              <a:gd name="T8" fmla="*/ 4 w 281"/>
              <a:gd name="T9" fmla="*/ 1 h 238"/>
              <a:gd name="T10" fmla="*/ 5 w 281"/>
              <a:gd name="T11" fmla="*/ 0 h 238"/>
              <a:gd name="T12" fmla="*/ 6 w 281"/>
              <a:gd name="T13" fmla="*/ 3 h 238"/>
              <a:gd name="T14" fmla="*/ 7 w 281"/>
              <a:gd name="T15" fmla="*/ 5 h 238"/>
              <a:gd name="T16" fmla="*/ 6 w 281"/>
              <a:gd name="T17" fmla="*/ 4 h 238"/>
              <a:gd name="T18" fmla="*/ 6 w 281"/>
              <a:gd name="T19" fmla="*/ 5 h 238"/>
              <a:gd name="T20" fmla="*/ 5 w 281"/>
              <a:gd name="T21" fmla="*/ 5 h 238"/>
              <a:gd name="T22" fmla="*/ 5 w 281"/>
              <a:gd name="T23" fmla="*/ 5 h 238"/>
              <a:gd name="T24" fmla="*/ 4 w 281"/>
              <a:gd name="T25" fmla="*/ 4 h 238"/>
              <a:gd name="T26" fmla="*/ 3 w 281"/>
              <a:gd name="T27" fmla="*/ 3 h 238"/>
              <a:gd name="T28" fmla="*/ 2 w 281"/>
              <a:gd name="T29" fmla="*/ 4 h 238"/>
              <a:gd name="T30" fmla="*/ 0 w 281"/>
              <a:gd name="T31" fmla="*/ 2 h 23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81"/>
              <a:gd name="T49" fmla="*/ 0 h 238"/>
              <a:gd name="T50" fmla="*/ 281 w 281"/>
              <a:gd name="T51" fmla="*/ 238 h 23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81" h="238">
                <a:moveTo>
                  <a:pt x="0" y="79"/>
                </a:moveTo>
                <a:lnTo>
                  <a:pt x="46" y="44"/>
                </a:lnTo>
                <a:lnTo>
                  <a:pt x="49" y="0"/>
                </a:lnTo>
                <a:lnTo>
                  <a:pt x="140" y="9"/>
                </a:lnTo>
                <a:lnTo>
                  <a:pt x="167" y="32"/>
                </a:lnTo>
                <a:lnTo>
                  <a:pt x="231" y="6"/>
                </a:lnTo>
                <a:lnTo>
                  <a:pt x="269" y="113"/>
                </a:lnTo>
                <a:lnTo>
                  <a:pt x="281" y="193"/>
                </a:lnTo>
                <a:lnTo>
                  <a:pt x="258" y="186"/>
                </a:lnTo>
                <a:lnTo>
                  <a:pt x="252" y="231"/>
                </a:lnTo>
                <a:lnTo>
                  <a:pt x="211" y="238"/>
                </a:lnTo>
                <a:lnTo>
                  <a:pt x="208" y="193"/>
                </a:lnTo>
                <a:lnTo>
                  <a:pt x="187" y="190"/>
                </a:lnTo>
                <a:lnTo>
                  <a:pt x="147" y="124"/>
                </a:lnTo>
                <a:lnTo>
                  <a:pt x="71" y="161"/>
                </a:lnTo>
                <a:lnTo>
                  <a:pt x="0" y="7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Freeform 449"/>
          <p:cNvSpPr/>
          <p:nvPr/>
        </p:nvSpPr>
        <p:spPr bwMode="auto">
          <a:xfrm>
            <a:off x="2779395" y="3245485"/>
            <a:ext cx="49530" cy="15240"/>
          </a:xfrm>
          <a:custGeom>
            <a:avLst/>
            <a:gdLst>
              <a:gd name="T0" fmla="*/ 0 w 66"/>
              <a:gd name="T1" fmla="*/ 0 h 22"/>
              <a:gd name="T2" fmla="*/ 1 w 66"/>
              <a:gd name="T3" fmla="*/ 1 h 22"/>
              <a:gd name="T4" fmla="*/ 1 w 66"/>
              <a:gd name="T5" fmla="*/ 0 h 22"/>
              <a:gd name="T6" fmla="*/ 0 w 66"/>
              <a:gd name="T7" fmla="*/ 0 h 22"/>
              <a:gd name="T8" fmla="*/ 0 60000 65536"/>
              <a:gd name="T9" fmla="*/ 0 60000 65536"/>
              <a:gd name="T10" fmla="*/ 0 60000 65536"/>
              <a:gd name="T11" fmla="*/ 0 60000 65536"/>
              <a:gd name="T12" fmla="*/ 0 w 66"/>
              <a:gd name="T13" fmla="*/ 0 h 22"/>
              <a:gd name="T14" fmla="*/ 66 w 66"/>
              <a:gd name="T15" fmla="*/ 22 h 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6" h="22">
                <a:moveTo>
                  <a:pt x="0" y="0"/>
                </a:moveTo>
                <a:lnTo>
                  <a:pt x="32" y="22"/>
                </a:lnTo>
                <a:lnTo>
                  <a:pt x="66" y="6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9" name="Freeform 450"/>
          <p:cNvSpPr/>
          <p:nvPr/>
        </p:nvSpPr>
        <p:spPr bwMode="auto">
          <a:xfrm>
            <a:off x="2457450" y="3100070"/>
            <a:ext cx="46355" cy="139065"/>
          </a:xfrm>
          <a:custGeom>
            <a:avLst/>
            <a:gdLst>
              <a:gd name="T0" fmla="*/ 0 w 61"/>
              <a:gd name="T1" fmla="*/ 2 h 188"/>
              <a:gd name="T2" fmla="*/ 1 w 61"/>
              <a:gd name="T3" fmla="*/ 5 h 188"/>
              <a:gd name="T4" fmla="*/ 1 w 61"/>
              <a:gd name="T5" fmla="*/ 4 h 188"/>
              <a:gd name="T6" fmla="*/ 1 w 61"/>
              <a:gd name="T7" fmla="*/ 2 h 188"/>
              <a:gd name="T8" fmla="*/ 1 w 61"/>
              <a:gd name="T9" fmla="*/ 2 h 188"/>
              <a:gd name="T10" fmla="*/ 1 w 61"/>
              <a:gd name="T11" fmla="*/ 1 h 188"/>
              <a:gd name="T12" fmla="*/ 1 w 61"/>
              <a:gd name="T13" fmla="*/ 1 h 188"/>
              <a:gd name="T14" fmla="*/ 1 w 61"/>
              <a:gd name="T15" fmla="*/ 0 h 188"/>
              <a:gd name="T16" fmla="*/ 1 w 61"/>
              <a:gd name="T17" fmla="*/ 0 h 188"/>
              <a:gd name="T18" fmla="*/ 0 w 61"/>
              <a:gd name="T19" fmla="*/ 2 h 1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1"/>
              <a:gd name="T31" fmla="*/ 0 h 188"/>
              <a:gd name="T32" fmla="*/ 61 w 61"/>
              <a:gd name="T33" fmla="*/ 188 h 18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1" h="188">
                <a:moveTo>
                  <a:pt x="0" y="95"/>
                </a:moveTo>
                <a:lnTo>
                  <a:pt x="31" y="188"/>
                </a:lnTo>
                <a:lnTo>
                  <a:pt x="37" y="185"/>
                </a:lnTo>
                <a:lnTo>
                  <a:pt x="55" y="85"/>
                </a:lnTo>
                <a:lnTo>
                  <a:pt x="30" y="92"/>
                </a:lnTo>
                <a:lnTo>
                  <a:pt x="37" y="47"/>
                </a:lnTo>
                <a:lnTo>
                  <a:pt x="56" y="26"/>
                </a:lnTo>
                <a:lnTo>
                  <a:pt x="61" y="0"/>
                </a:lnTo>
                <a:lnTo>
                  <a:pt x="38" y="3"/>
                </a:lnTo>
                <a:lnTo>
                  <a:pt x="0" y="9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Freeform 451"/>
          <p:cNvSpPr/>
          <p:nvPr/>
        </p:nvSpPr>
        <p:spPr bwMode="auto">
          <a:xfrm>
            <a:off x="1190625" y="3869690"/>
            <a:ext cx="177165" cy="203835"/>
          </a:xfrm>
          <a:custGeom>
            <a:avLst/>
            <a:gdLst>
              <a:gd name="T0" fmla="*/ 0 w 229"/>
              <a:gd name="T1" fmla="*/ 4 h 278"/>
              <a:gd name="T2" fmla="*/ 0 w 229"/>
              <a:gd name="T3" fmla="*/ 3 h 278"/>
              <a:gd name="T4" fmla="*/ 0 w 229"/>
              <a:gd name="T5" fmla="*/ 2 h 278"/>
              <a:gd name="T6" fmla="*/ 1 w 229"/>
              <a:gd name="T7" fmla="*/ 3 h 278"/>
              <a:gd name="T8" fmla="*/ 1 w 229"/>
              <a:gd name="T9" fmla="*/ 1 h 278"/>
              <a:gd name="T10" fmla="*/ 2 w 229"/>
              <a:gd name="T11" fmla="*/ 0 h 278"/>
              <a:gd name="T12" fmla="*/ 3 w 229"/>
              <a:gd name="T13" fmla="*/ 0 h 278"/>
              <a:gd name="T14" fmla="*/ 3 w 229"/>
              <a:gd name="T15" fmla="*/ 1 h 278"/>
              <a:gd name="T16" fmla="*/ 5 w 229"/>
              <a:gd name="T17" fmla="*/ 1 h 278"/>
              <a:gd name="T18" fmla="*/ 5 w 229"/>
              <a:gd name="T19" fmla="*/ 6 h 278"/>
              <a:gd name="T20" fmla="*/ 1 w 229"/>
              <a:gd name="T21" fmla="*/ 6 h 278"/>
              <a:gd name="T22" fmla="*/ 1 w 229"/>
              <a:gd name="T23" fmla="*/ 5 h 278"/>
              <a:gd name="T24" fmla="*/ 0 w 229"/>
              <a:gd name="T25" fmla="*/ 4 h 27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29"/>
              <a:gd name="T40" fmla="*/ 0 h 278"/>
              <a:gd name="T41" fmla="*/ 229 w 229"/>
              <a:gd name="T42" fmla="*/ 278 h 27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29" h="278">
                <a:moveTo>
                  <a:pt x="0" y="184"/>
                </a:moveTo>
                <a:lnTo>
                  <a:pt x="4" y="142"/>
                </a:lnTo>
                <a:lnTo>
                  <a:pt x="10" y="97"/>
                </a:lnTo>
                <a:lnTo>
                  <a:pt x="33" y="104"/>
                </a:lnTo>
                <a:lnTo>
                  <a:pt x="21" y="24"/>
                </a:lnTo>
                <a:lnTo>
                  <a:pt x="89" y="0"/>
                </a:lnTo>
                <a:lnTo>
                  <a:pt x="127" y="16"/>
                </a:lnTo>
                <a:lnTo>
                  <a:pt x="150" y="42"/>
                </a:lnTo>
                <a:lnTo>
                  <a:pt x="229" y="51"/>
                </a:lnTo>
                <a:lnTo>
                  <a:pt x="209" y="249"/>
                </a:lnTo>
                <a:lnTo>
                  <a:pt x="35" y="278"/>
                </a:lnTo>
                <a:lnTo>
                  <a:pt x="38" y="216"/>
                </a:lnTo>
                <a:lnTo>
                  <a:pt x="0" y="18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Freeform 452"/>
          <p:cNvSpPr/>
          <p:nvPr/>
        </p:nvSpPr>
        <p:spPr bwMode="auto">
          <a:xfrm>
            <a:off x="2479040" y="3094990"/>
            <a:ext cx="128905" cy="152400"/>
          </a:xfrm>
          <a:custGeom>
            <a:avLst/>
            <a:gdLst>
              <a:gd name="T0" fmla="*/ 0 w 166"/>
              <a:gd name="T1" fmla="*/ 2 h 207"/>
              <a:gd name="T2" fmla="*/ 0 w 166"/>
              <a:gd name="T3" fmla="*/ 1 h 207"/>
              <a:gd name="T4" fmla="*/ 1 w 166"/>
              <a:gd name="T5" fmla="*/ 1 h 207"/>
              <a:gd name="T6" fmla="*/ 1 w 166"/>
              <a:gd name="T7" fmla="*/ 1 h 207"/>
              <a:gd name="T8" fmla="*/ 3 w 166"/>
              <a:gd name="T9" fmla="*/ 0 h 207"/>
              <a:gd name="T10" fmla="*/ 4 w 166"/>
              <a:gd name="T11" fmla="*/ 1 h 207"/>
              <a:gd name="T12" fmla="*/ 2 w 166"/>
              <a:gd name="T13" fmla="*/ 2 h 207"/>
              <a:gd name="T14" fmla="*/ 3 w 166"/>
              <a:gd name="T15" fmla="*/ 3 h 207"/>
              <a:gd name="T16" fmla="*/ 2 w 166"/>
              <a:gd name="T17" fmla="*/ 4 h 207"/>
              <a:gd name="T18" fmla="*/ 1 w 166"/>
              <a:gd name="T19" fmla="*/ 5 h 207"/>
              <a:gd name="T20" fmla="*/ 0 w 166"/>
              <a:gd name="T21" fmla="*/ 5 h 207"/>
              <a:gd name="T22" fmla="*/ 1 w 166"/>
              <a:gd name="T23" fmla="*/ 2 h 207"/>
              <a:gd name="T24" fmla="*/ 0 w 166"/>
              <a:gd name="T25" fmla="*/ 2 h 20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66"/>
              <a:gd name="T40" fmla="*/ 0 h 207"/>
              <a:gd name="T41" fmla="*/ 166 w 166"/>
              <a:gd name="T42" fmla="*/ 207 h 20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66" h="207">
                <a:moveTo>
                  <a:pt x="0" y="100"/>
                </a:moveTo>
                <a:lnTo>
                  <a:pt x="7" y="55"/>
                </a:lnTo>
                <a:lnTo>
                  <a:pt x="26" y="34"/>
                </a:lnTo>
                <a:lnTo>
                  <a:pt x="64" y="53"/>
                </a:lnTo>
                <a:lnTo>
                  <a:pt x="148" y="0"/>
                </a:lnTo>
                <a:lnTo>
                  <a:pt x="166" y="58"/>
                </a:lnTo>
                <a:lnTo>
                  <a:pt x="80" y="90"/>
                </a:lnTo>
                <a:lnTo>
                  <a:pt x="125" y="136"/>
                </a:lnTo>
                <a:lnTo>
                  <a:pt x="102" y="165"/>
                </a:lnTo>
                <a:lnTo>
                  <a:pt x="49" y="207"/>
                </a:lnTo>
                <a:lnTo>
                  <a:pt x="7" y="193"/>
                </a:lnTo>
                <a:lnTo>
                  <a:pt x="25" y="93"/>
                </a:lnTo>
                <a:lnTo>
                  <a:pt x="0" y="10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Freeform 453"/>
          <p:cNvSpPr/>
          <p:nvPr/>
        </p:nvSpPr>
        <p:spPr bwMode="auto">
          <a:xfrm>
            <a:off x="2457450" y="4069080"/>
            <a:ext cx="234950" cy="299720"/>
          </a:xfrm>
          <a:custGeom>
            <a:avLst/>
            <a:gdLst>
              <a:gd name="T0" fmla="*/ 0 w 303"/>
              <a:gd name="T1" fmla="*/ 1 h 407"/>
              <a:gd name="T2" fmla="*/ 1 w 303"/>
              <a:gd name="T3" fmla="*/ 3 h 407"/>
              <a:gd name="T4" fmla="*/ 0 w 303"/>
              <a:gd name="T5" fmla="*/ 4 h 407"/>
              <a:gd name="T6" fmla="*/ 1 w 303"/>
              <a:gd name="T7" fmla="*/ 5 h 407"/>
              <a:gd name="T8" fmla="*/ 0 w 303"/>
              <a:gd name="T9" fmla="*/ 6 h 407"/>
              <a:gd name="T10" fmla="*/ 5 w 303"/>
              <a:gd name="T11" fmla="*/ 9 h 407"/>
              <a:gd name="T12" fmla="*/ 7 w 303"/>
              <a:gd name="T13" fmla="*/ 7 h 407"/>
              <a:gd name="T14" fmla="*/ 6 w 303"/>
              <a:gd name="T15" fmla="*/ 5 h 407"/>
              <a:gd name="T16" fmla="*/ 6 w 303"/>
              <a:gd name="T17" fmla="*/ 2 h 407"/>
              <a:gd name="T18" fmla="*/ 7 w 303"/>
              <a:gd name="T19" fmla="*/ 1 h 407"/>
              <a:gd name="T20" fmla="*/ 4 w 303"/>
              <a:gd name="T21" fmla="*/ 1 h 407"/>
              <a:gd name="T22" fmla="*/ 2 w 303"/>
              <a:gd name="T23" fmla="*/ 0 h 407"/>
              <a:gd name="T24" fmla="*/ 0 w 303"/>
              <a:gd name="T25" fmla="*/ 1 h 40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03"/>
              <a:gd name="T40" fmla="*/ 0 h 407"/>
              <a:gd name="T41" fmla="*/ 303 w 303"/>
              <a:gd name="T42" fmla="*/ 407 h 40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03" h="407">
                <a:moveTo>
                  <a:pt x="0" y="25"/>
                </a:moveTo>
                <a:lnTo>
                  <a:pt x="39" y="112"/>
                </a:lnTo>
                <a:lnTo>
                  <a:pt x="0" y="190"/>
                </a:lnTo>
                <a:lnTo>
                  <a:pt x="31" y="213"/>
                </a:lnTo>
                <a:lnTo>
                  <a:pt x="14" y="242"/>
                </a:lnTo>
                <a:lnTo>
                  <a:pt x="206" y="407"/>
                </a:lnTo>
                <a:lnTo>
                  <a:pt x="291" y="276"/>
                </a:lnTo>
                <a:lnTo>
                  <a:pt x="271" y="239"/>
                </a:lnTo>
                <a:lnTo>
                  <a:pt x="271" y="77"/>
                </a:lnTo>
                <a:lnTo>
                  <a:pt x="303" y="28"/>
                </a:lnTo>
                <a:lnTo>
                  <a:pt x="192" y="48"/>
                </a:lnTo>
                <a:lnTo>
                  <a:pt x="72" y="0"/>
                </a:lnTo>
                <a:lnTo>
                  <a:pt x="0" y="25"/>
                </a:lnTo>
                <a:close/>
              </a:path>
            </a:pathLst>
          </a:custGeom>
          <a:solidFill>
            <a:srgbClr val="9EC1D3"/>
          </a:soli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Freeform 454"/>
          <p:cNvSpPr/>
          <p:nvPr/>
        </p:nvSpPr>
        <p:spPr bwMode="auto">
          <a:xfrm>
            <a:off x="2828925" y="3216275"/>
            <a:ext cx="54610" cy="49530"/>
          </a:xfrm>
          <a:custGeom>
            <a:avLst/>
            <a:gdLst>
              <a:gd name="T0" fmla="*/ 0 w 70"/>
              <a:gd name="T1" fmla="*/ 1 h 67"/>
              <a:gd name="T2" fmla="*/ 1 w 70"/>
              <a:gd name="T3" fmla="*/ 0 h 67"/>
              <a:gd name="T4" fmla="*/ 2 w 70"/>
              <a:gd name="T5" fmla="*/ 1 h 67"/>
              <a:gd name="T6" fmla="*/ 0 w 70"/>
              <a:gd name="T7" fmla="*/ 1 h 67"/>
              <a:gd name="T8" fmla="*/ 0 60000 65536"/>
              <a:gd name="T9" fmla="*/ 0 60000 65536"/>
              <a:gd name="T10" fmla="*/ 0 60000 65536"/>
              <a:gd name="T11" fmla="*/ 0 60000 65536"/>
              <a:gd name="T12" fmla="*/ 0 w 70"/>
              <a:gd name="T13" fmla="*/ 0 h 67"/>
              <a:gd name="T14" fmla="*/ 70 w 70"/>
              <a:gd name="T15" fmla="*/ 67 h 6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0" h="67">
                <a:moveTo>
                  <a:pt x="0" y="42"/>
                </a:moveTo>
                <a:lnTo>
                  <a:pt x="59" y="0"/>
                </a:lnTo>
                <a:lnTo>
                  <a:pt x="70" y="67"/>
                </a:lnTo>
                <a:lnTo>
                  <a:pt x="0" y="4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4" name="Freeform 455"/>
          <p:cNvSpPr/>
          <p:nvPr/>
        </p:nvSpPr>
        <p:spPr bwMode="auto">
          <a:xfrm>
            <a:off x="2487295" y="3046730"/>
            <a:ext cx="46355" cy="56515"/>
          </a:xfrm>
          <a:custGeom>
            <a:avLst/>
            <a:gdLst>
              <a:gd name="T0" fmla="*/ 0 w 61"/>
              <a:gd name="T1" fmla="*/ 2 h 76"/>
              <a:gd name="T2" fmla="*/ 1 w 61"/>
              <a:gd name="T3" fmla="*/ 2 h 76"/>
              <a:gd name="T4" fmla="*/ 1 w 61"/>
              <a:gd name="T5" fmla="*/ 1 h 76"/>
              <a:gd name="T6" fmla="*/ 1 w 61"/>
              <a:gd name="T7" fmla="*/ 0 h 76"/>
              <a:gd name="T8" fmla="*/ 0 w 61"/>
              <a:gd name="T9" fmla="*/ 2 h 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1"/>
              <a:gd name="T16" fmla="*/ 0 h 76"/>
              <a:gd name="T17" fmla="*/ 61 w 61"/>
              <a:gd name="T18" fmla="*/ 76 h 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1" h="76">
                <a:moveTo>
                  <a:pt x="0" y="76"/>
                </a:moveTo>
                <a:lnTo>
                  <a:pt x="23" y="73"/>
                </a:lnTo>
                <a:lnTo>
                  <a:pt x="61" y="21"/>
                </a:lnTo>
                <a:lnTo>
                  <a:pt x="40" y="0"/>
                </a:lnTo>
                <a:lnTo>
                  <a:pt x="0" y="7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5" name="Freeform 456"/>
          <p:cNvSpPr/>
          <p:nvPr/>
        </p:nvSpPr>
        <p:spPr bwMode="auto">
          <a:xfrm>
            <a:off x="1104265" y="3945255"/>
            <a:ext cx="117475" cy="128905"/>
          </a:xfrm>
          <a:custGeom>
            <a:avLst/>
            <a:gdLst>
              <a:gd name="T0" fmla="*/ 0 w 148"/>
              <a:gd name="T1" fmla="*/ 1 h 177"/>
              <a:gd name="T2" fmla="*/ 1 w 148"/>
              <a:gd name="T3" fmla="*/ 0 h 177"/>
              <a:gd name="T4" fmla="*/ 2 w 148"/>
              <a:gd name="T5" fmla="*/ 0 h 177"/>
              <a:gd name="T6" fmla="*/ 2 w 148"/>
              <a:gd name="T7" fmla="*/ 1 h 177"/>
              <a:gd name="T8" fmla="*/ 3 w 148"/>
              <a:gd name="T9" fmla="*/ 1 h 177"/>
              <a:gd name="T10" fmla="*/ 3 w 148"/>
              <a:gd name="T11" fmla="*/ 2 h 177"/>
              <a:gd name="T12" fmla="*/ 3 w 148"/>
              <a:gd name="T13" fmla="*/ 3 h 177"/>
              <a:gd name="T14" fmla="*/ 3 w 148"/>
              <a:gd name="T15" fmla="*/ 4 h 177"/>
              <a:gd name="T16" fmla="*/ 0 w 148"/>
              <a:gd name="T17" fmla="*/ 1 h 1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48"/>
              <a:gd name="T28" fmla="*/ 0 h 177"/>
              <a:gd name="T29" fmla="*/ 148 w 148"/>
              <a:gd name="T30" fmla="*/ 177 h 17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48" h="177">
                <a:moveTo>
                  <a:pt x="0" y="67"/>
                </a:moveTo>
                <a:lnTo>
                  <a:pt x="49" y="0"/>
                </a:lnTo>
                <a:lnTo>
                  <a:pt x="70" y="3"/>
                </a:lnTo>
                <a:lnTo>
                  <a:pt x="73" y="48"/>
                </a:lnTo>
                <a:lnTo>
                  <a:pt x="114" y="41"/>
                </a:lnTo>
                <a:lnTo>
                  <a:pt x="110" y="83"/>
                </a:lnTo>
                <a:lnTo>
                  <a:pt x="148" y="115"/>
                </a:lnTo>
                <a:lnTo>
                  <a:pt x="145" y="177"/>
                </a:lnTo>
                <a:lnTo>
                  <a:pt x="0" y="6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6" name="Freeform 457"/>
          <p:cNvSpPr/>
          <p:nvPr/>
        </p:nvSpPr>
        <p:spPr bwMode="auto">
          <a:xfrm>
            <a:off x="1721485" y="3103245"/>
            <a:ext cx="464820" cy="478155"/>
          </a:xfrm>
          <a:custGeom>
            <a:avLst/>
            <a:gdLst>
              <a:gd name="T0" fmla="*/ 0 w 597"/>
              <a:gd name="T1" fmla="*/ 8 h 646"/>
              <a:gd name="T2" fmla="*/ 0 w 597"/>
              <a:gd name="T3" fmla="*/ 3 h 646"/>
              <a:gd name="T4" fmla="*/ 2 w 597"/>
              <a:gd name="T5" fmla="*/ 0 h 646"/>
              <a:gd name="T6" fmla="*/ 5 w 597"/>
              <a:gd name="T7" fmla="*/ 1 h 646"/>
              <a:gd name="T8" fmla="*/ 6 w 597"/>
              <a:gd name="T9" fmla="*/ 2 h 646"/>
              <a:gd name="T10" fmla="*/ 8 w 597"/>
              <a:gd name="T11" fmla="*/ 3 h 646"/>
              <a:gd name="T12" fmla="*/ 9 w 597"/>
              <a:gd name="T13" fmla="*/ 3 h 646"/>
              <a:gd name="T14" fmla="*/ 9 w 597"/>
              <a:gd name="T15" fmla="*/ 1 h 646"/>
              <a:gd name="T16" fmla="*/ 10 w 597"/>
              <a:gd name="T17" fmla="*/ 0 h 646"/>
              <a:gd name="T18" fmla="*/ 14 w 597"/>
              <a:gd name="T19" fmla="*/ 2 h 646"/>
              <a:gd name="T20" fmla="*/ 13 w 597"/>
              <a:gd name="T21" fmla="*/ 3 h 646"/>
              <a:gd name="T22" fmla="*/ 14 w 597"/>
              <a:gd name="T23" fmla="*/ 12 h 646"/>
              <a:gd name="T24" fmla="*/ 14 w 597"/>
              <a:gd name="T25" fmla="*/ 15 h 646"/>
              <a:gd name="T26" fmla="*/ 13 w 597"/>
              <a:gd name="T27" fmla="*/ 15 h 646"/>
              <a:gd name="T28" fmla="*/ 13 w 597"/>
              <a:gd name="T29" fmla="*/ 15 h 646"/>
              <a:gd name="T30" fmla="*/ 6 w 597"/>
              <a:gd name="T31" fmla="*/ 11 h 646"/>
              <a:gd name="T32" fmla="*/ 5 w 597"/>
              <a:gd name="T33" fmla="*/ 11 h 646"/>
              <a:gd name="T34" fmla="*/ 2 w 597"/>
              <a:gd name="T35" fmla="*/ 11 h 646"/>
              <a:gd name="T36" fmla="*/ 0 w 597"/>
              <a:gd name="T37" fmla="*/ 8 h 64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597"/>
              <a:gd name="T58" fmla="*/ 0 h 646"/>
              <a:gd name="T59" fmla="*/ 597 w 597"/>
              <a:gd name="T60" fmla="*/ 646 h 64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597" h="646">
                <a:moveTo>
                  <a:pt x="0" y="336"/>
                </a:moveTo>
                <a:lnTo>
                  <a:pt x="1" y="139"/>
                </a:lnTo>
                <a:lnTo>
                  <a:pt x="74" y="0"/>
                </a:lnTo>
                <a:lnTo>
                  <a:pt x="219" y="42"/>
                </a:lnTo>
                <a:lnTo>
                  <a:pt x="246" y="89"/>
                </a:lnTo>
                <a:lnTo>
                  <a:pt x="363" y="139"/>
                </a:lnTo>
                <a:lnTo>
                  <a:pt x="398" y="123"/>
                </a:lnTo>
                <a:lnTo>
                  <a:pt x="402" y="52"/>
                </a:lnTo>
                <a:lnTo>
                  <a:pt x="440" y="19"/>
                </a:lnTo>
                <a:lnTo>
                  <a:pt x="597" y="75"/>
                </a:lnTo>
                <a:lnTo>
                  <a:pt x="580" y="150"/>
                </a:lnTo>
                <a:lnTo>
                  <a:pt x="597" y="529"/>
                </a:lnTo>
                <a:lnTo>
                  <a:pt x="597" y="618"/>
                </a:lnTo>
                <a:lnTo>
                  <a:pt x="564" y="619"/>
                </a:lnTo>
                <a:lnTo>
                  <a:pt x="564" y="646"/>
                </a:lnTo>
                <a:lnTo>
                  <a:pt x="258" y="462"/>
                </a:lnTo>
                <a:lnTo>
                  <a:pt x="219" y="483"/>
                </a:lnTo>
                <a:lnTo>
                  <a:pt x="89" y="460"/>
                </a:lnTo>
                <a:lnTo>
                  <a:pt x="0" y="33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7" name="Freeform 458"/>
          <p:cNvSpPr/>
          <p:nvPr/>
        </p:nvSpPr>
        <p:spPr bwMode="auto">
          <a:xfrm>
            <a:off x="2724785" y="4613910"/>
            <a:ext cx="210185" cy="452120"/>
          </a:xfrm>
          <a:custGeom>
            <a:avLst/>
            <a:gdLst>
              <a:gd name="T0" fmla="*/ 0 w 270"/>
              <a:gd name="T1" fmla="*/ 10 h 616"/>
              <a:gd name="T2" fmla="*/ 1 w 270"/>
              <a:gd name="T3" fmla="*/ 13 h 616"/>
              <a:gd name="T4" fmla="*/ 2 w 270"/>
              <a:gd name="T5" fmla="*/ 14 h 616"/>
              <a:gd name="T6" fmla="*/ 4 w 270"/>
              <a:gd name="T7" fmla="*/ 13 h 616"/>
              <a:gd name="T8" fmla="*/ 6 w 270"/>
              <a:gd name="T9" fmla="*/ 3 h 616"/>
              <a:gd name="T10" fmla="*/ 6 w 270"/>
              <a:gd name="T11" fmla="*/ 4 h 616"/>
              <a:gd name="T12" fmla="*/ 5 w 270"/>
              <a:gd name="T13" fmla="*/ 0 h 616"/>
              <a:gd name="T14" fmla="*/ 4 w 270"/>
              <a:gd name="T15" fmla="*/ 1 h 616"/>
              <a:gd name="T16" fmla="*/ 4 w 270"/>
              <a:gd name="T17" fmla="*/ 3 h 616"/>
              <a:gd name="T18" fmla="*/ 3 w 270"/>
              <a:gd name="T19" fmla="*/ 4 h 616"/>
              <a:gd name="T20" fmla="*/ 1 w 270"/>
              <a:gd name="T21" fmla="*/ 4 h 616"/>
              <a:gd name="T22" fmla="*/ 1 w 270"/>
              <a:gd name="T23" fmla="*/ 5 h 616"/>
              <a:gd name="T24" fmla="*/ 1 w 270"/>
              <a:gd name="T25" fmla="*/ 8 h 616"/>
              <a:gd name="T26" fmla="*/ 0 w 270"/>
              <a:gd name="T27" fmla="*/ 10 h 61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70"/>
              <a:gd name="T43" fmla="*/ 0 h 616"/>
              <a:gd name="T44" fmla="*/ 270 w 270"/>
              <a:gd name="T45" fmla="*/ 616 h 61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70" h="616">
                <a:moveTo>
                  <a:pt x="0" y="441"/>
                </a:moveTo>
                <a:lnTo>
                  <a:pt x="26" y="567"/>
                </a:lnTo>
                <a:lnTo>
                  <a:pt x="76" y="616"/>
                </a:lnTo>
                <a:lnTo>
                  <a:pt x="161" y="567"/>
                </a:lnTo>
                <a:lnTo>
                  <a:pt x="254" y="144"/>
                </a:lnTo>
                <a:lnTo>
                  <a:pt x="270" y="161"/>
                </a:lnTo>
                <a:lnTo>
                  <a:pt x="232" y="0"/>
                </a:lnTo>
                <a:lnTo>
                  <a:pt x="182" y="68"/>
                </a:lnTo>
                <a:lnTo>
                  <a:pt x="182" y="115"/>
                </a:lnTo>
                <a:lnTo>
                  <a:pt x="122" y="165"/>
                </a:lnTo>
                <a:lnTo>
                  <a:pt x="47" y="186"/>
                </a:lnTo>
                <a:lnTo>
                  <a:pt x="29" y="240"/>
                </a:lnTo>
                <a:lnTo>
                  <a:pt x="47" y="348"/>
                </a:lnTo>
                <a:lnTo>
                  <a:pt x="0" y="44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8" name="Freeform 459"/>
          <p:cNvSpPr/>
          <p:nvPr/>
        </p:nvSpPr>
        <p:spPr bwMode="auto">
          <a:xfrm>
            <a:off x="2418715" y="4523105"/>
            <a:ext cx="99060" cy="255270"/>
          </a:xfrm>
          <a:custGeom>
            <a:avLst/>
            <a:gdLst>
              <a:gd name="T0" fmla="*/ 0 w 124"/>
              <a:gd name="T1" fmla="*/ 4 h 346"/>
              <a:gd name="T2" fmla="*/ 0 w 124"/>
              <a:gd name="T3" fmla="*/ 5 h 346"/>
              <a:gd name="T4" fmla="*/ 2 w 124"/>
              <a:gd name="T5" fmla="*/ 5 h 346"/>
              <a:gd name="T6" fmla="*/ 1 w 124"/>
              <a:gd name="T7" fmla="*/ 7 h 346"/>
              <a:gd name="T8" fmla="*/ 2 w 124"/>
              <a:gd name="T9" fmla="*/ 8 h 346"/>
              <a:gd name="T10" fmla="*/ 3 w 124"/>
              <a:gd name="T11" fmla="*/ 6 h 346"/>
              <a:gd name="T12" fmla="*/ 2 w 124"/>
              <a:gd name="T13" fmla="*/ 4 h 346"/>
              <a:gd name="T14" fmla="*/ 2 w 124"/>
              <a:gd name="T15" fmla="*/ 5 h 346"/>
              <a:gd name="T16" fmla="*/ 2 w 124"/>
              <a:gd name="T17" fmla="*/ 5 h 346"/>
              <a:gd name="T18" fmla="*/ 1 w 124"/>
              <a:gd name="T19" fmla="*/ 3 h 346"/>
              <a:gd name="T20" fmla="*/ 1 w 124"/>
              <a:gd name="T21" fmla="*/ 0 h 346"/>
              <a:gd name="T22" fmla="*/ 0 w 124"/>
              <a:gd name="T23" fmla="*/ 0 h 346"/>
              <a:gd name="T24" fmla="*/ 1 w 124"/>
              <a:gd name="T25" fmla="*/ 1 h 346"/>
              <a:gd name="T26" fmla="*/ 0 w 124"/>
              <a:gd name="T27" fmla="*/ 4 h 34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4"/>
              <a:gd name="T43" fmla="*/ 0 h 346"/>
              <a:gd name="T44" fmla="*/ 124 w 124"/>
              <a:gd name="T45" fmla="*/ 346 h 34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4" h="346">
                <a:moveTo>
                  <a:pt x="0" y="189"/>
                </a:moveTo>
                <a:lnTo>
                  <a:pt x="16" y="209"/>
                </a:lnTo>
                <a:lnTo>
                  <a:pt x="64" y="228"/>
                </a:lnTo>
                <a:lnTo>
                  <a:pt x="61" y="292"/>
                </a:lnTo>
                <a:lnTo>
                  <a:pt x="100" y="346"/>
                </a:lnTo>
                <a:lnTo>
                  <a:pt x="124" y="248"/>
                </a:lnTo>
                <a:lnTo>
                  <a:pt x="84" y="182"/>
                </a:lnTo>
                <a:lnTo>
                  <a:pt x="95" y="219"/>
                </a:lnTo>
                <a:lnTo>
                  <a:pt x="72" y="217"/>
                </a:lnTo>
                <a:lnTo>
                  <a:pt x="47" y="128"/>
                </a:lnTo>
                <a:lnTo>
                  <a:pt x="46" y="9"/>
                </a:lnTo>
                <a:lnTo>
                  <a:pt x="10" y="0"/>
                </a:lnTo>
                <a:lnTo>
                  <a:pt x="38" y="58"/>
                </a:lnTo>
                <a:lnTo>
                  <a:pt x="0" y="18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9" name="Freeform 460"/>
          <p:cNvSpPr/>
          <p:nvPr/>
        </p:nvSpPr>
        <p:spPr bwMode="auto">
          <a:xfrm>
            <a:off x="1084580" y="3392805"/>
            <a:ext cx="484505" cy="493395"/>
          </a:xfrm>
          <a:custGeom>
            <a:avLst/>
            <a:gdLst>
              <a:gd name="T0" fmla="*/ 0 w 618"/>
              <a:gd name="T1" fmla="*/ 11 h 673"/>
              <a:gd name="T2" fmla="*/ 1 w 618"/>
              <a:gd name="T3" fmla="*/ 10 h 673"/>
              <a:gd name="T4" fmla="*/ 1 w 618"/>
              <a:gd name="T5" fmla="*/ 10 h 673"/>
              <a:gd name="T6" fmla="*/ 6 w 618"/>
              <a:gd name="T7" fmla="*/ 10 h 673"/>
              <a:gd name="T8" fmla="*/ 5 w 618"/>
              <a:gd name="T9" fmla="*/ 0 h 673"/>
              <a:gd name="T10" fmla="*/ 7 w 618"/>
              <a:gd name="T11" fmla="*/ 0 h 673"/>
              <a:gd name="T12" fmla="*/ 14 w 618"/>
              <a:gd name="T13" fmla="*/ 5 h 673"/>
              <a:gd name="T14" fmla="*/ 14 w 618"/>
              <a:gd name="T15" fmla="*/ 6 h 673"/>
              <a:gd name="T16" fmla="*/ 15 w 618"/>
              <a:gd name="T17" fmla="*/ 6 h 673"/>
              <a:gd name="T18" fmla="*/ 15 w 618"/>
              <a:gd name="T19" fmla="*/ 9 h 673"/>
              <a:gd name="T20" fmla="*/ 14 w 618"/>
              <a:gd name="T21" fmla="*/ 10 h 673"/>
              <a:gd name="T22" fmla="*/ 11 w 618"/>
              <a:gd name="T23" fmla="*/ 11 h 673"/>
              <a:gd name="T24" fmla="*/ 7 w 618"/>
              <a:gd name="T25" fmla="*/ 12 h 673"/>
              <a:gd name="T26" fmla="*/ 6 w 618"/>
              <a:gd name="T27" fmla="*/ 15 h 673"/>
              <a:gd name="T28" fmla="*/ 5 w 618"/>
              <a:gd name="T29" fmla="*/ 15 h 673"/>
              <a:gd name="T30" fmla="*/ 4 w 618"/>
              <a:gd name="T31" fmla="*/ 15 h 673"/>
              <a:gd name="T32" fmla="*/ 3 w 618"/>
              <a:gd name="T33" fmla="*/ 13 h 673"/>
              <a:gd name="T34" fmla="*/ 1 w 618"/>
              <a:gd name="T35" fmla="*/ 14 h 673"/>
              <a:gd name="T36" fmla="*/ 1 w 618"/>
              <a:gd name="T37" fmla="*/ 13 h 673"/>
              <a:gd name="T38" fmla="*/ 0 w 618"/>
              <a:gd name="T39" fmla="*/ 11 h 67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18"/>
              <a:gd name="T61" fmla="*/ 0 h 673"/>
              <a:gd name="T62" fmla="*/ 618 w 618"/>
              <a:gd name="T63" fmla="*/ 673 h 67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18" h="673">
                <a:moveTo>
                  <a:pt x="0" y="468"/>
                </a:moveTo>
                <a:lnTo>
                  <a:pt x="26" y="418"/>
                </a:lnTo>
                <a:lnTo>
                  <a:pt x="56" y="450"/>
                </a:lnTo>
                <a:lnTo>
                  <a:pt x="248" y="435"/>
                </a:lnTo>
                <a:lnTo>
                  <a:pt x="208" y="0"/>
                </a:lnTo>
                <a:lnTo>
                  <a:pt x="279" y="0"/>
                </a:lnTo>
                <a:lnTo>
                  <a:pt x="583" y="236"/>
                </a:lnTo>
                <a:lnTo>
                  <a:pt x="585" y="275"/>
                </a:lnTo>
                <a:lnTo>
                  <a:pt x="617" y="271"/>
                </a:lnTo>
                <a:lnTo>
                  <a:pt x="618" y="409"/>
                </a:lnTo>
                <a:lnTo>
                  <a:pt x="591" y="439"/>
                </a:lnTo>
                <a:lnTo>
                  <a:pt x="467" y="458"/>
                </a:lnTo>
                <a:lnTo>
                  <a:pt x="310" y="537"/>
                </a:lnTo>
                <a:lnTo>
                  <a:pt x="261" y="665"/>
                </a:lnTo>
                <a:lnTo>
                  <a:pt x="223" y="649"/>
                </a:lnTo>
                <a:lnTo>
                  <a:pt x="155" y="673"/>
                </a:lnTo>
                <a:lnTo>
                  <a:pt x="117" y="566"/>
                </a:lnTo>
                <a:lnTo>
                  <a:pt x="53" y="592"/>
                </a:lnTo>
                <a:lnTo>
                  <a:pt x="26" y="569"/>
                </a:lnTo>
                <a:lnTo>
                  <a:pt x="0" y="46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Freeform 461"/>
          <p:cNvSpPr/>
          <p:nvPr/>
        </p:nvSpPr>
        <p:spPr bwMode="auto">
          <a:xfrm>
            <a:off x="939165" y="3312160"/>
            <a:ext cx="363855" cy="423545"/>
          </a:xfrm>
          <a:custGeom>
            <a:avLst/>
            <a:gdLst>
              <a:gd name="T0" fmla="*/ 0 w 467"/>
              <a:gd name="T1" fmla="*/ 7 h 575"/>
              <a:gd name="T2" fmla="*/ 1 w 467"/>
              <a:gd name="T3" fmla="*/ 7 h 575"/>
              <a:gd name="T4" fmla="*/ 1 w 467"/>
              <a:gd name="T5" fmla="*/ 9 h 575"/>
              <a:gd name="T6" fmla="*/ 0 w 467"/>
              <a:gd name="T7" fmla="*/ 12 h 575"/>
              <a:gd name="T8" fmla="*/ 2 w 467"/>
              <a:gd name="T9" fmla="*/ 11 h 575"/>
              <a:gd name="T10" fmla="*/ 4 w 467"/>
              <a:gd name="T11" fmla="*/ 13 h 575"/>
              <a:gd name="T12" fmla="*/ 5 w 467"/>
              <a:gd name="T13" fmla="*/ 12 h 575"/>
              <a:gd name="T14" fmla="*/ 6 w 467"/>
              <a:gd name="T15" fmla="*/ 13 h 575"/>
              <a:gd name="T16" fmla="*/ 10 w 467"/>
              <a:gd name="T17" fmla="*/ 13 h 575"/>
              <a:gd name="T18" fmla="*/ 9 w 467"/>
              <a:gd name="T19" fmla="*/ 3 h 575"/>
              <a:gd name="T20" fmla="*/ 11 w 467"/>
              <a:gd name="T21" fmla="*/ 3 h 575"/>
              <a:gd name="T22" fmla="*/ 7 w 467"/>
              <a:gd name="T23" fmla="*/ 0 h 575"/>
              <a:gd name="T24" fmla="*/ 7 w 467"/>
              <a:gd name="T25" fmla="*/ 1 h 575"/>
              <a:gd name="T26" fmla="*/ 5 w 467"/>
              <a:gd name="T27" fmla="*/ 1 h 575"/>
              <a:gd name="T28" fmla="*/ 5 w 467"/>
              <a:gd name="T29" fmla="*/ 4 h 575"/>
              <a:gd name="T30" fmla="*/ 3 w 467"/>
              <a:gd name="T31" fmla="*/ 5 h 575"/>
              <a:gd name="T32" fmla="*/ 4 w 467"/>
              <a:gd name="T33" fmla="*/ 6 h 575"/>
              <a:gd name="T34" fmla="*/ 0 w 467"/>
              <a:gd name="T35" fmla="*/ 7 h 57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467"/>
              <a:gd name="T55" fmla="*/ 0 h 575"/>
              <a:gd name="T56" fmla="*/ 467 w 467"/>
              <a:gd name="T57" fmla="*/ 575 h 57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467" h="575">
                <a:moveTo>
                  <a:pt x="0" y="288"/>
                </a:moveTo>
                <a:lnTo>
                  <a:pt x="30" y="320"/>
                </a:lnTo>
                <a:lnTo>
                  <a:pt x="36" y="408"/>
                </a:lnTo>
                <a:lnTo>
                  <a:pt x="13" y="515"/>
                </a:lnTo>
                <a:lnTo>
                  <a:pt x="101" y="492"/>
                </a:lnTo>
                <a:lnTo>
                  <a:pt x="188" y="575"/>
                </a:lnTo>
                <a:lnTo>
                  <a:pt x="214" y="525"/>
                </a:lnTo>
                <a:lnTo>
                  <a:pt x="244" y="557"/>
                </a:lnTo>
                <a:lnTo>
                  <a:pt x="436" y="542"/>
                </a:lnTo>
                <a:lnTo>
                  <a:pt x="396" y="107"/>
                </a:lnTo>
                <a:lnTo>
                  <a:pt x="467" y="107"/>
                </a:lnTo>
                <a:lnTo>
                  <a:pt x="322" y="0"/>
                </a:lnTo>
                <a:lnTo>
                  <a:pt x="317" y="58"/>
                </a:lnTo>
                <a:lnTo>
                  <a:pt x="197" y="54"/>
                </a:lnTo>
                <a:lnTo>
                  <a:pt x="196" y="176"/>
                </a:lnTo>
                <a:lnTo>
                  <a:pt x="152" y="199"/>
                </a:lnTo>
                <a:lnTo>
                  <a:pt x="156" y="270"/>
                </a:lnTo>
                <a:lnTo>
                  <a:pt x="0" y="28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Freeform 462"/>
          <p:cNvSpPr/>
          <p:nvPr/>
        </p:nvSpPr>
        <p:spPr bwMode="auto">
          <a:xfrm>
            <a:off x="1059815" y="3012440"/>
            <a:ext cx="347345" cy="286385"/>
          </a:xfrm>
          <a:custGeom>
            <a:avLst/>
            <a:gdLst>
              <a:gd name="T0" fmla="*/ 0 w 447"/>
              <a:gd name="T1" fmla="*/ 9 h 392"/>
              <a:gd name="T2" fmla="*/ 3 w 447"/>
              <a:gd name="T3" fmla="*/ 7 h 392"/>
              <a:gd name="T4" fmla="*/ 3 w 447"/>
              <a:gd name="T5" fmla="*/ 3 h 392"/>
              <a:gd name="T6" fmla="*/ 6 w 447"/>
              <a:gd name="T7" fmla="*/ 2 h 392"/>
              <a:gd name="T8" fmla="*/ 6 w 447"/>
              <a:gd name="T9" fmla="*/ 0 h 392"/>
              <a:gd name="T10" fmla="*/ 9 w 447"/>
              <a:gd name="T11" fmla="*/ 1 h 392"/>
              <a:gd name="T12" fmla="*/ 10 w 447"/>
              <a:gd name="T13" fmla="*/ 4 h 392"/>
              <a:gd name="T14" fmla="*/ 9 w 447"/>
              <a:gd name="T15" fmla="*/ 4 h 392"/>
              <a:gd name="T16" fmla="*/ 8 w 447"/>
              <a:gd name="T17" fmla="*/ 4 h 392"/>
              <a:gd name="T18" fmla="*/ 8 w 447"/>
              <a:gd name="T19" fmla="*/ 5 h 392"/>
              <a:gd name="T20" fmla="*/ 4 w 447"/>
              <a:gd name="T21" fmla="*/ 7 h 392"/>
              <a:gd name="T22" fmla="*/ 4 w 447"/>
              <a:gd name="T23" fmla="*/ 9 h 392"/>
              <a:gd name="T24" fmla="*/ 0 w 447"/>
              <a:gd name="T25" fmla="*/ 9 h 39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47"/>
              <a:gd name="T40" fmla="*/ 0 h 392"/>
              <a:gd name="T41" fmla="*/ 447 w 447"/>
              <a:gd name="T42" fmla="*/ 392 h 39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47" h="392">
                <a:moveTo>
                  <a:pt x="0" y="387"/>
                </a:moveTo>
                <a:lnTo>
                  <a:pt x="109" y="311"/>
                </a:lnTo>
                <a:lnTo>
                  <a:pt x="149" y="157"/>
                </a:lnTo>
                <a:lnTo>
                  <a:pt x="242" y="77"/>
                </a:lnTo>
                <a:lnTo>
                  <a:pt x="273" y="0"/>
                </a:lnTo>
                <a:lnTo>
                  <a:pt x="409" y="26"/>
                </a:lnTo>
                <a:lnTo>
                  <a:pt x="447" y="172"/>
                </a:lnTo>
                <a:lnTo>
                  <a:pt x="387" y="175"/>
                </a:lnTo>
                <a:lnTo>
                  <a:pt x="352" y="192"/>
                </a:lnTo>
                <a:lnTo>
                  <a:pt x="359" y="230"/>
                </a:lnTo>
                <a:lnTo>
                  <a:pt x="184" y="317"/>
                </a:lnTo>
                <a:lnTo>
                  <a:pt x="163" y="392"/>
                </a:lnTo>
                <a:lnTo>
                  <a:pt x="0" y="38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Freeform 463"/>
          <p:cNvSpPr/>
          <p:nvPr/>
        </p:nvSpPr>
        <p:spPr bwMode="auto">
          <a:xfrm>
            <a:off x="2339975" y="4557395"/>
            <a:ext cx="311150" cy="545465"/>
          </a:xfrm>
          <a:custGeom>
            <a:avLst/>
            <a:gdLst>
              <a:gd name="T0" fmla="*/ 0 w 398"/>
              <a:gd name="T1" fmla="*/ 5 h 739"/>
              <a:gd name="T2" fmla="*/ 0 w 398"/>
              <a:gd name="T3" fmla="*/ 5 h 739"/>
              <a:gd name="T4" fmla="*/ 2 w 398"/>
              <a:gd name="T5" fmla="*/ 6 h 739"/>
              <a:gd name="T6" fmla="*/ 3 w 398"/>
              <a:gd name="T7" fmla="*/ 7 h 739"/>
              <a:gd name="T8" fmla="*/ 3 w 398"/>
              <a:gd name="T9" fmla="*/ 10 h 739"/>
              <a:gd name="T10" fmla="*/ 1 w 398"/>
              <a:gd name="T11" fmla="*/ 13 h 739"/>
              <a:gd name="T12" fmla="*/ 2 w 398"/>
              <a:gd name="T13" fmla="*/ 16 h 739"/>
              <a:gd name="T14" fmla="*/ 2 w 398"/>
              <a:gd name="T15" fmla="*/ 17 h 739"/>
              <a:gd name="T16" fmla="*/ 3 w 398"/>
              <a:gd name="T17" fmla="*/ 17 h 739"/>
              <a:gd name="T18" fmla="*/ 3 w 398"/>
              <a:gd name="T19" fmla="*/ 16 h 739"/>
              <a:gd name="T20" fmla="*/ 5 w 398"/>
              <a:gd name="T21" fmla="*/ 15 h 739"/>
              <a:gd name="T22" fmla="*/ 4 w 398"/>
              <a:gd name="T23" fmla="*/ 10 h 739"/>
              <a:gd name="T24" fmla="*/ 9 w 398"/>
              <a:gd name="T25" fmla="*/ 5 h 739"/>
              <a:gd name="T26" fmla="*/ 9 w 398"/>
              <a:gd name="T27" fmla="*/ 0 h 739"/>
              <a:gd name="T28" fmla="*/ 8 w 398"/>
              <a:gd name="T29" fmla="*/ 1 h 739"/>
              <a:gd name="T30" fmla="*/ 4 w 398"/>
              <a:gd name="T31" fmla="*/ 1 h 739"/>
              <a:gd name="T32" fmla="*/ 4 w 398"/>
              <a:gd name="T33" fmla="*/ 3 h 739"/>
              <a:gd name="T34" fmla="*/ 5 w 398"/>
              <a:gd name="T35" fmla="*/ 5 h 739"/>
              <a:gd name="T36" fmla="*/ 5 w 398"/>
              <a:gd name="T37" fmla="*/ 7 h 739"/>
              <a:gd name="T38" fmla="*/ 4 w 398"/>
              <a:gd name="T39" fmla="*/ 6 h 739"/>
              <a:gd name="T40" fmla="*/ 4 w 398"/>
              <a:gd name="T41" fmla="*/ 4 h 739"/>
              <a:gd name="T42" fmla="*/ 3 w 398"/>
              <a:gd name="T43" fmla="*/ 4 h 739"/>
              <a:gd name="T44" fmla="*/ 0 w 398"/>
              <a:gd name="T45" fmla="*/ 5 h 73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98"/>
              <a:gd name="T70" fmla="*/ 0 h 739"/>
              <a:gd name="T71" fmla="*/ 398 w 398"/>
              <a:gd name="T72" fmla="*/ 739 h 73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98" h="739">
                <a:moveTo>
                  <a:pt x="0" y="206"/>
                </a:moveTo>
                <a:lnTo>
                  <a:pt x="8" y="230"/>
                </a:lnTo>
                <a:lnTo>
                  <a:pt x="102" y="263"/>
                </a:lnTo>
                <a:lnTo>
                  <a:pt x="113" y="310"/>
                </a:lnTo>
                <a:lnTo>
                  <a:pt x="105" y="428"/>
                </a:lnTo>
                <a:lnTo>
                  <a:pt x="57" y="549"/>
                </a:lnTo>
                <a:lnTo>
                  <a:pt x="73" y="693"/>
                </a:lnTo>
                <a:lnTo>
                  <a:pt x="77" y="739"/>
                </a:lnTo>
                <a:lnTo>
                  <a:pt x="104" y="739"/>
                </a:lnTo>
                <a:lnTo>
                  <a:pt x="104" y="689"/>
                </a:lnTo>
                <a:lnTo>
                  <a:pt x="205" y="622"/>
                </a:lnTo>
                <a:lnTo>
                  <a:pt x="175" y="428"/>
                </a:lnTo>
                <a:lnTo>
                  <a:pt x="396" y="229"/>
                </a:lnTo>
                <a:lnTo>
                  <a:pt x="398" y="0"/>
                </a:lnTo>
                <a:lnTo>
                  <a:pt x="342" y="39"/>
                </a:lnTo>
                <a:lnTo>
                  <a:pt x="188" y="52"/>
                </a:lnTo>
                <a:lnTo>
                  <a:pt x="187" y="134"/>
                </a:lnTo>
                <a:lnTo>
                  <a:pt x="227" y="200"/>
                </a:lnTo>
                <a:lnTo>
                  <a:pt x="203" y="298"/>
                </a:lnTo>
                <a:lnTo>
                  <a:pt x="164" y="244"/>
                </a:lnTo>
                <a:lnTo>
                  <a:pt x="167" y="180"/>
                </a:lnTo>
                <a:lnTo>
                  <a:pt x="119" y="161"/>
                </a:lnTo>
                <a:lnTo>
                  <a:pt x="0" y="20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Freeform 464"/>
          <p:cNvSpPr/>
          <p:nvPr/>
        </p:nvSpPr>
        <p:spPr bwMode="auto">
          <a:xfrm>
            <a:off x="1451610" y="3444240"/>
            <a:ext cx="473075" cy="392430"/>
          </a:xfrm>
          <a:custGeom>
            <a:avLst/>
            <a:gdLst>
              <a:gd name="T0" fmla="*/ 0 w 607"/>
              <a:gd name="T1" fmla="*/ 9 h 535"/>
              <a:gd name="T2" fmla="*/ 0 w 607"/>
              <a:gd name="T3" fmla="*/ 10 h 535"/>
              <a:gd name="T4" fmla="*/ 2 w 607"/>
              <a:gd name="T5" fmla="*/ 12 h 535"/>
              <a:gd name="T6" fmla="*/ 2 w 607"/>
              <a:gd name="T7" fmla="*/ 12 h 535"/>
              <a:gd name="T8" fmla="*/ 3 w 607"/>
              <a:gd name="T9" fmla="*/ 12 h 535"/>
              <a:gd name="T10" fmla="*/ 4 w 607"/>
              <a:gd name="T11" fmla="*/ 10 h 535"/>
              <a:gd name="T12" fmla="*/ 8 w 607"/>
              <a:gd name="T13" fmla="*/ 11 h 535"/>
              <a:gd name="T14" fmla="*/ 11 w 607"/>
              <a:gd name="T15" fmla="*/ 10 h 535"/>
              <a:gd name="T16" fmla="*/ 12 w 607"/>
              <a:gd name="T17" fmla="*/ 10 h 535"/>
              <a:gd name="T18" fmla="*/ 13 w 607"/>
              <a:gd name="T19" fmla="*/ 7 h 535"/>
              <a:gd name="T20" fmla="*/ 14 w 607"/>
              <a:gd name="T21" fmla="*/ 3 h 535"/>
              <a:gd name="T22" fmla="*/ 13 w 607"/>
              <a:gd name="T23" fmla="*/ 2 h 535"/>
              <a:gd name="T24" fmla="*/ 13 w 607"/>
              <a:gd name="T25" fmla="*/ 1 h 535"/>
              <a:gd name="T26" fmla="*/ 10 w 607"/>
              <a:gd name="T27" fmla="*/ 0 h 535"/>
              <a:gd name="T28" fmla="*/ 5 w 607"/>
              <a:gd name="T29" fmla="*/ 4 h 535"/>
              <a:gd name="T30" fmla="*/ 3 w 607"/>
              <a:gd name="T31" fmla="*/ 5 h 535"/>
              <a:gd name="T32" fmla="*/ 3 w 607"/>
              <a:gd name="T33" fmla="*/ 8 h 535"/>
              <a:gd name="T34" fmla="*/ 3 w 607"/>
              <a:gd name="T35" fmla="*/ 9 h 535"/>
              <a:gd name="T36" fmla="*/ 0 w 607"/>
              <a:gd name="T37" fmla="*/ 9 h 53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07"/>
              <a:gd name="T58" fmla="*/ 0 h 535"/>
              <a:gd name="T59" fmla="*/ 607 w 607"/>
              <a:gd name="T60" fmla="*/ 535 h 53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07" h="535">
                <a:moveTo>
                  <a:pt x="0" y="389"/>
                </a:moveTo>
                <a:lnTo>
                  <a:pt x="8" y="431"/>
                </a:lnTo>
                <a:lnTo>
                  <a:pt x="79" y="524"/>
                </a:lnTo>
                <a:lnTo>
                  <a:pt x="100" y="505"/>
                </a:lnTo>
                <a:lnTo>
                  <a:pt x="129" y="535"/>
                </a:lnTo>
                <a:lnTo>
                  <a:pt x="178" y="442"/>
                </a:lnTo>
                <a:lnTo>
                  <a:pt x="349" y="489"/>
                </a:lnTo>
                <a:lnTo>
                  <a:pt x="498" y="440"/>
                </a:lnTo>
                <a:lnTo>
                  <a:pt x="504" y="418"/>
                </a:lnTo>
                <a:lnTo>
                  <a:pt x="579" y="300"/>
                </a:lnTo>
                <a:lnTo>
                  <a:pt x="607" y="142"/>
                </a:lnTo>
                <a:lnTo>
                  <a:pt x="568" y="92"/>
                </a:lnTo>
                <a:lnTo>
                  <a:pt x="568" y="23"/>
                </a:lnTo>
                <a:lnTo>
                  <a:pt x="438" y="0"/>
                </a:lnTo>
                <a:lnTo>
                  <a:pt x="209" y="185"/>
                </a:lnTo>
                <a:lnTo>
                  <a:pt x="150" y="202"/>
                </a:lnTo>
                <a:lnTo>
                  <a:pt x="151" y="340"/>
                </a:lnTo>
                <a:lnTo>
                  <a:pt x="124" y="370"/>
                </a:lnTo>
                <a:lnTo>
                  <a:pt x="0" y="389"/>
                </a:lnTo>
                <a:close/>
              </a:path>
            </a:pathLst>
          </a:custGeom>
          <a:solidFill>
            <a:srgbClr val="9EC1D3"/>
          </a:solidFill>
          <a:ln w="12700" cmpd="sng">
            <a:noFill/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Freeform 466"/>
          <p:cNvSpPr/>
          <p:nvPr/>
        </p:nvSpPr>
        <p:spPr bwMode="auto">
          <a:xfrm>
            <a:off x="945515" y="3803015"/>
            <a:ext cx="90805" cy="59690"/>
          </a:xfrm>
          <a:custGeom>
            <a:avLst/>
            <a:gdLst>
              <a:gd name="T0" fmla="*/ 0 w 117"/>
              <a:gd name="T1" fmla="*/ 0 h 79"/>
              <a:gd name="T2" fmla="*/ 1 w 117"/>
              <a:gd name="T3" fmla="*/ 1 h 79"/>
              <a:gd name="T4" fmla="*/ 2 w 117"/>
              <a:gd name="T5" fmla="*/ 1 h 79"/>
              <a:gd name="T6" fmla="*/ 1 w 117"/>
              <a:gd name="T7" fmla="*/ 1 h 79"/>
              <a:gd name="T8" fmla="*/ 1 w 117"/>
              <a:gd name="T9" fmla="*/ 2 h 79"/>
              <a:gd name="T10" fmla="*/ 3 w 117"/>
              <a:gd name="T11" fmla="*/ 1 h 79"/>
              <a:gd name="T12" fmla="*/ 3 w 117"/>
              <a:gd name="T13" fmla="*/ 0 h 79"/>
              <a:gd name="T14" fmla="*/ 0 w 117"/>
              <a:gd name="T15" fmla="*/ 0 h 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7"/>
              <a:gd name="T25" fmla="*/ 0 h 79"/>
              <a:gd name="T26" fmla="*/ 117 w 117"/>
              <a:gd name="T27" fmla="*/ 79 h 7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7" h="79">
                <a:moveTo>
                  <a:pt x="0" y="9"/>
                </a:moveTo>
                <a:lnTo>
                  <a:pt x="38" y="44"/>
                </a:lnTo>
                <a:lnTo>
                  <a:pt x="72" y="33"/>
                </a:lnTo>
                <a:lnTo>
                  <a:pt x="54" y="44"/>
                </a:lnTo>
                <a:lnTo>
                  <a:pt x="68" y="79"/>
                </a:lnTo>
                <a:lnTo>
                  <a:pt x="114" y="44"/>
                </a:lnTo>
                <a:lnTo>
                  <a:pt x="117" y="0"/>
                </a:lnTo>
                <a:lnTo>
                  <a:pt x="0" y="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Freeform 467"/>
          <p:cNvSpPr/>
          <p:nvPr/>
        </p:nvSpPr>
        <p:spPr bwMode="auto">
          <a:xfrm>
            <a:off x="2957195" y="3350260"/>
            <a:ext cx="16510" cy="56515"/>
          </a:xfrm>
          <a:custGeom>
            <a:avLst/>
            <a:gdLst>
              <a:gd name="T0" fmla="*/ 0 w 22"/>
              <a:gd name="T1" fmla="*/ 1 h 74"/>
              <a:gd name="T2" fmla="*/ 0 w 22"/>
              <a:gd name="T3" fmla="*/ 2 h 74"/>
              <a:gd name="T4" fmla="*/ 1 w 22"/>
              <a:gd name="T5" fmla="*/ 2 h 74"/>
              <a:gd name="T6" fmla="*/ 0 w 22"/>
              <a:gd name="T7" fmla="*/ 0 h 74"/>
              <a:gd name="T8" fmla="*/ 0 w 22"/>
              <a:gd name="T9" fmla="*/ 1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"/>
              <a:gd name="T16" fmla="*/ 0 h 74"/>
              <a:gd name="T17" fmla="*/ 22 w 22"/>
              <a:gd name="T18" fmla="*/ 74 h 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" h="74">
                <a:moveTo>
                  <a:pt x="0" y="61"/>
                </a:moveTo>
                <a:lnTo>
                  <a:pt x="10" y="74"/>
                </a:lnTo>
                <a:lnTo>
                  <a:pt x="22" y="70"/>
                </a:lnTo>
                <a:lnTo>
                  <a:pt x="12" y="0"/>
                </a:lnTo>
                <a:lnTo>
                  <a:pt x="0" y="61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Freeform 468"/>
          <p:cNvSpPr/>
          <p:nvPr/>
        </p:nvSpPr>
        <p:spPr bwMode="auto">
          <a:xfrm>
            <a:off x="2309495" y="4249420"/>
            <a:ext cx="51435" cy="54610"/>
          </a:xfrm>
          <a:custGeom>
            <a:avLst/>
            <a:gdLst>
              <a:gd name="T0" fmla="*/ 0 w 66"/>
              <a:gd name="T1" fmla="*/ 2 h 72"/>
              <a:gd name="T2" fmla="*/ 1 w 66"/>
              <a:gd name="T3" fmla="*/ 0 h 72"/>
              <a:gd name="T4" fmla="*/ 1 w 66"/>
              <a:gd name="T5" fmla="*/ 0 h 72"/>
              <a:gd name="T6" fmla="*/ 1 w 66"/>
              <a:gd name="T7" fmla="*/ 1 h 72"/>
              <a:gd name="T8" fmla="*/ 0 w 66"/>
              <a:gd name="T9" fmla="*/ 2 h 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6"/>
              <a:gd name="T16" fmla="*/ 0 h 72"/>
              <a:gd name="T17" fmla="*/ 66 w 66"/>
              <a:gd name="T18" fmla="*/ 72 h 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6" h="72">
                <a:moveTo>
                  <a:pt x="0" y="72"/>
                </a:moveTo>
                <a:lnTo>
                  <a:pt x="29" y="12"/>
                </a:lnTo>
                <a:lnTo>
                  <a:pt x="56" y="0"/>
                </a:lnTo>
                <a:lnTo>
                  <a:pt x="66" y="57"/>
                </a:lnTo>
                <a:lnTo>
                  <a:pt x="0" y="7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Freeform 469"/>
          <p:cNvSpPr/>
          <p:nvPr/>
        </p:nvSpPr>
        <p:spPr bwMode="auto">
          <a:xfrm>
            <a:off x="922655" y="3674110"/>
            <a:ext cx="183515" cy="133985"/>
          </a:xfrm>
          <a:custGeom>
            <a:avLst/>
            <a:gdLst>
              <a:gd name="T0" fmla="*/ 0 w 233"/>
              <a:gd name="T1" fmla="*/ 2 h 184"/>
              <a:gd name="T2" fmla="*/ 1 w 233"/>
              <a:gd name="T3" fmla="*/ 3 h 184"/>
              <a:gd name="T4" fmla="*/ 3 w 233"/>
              <a:gd name="T5" fmla="*/ 3 h 184"/>
              <a:gd name="T6" fmla="*/ 1 w 233"/>
              <a:gd name="T7" fmla="*/ 4 h 184"/>
              <a:gd name="T8" fmla="*/ 1 w 233"/>
              <a:gd name="T9" fmla="*/ 4 h 184"/>
              <a:gd name="T10" fmla="*/ 3 w 233"/>
              <a:gd name="T11" fmla="*/ 4 h 184"/>
              <a:gd name="T12" fmla="*/ 5 w 233"/>
              <a:gd name="T13" fmla="*/ 4 h 184"/>
              <a:gd name="T14" fmla="*/ 5 w 233"/>
              <a:gd name="T15" fmla="*/ 2 h 184"/>
              <a:gd name="T16" fmla="*/ 3 w 233"/>
              <a:gd name="T17" fmla="*/ 0 h 184"/>
              <a:gd name="T18" fmla="*/ 1 w 233"/>
              <a:gd name="T19" fmla="*/ 1 h 184"/>
              <a:gd name="T20" fmla="*/ 0 w 233"/>
              <a:gd name="T21" fmla="*/ 2 h 1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33"/>
              <a:gd name="T34" fmla="*/ 0 h 184"/>
              <a:gd name="T35" fmla="*/ 233 w 233"/>
              <a:gd name="T36" fmla="*/ 184 h 1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33" h="184">
                <a:moveTo>
                  <a:pt x="0" y="83"/>
                </a:moveTo>
                <a:lnTo>
                  <a:pt x="32" y="134"/>
                </a:lnTo>
                <a:lnTo>
                  <a:pt x="139" y="143"/>
                </a:lnTo>
                <a:lnTo>
                  <a:pt x="25" y="160"/>
                </a:lnTo>
                <a:lnTo>
                  <a:pt x="25" y="184"/>
                </a:lnTo>
                <a:lnTo>
                  <a:pt x="142" y="175"/>
                </a:lnTo>
                <a:lnTo>
                  <a:pt x="233" y="184"/>
                </a:lnTo>
                <a:lnTo>
                  <a:pt x="207" y="83"/>
                </a:lnTo>
                <a:lnTo>
                  <a:pt x="120" y="0"/>
                </a:lnTo>
                <a:lnTo>
                  <a:pt x="32" y="23"/>
                </a:lnTo>
                <a:lnTo>
                  <a:pt x="0" y="8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9" name="Freeform 470"/>
          <p:cNvSpPr/>
          <p:nvPr/>
        </p:nvSpPr>
        <p:spPr bwMode="auto">
          <a:xfrm>
            <a:off x="1051560" y="3895725"/>
            <a:ext cx="92710" cy="95885"/>
          </a:xfrm>
          <a:custGeom>
            <a:avLst/>
            <a:gdLst>
              <a:gd name="T0" fmla="*/ 0 w 116"/>
              <a:gd name="T1" fmla="*/ 1 h 133"/>
              <a:gd name="T2" fmla="*/ 0 w 116"/>
              <a:gd name="T3" fmla="*/ 2 h 133"/>
              <a:gd name="T4" fmla="*/ 2 w 116"/>
              <a:gd name="T5" fmla="*/ 3 h 133"/>
              <a:gd name="T6" fmla="*/ 3 w 116"/>
              <a:gd name="T7" fmla="*/ 1 h 133"/>
              <a:gd name="T8" fmla="*/ 2 w 116"/>
              <a:gd name="T9" fmla="*/ 0 h 133"/>
              <a:gd name="T10" fmla="*/ 0 w 116"/>
              <a:gd name="T11" fmla="*/ 1 h 1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6"/>
              <a:gd name="T19" fmla="*/ 0 h 133"/>
              <a:gd name="T20" fmla="*/ 116 w 116"/>
              <a:gd name="T21" fmla="*/ 133 h 1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6" h="133">
                <a:moveTo>
                  <a:pt x="0" y="37"/>
                </a:moveTo>
                <a:lnTo>
                  <a:pt x="11" y="89"/>
                </a:lnTo>
                <a:lnTo>
                  <a:pt x="67" y="133"/>
                </a:lnTo>
                <a:lnTo>
                  <a:pt x="116" y="66"/>
                </a:lnTo>
                <a:lnTo>
                  <a:pt x="76" y="0"/>
                </a:lnTo>
                <a:lnTo>
                  <a:pt x="0" y="3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0" name="Freeform 471"/>
          <p:cNvSpPr/>
          <p:nvPr/>
        </p:nvSpPr>
        <p:spPr bwMode="auto">
          <a:xfrm>
            <a:off x="2667635" y="3828415"/>
            <a:ext cx="302895" cy="443865"/>
          </a:xfrm>
          <a:custGeom>
            <a:avLst/>
            <a:gdLst>
              <a:gd name="T0" fmla="*/ 0 w 390"/>
              <a:gd name="T1" fmla="*/ 13 h 602"/>
              <a:gd name="T2" fmla="*/ 0 w 390"/>
              <a:gd name="T3" fmla="*/ 9 h 602"/>
              <a:gd name="T4" fmla="*/ 1 w 390"/>
              <a:gd name="T5" fmla="*/ 8 h 602"/>
              <a:gd name="T6" fmla="*/ 3 w 390"/>
              <a:gd name="T7" fmla="*/ 7 h 602"/>
              <a:gd name="T8" fmla="*/ 6 w 390"/>
              <a:gd name="T9" fmla="*/ 4 h 602"/>
              <a:gd name="T10" fmla="*/ 3 w 390"/>
              <a:gd name="T11" fmla="*/ 3 h 602"/>
              <a:gd name="T12" fmla="*/ 2 w 390"/>
              <a:gd name="T13" fmla="*/ 1 h 602"/>
              <a:gd name="T14" fmla="*/ 2 w 390"/>
              <a:gd name="T15" fmla="*/ 1 h 602"/>
              <a:gd name="T16" fmla="*/ 3 w 390"/>
              <a:gd name="T17" fmla="*/ 2 h 602"/>
              <a:gd name="T18" fmla="*/ 9 w 390"/>
              <a:gd name="T19" fmla="*/ 0 h 602"/>
              <a:gd name="T20" fmla="*/ 9 w 390"/>
              <a:gd name="T21" fmla="*/ 2 h 602"/>
              <a:gd name="T22" fmla="*/ 6 w 390"/>
              <a:gd name="T23" fmla="*/ 8 h 602"/>
              <a:gd name="T24" fmla="*/ 1 w 390"/>
              <a:gd name="T25" fmla="*/ 14 h 602"/>
              <a:gd name="T26" fmla="*/ 0 w 390"/>
              <a:gd name="T27" fmla="*/ 13 h 60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0"/>
              <a:gd name="T43" fmla="*/ 0 h 602"/>
              <a:gd name="T44" fmla="*/ 390 w 390"/>
              <a:gd name="T45" fmla="*/ 602 h 60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0" h="602">
                <a:moveTo>
                  <a:pt x="0" y="565"/>
                </a:moveTo>
                <a:lnTo>
                  <a:pt x="0" y="403"/>
                </a:lnTo>
                <a:lnTo>
                  <a:pt x="32" y="354"/>
                </a:lnTo>
                <a:lnTo>
                  <a:pt x="151" y="305"/>
                </a:lnTo>
                <a:lnTo>
                  <a:pt x="268" y="173"/>
                </a:lnTo>
                <a:lnTo>
                  <a:pt x="115" y="128"/>
                </a:lnTo>
                <a:lnTo>
                  <a:pt x="71" y="48"/>
                </a:lnTo>
                <a:lnTo>
                  <a:pt x="84" y="23"/>
                </a:lnTo>
                <a:lnTo>
                  <a:pt x="145" y="70"/>
                </a:lnTo>
                <a:lnTo>
                  <a:pt x="373" y="0"/>
                </a:lnTo>
                <a:lnTo>
                  <a:pt x="390" y="70"/>
                </a:lnTo>
                <a:lnTo>
                  <a:pt x="255" y="351"/>
                </a:lnTo>
                <a:lnTo>
                  <a:pt x="20" y="602"/>
                </a:lnTo>
                <a:lnTo>
                  <a:pt x="0" y="56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1" name="Freeform 472"/>
          <p:cNvSpPr/>
          <p:nvPr/>
        </p:nvSpPr>
        <p:spPr bwMode="auto">
          <a:xfrm>
            <a:off x="2192020" y="4727575"/>
            <a:ext cx="234950" cy="234950"/>
          </a:xfrm>
          <a:custGeom>
            <a:avLst/>
            <a:gdLst>
              <a:gd name="T0" fmla="*/ 0 w 301"/>
              <a:gd name="T1" fmla="*/ 2 h 319"/>
              <a:gd name="T2" fmla="*/ 1 w 301"/>
              <a:gd name="T3" fmla="*/ 2 h 319"/>
              <a:gd name="T4" fmla="*/ 3 w 301"/>
              <a:gd name="T5" fmla="*/ 1 h 319"/>
              <a:gd name="T6" fmla="*/ 3 w 301"/>
              <a:gd name="T7" fmla="*/ 0 h 319"/>
              <a:gd name="T8" fmla="*/ 5 w 301"/>
              <a:gd name="T9" fmla="*/ 0 h 319"/>
              <a:gd name="T10" fmla="*/ 7 w 301"/>
              <a:gd name="T11" fmla="*/ 1 h 319"/>
              <a:gd name="T12" fmla="*/ 7 w 301"/>
              <a:gd name="T13" fmla="*/ 2 h 319"/>
              <a:gd name="T14" fmla="*/ 7 w 301"/>
              <a:gd name="T15" fmla="*/ 5 h 319"/>
              <a:gd name="T16" fmla="*/ 6 w 301"/>
              <a:gd name="T17" fmla="*/ 7 h 319"/>
              <a:gd name="T18" fmla="*/ 4 w 301"/>
              <a:gd name="T19" fmla="*/ 7 h 319"/>
              <a:gd name="T20" fmla="*/ 3 w 301"/>
              <a:gd name="T21" fmla="*/ 6 h 319"/>
              <a:gd name="T22" fmla="*/ 0 w 301"/>
              <a:gd name="T23" fmla="*/ 2 h 3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01"/>
              <a:gd name="T37" fmla="*/ 0 h 319"/>
              <a:gd name="T38" fmla="*/ 301 w 301"/>
              <a:gd name="T39" fmla="*/ 319 h 3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01" h="319">
                <a:moveTo>
                  <a:pt x="0" y="99"/>
                </a:moveTo>
                <a:lnTo>
                  <a:pt x="66" y="100"/>
                </a:lnTo>
                <a:lnTo>
                  <a:pt x="133" y="41"/>
                </a:lnTo>
                <a:lnTo>
                  <a:pt x="135" y="14"/>
                </a:lnTo>
                <a:lnTo>
                  <a:pt x="196" y="0"/>
                </a:lnTo>
                <a:lnTo>
                  <a:pt x="290" y="33"/>
                </a:lnTo>
                <a:lnTo>
                  <a:pt x="301" y="80"/>
                </a:lnTo>
                <a:lnTo>
                  <a:pt x="293" y="198"/>
                </a:lnTo>
                <a:lnTo>
                  <a:pt x="245" y="319"/>
                </a:lnTo>
                <a:lnTo>
                  <a:pt x="157" y="296"/>
                </a:lnTo>
                <a:lnTo>
                  <a:pt x="105" y="268"/>
                </a:lnTo>
                <a:lnTo>
                  <a:pt x="0" y="9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2" name="Freeform 473"/>
          <p:cNvSpPr/>
          <p:nvPr/>
        </p:nvSpPr>
        <p:spPr bwMode="auto">
          <a:xfrm>
            <a:off x="1787525" y="4768850"/>
            <a:ext cx="405130" cy="415290"/>
          </a:xfrm>
          <a:custGeom>
            <a:avLst/>
            <a:gdLst>
              <a:gd name="T0" fmla="*/ 0 w 520"/>
              <a:gd name="T1" fmla="*/ 0 h 565"/>
              <a:gd name="T2" fmla="*/ 1 w 520"/>
              <a:gd name="T3" fmla="*/ 0 h 565"/>
              <a:gd name="T4" fmla="*/ 9 w 520"/>
              <a:gd name="T5" fmla="*/ 1 h 565"/>
              <a:gd name="T6" fmla="*/ 10 w 520"/>
              <a:gd name="T7" fmla="*/ 1 h 565"/>
              <a:gd name="T8" fmla="*/ 12 w 520"/>
              <a:gd name="T9" fmla="*/ 1 h 565"/>
              <a:gd name="T10" fmla="*/ 11 w 520"/>
              <a:gd name="T11" fmla="*/ 2 h 565"/>
              <a:gd name="T12" fmla="*/ 10 w 520"/>
              <a:gd name="T13" fmla="*/ 1 h 565"/>
              <a:gd name="T14" fmla="*/ 8 w 520"/>
              <a:gd name="T15" fmla="*/ 2 h 565"/>
              <a:gd name="T16" fmla="*/ 8 w 520"/>
              <a:gd name="T17" fmla="*/ 5 h 565"/>
              <a:gd name="T18" fmla="*/ 7 w 520"/>
              <a:gd name="T19" fmla="*/ 5 h 565"/>
              <a:gd name="T20" fmla="*/ 7 w 520"/>
              <a:gd name="T21" fmla="*/ 8 h 565"/>
              <a:gd name="T22" fmla="*/ 7 w 520"/>
              <a:gd name="T23" fmla="*/ 13 h 565"/>
              <a:gd name="T24" fmla="*/ 7 w 520"/>
              <a:gd name="T25" fmla="*/ 13 h 565"/>
              <a:gd name="T26" fmla="*/ 5 w 520"/>
              <a:gd name="T27" fmla="*/ 13 h 565"/>
              <a:gd name="T28" fmla="*/ 5 w 520"/>
              <a:gd name="T29" fmla="*/ 12 h 565"/>
              <a:gd name="T30" fmla="*/ 4 w 520"/>
              <a:gd name="T31" fmla="*/ 13 h 565"/>
              <a:gd name="T32" fmla="*/ 3 w 520"/>
              <a:gd name="T33" fmla="*/ 11 h 565"/>
              <a:gd name="T34" fmla="*/ 3 w 520"/>
              <a:gd name="T35" fmla="*/ 7 h 565"/>
              <a:gd name="T36" fmla="*/ 3 w 520"/>
              <a:gd name="T37" fmla="*/ 6 h 565"/>
              <a:gd name="T38" fmla="*/ 0 w 520"/>
              <a:gd name="T39" fmla="*/ 0 h 56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20"/>
              <a:gd name="T61" fmla="*/ 0 h 565"/>
              <a:gd name="T62" fmla="*/ 520 w 520"/>
              <a:gd name="T63" fmla="*/ 565 h 56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20" h="565">
                <a:moveTo>
                  <a:pt x="0" y="19"/>
                </a:moveTo>
                <a:lnTo>
                  <a:pt x="63" y="0"/>
                </a:lnTo>
                <a:lnTo>
                  <a:pt x="376" y="54"/>
                </a:lnTo>
                <a:lnTo>
                  <a:pt x="446" y="28"/>
                </a:lnTo>
                <a:lnTo>
                  <a:pt x="520" y="42"/>
                </a:lnTo>
                <a:lnTo>
                  <a:pt x="457" y="81"/>
                </a:lnTo>
                <a:lnTo>
                  <a:pt x="434" y="54"/>
                </a:lnTo>
                <a:lnTo>
                  <a:pt x="359" y="72"/>
                </a:lnTo>
                <a:lnTo>
                  <a:pt x="359" y="230"/>
                </a:lnTo>
                <a:lnTo>
                  <a:pt x="319" y="233"/>
                </a:lnTo>
                <a:lnTo>
                  <a:pt x="319" y="356"/>
                </a:lnTo>
                <a:lnTo>
                  <a:pt x="319" y="537"/>
                </a:lnTo>
                <a:lnTo>
                  <a:pt x="286" y="565"/>
                </a:lnTo>
                <a:lnTo>
                  <a:pt x="236" y="565"/>
                </a:lnTo>
                <a:lnTo>
                  <a:pt x="210" y="525"/>
                </a:lnTo>
                <a:lnTo>
                  <a:pt x="188" y="547"/>
                </a:lnTo>
                <a:lnTo>
                  <a:pt x="137" y="486"/>
                </a:lnTo>
                <a:lnTo>
                  <a:pt x="113" y="288"/>
                </a:lnTo>
                <a:lnTo>
                  <a:pt x="113" y="264"/>
                </a:lnTo>
                <a:lnTo>
                  <a:pt x="0" y="19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3" name="Freeform 474"/>
          <p:cNvSpPr/>
          <p:nvPr/>
        </p:nvSpPr>
        <p:spPr bwMode="auto">
          <a:xfrm>
            <a:off x="939165" y="3296920"/>
            <a:ext cx="251460" cy="227965"/>
          </a:xfrm>
          <a:custGeom>
            <a:avLst/>
            <a:gdLst>
              <a:gd name="T0" fmla="*/ 0 w 322"/>
              <a:gd name="T1" fmla="*/ 7 h 310"/>
              <a:gd name="T2" fmla="*/ 4 w 322"/>
              <a:gd name="T3" fmla="*/ 0 h 310"/>
              <a:gd name="T4" fmla="*/ 7 w 322"/>
              <a:gd name="T5" fmla="*/ 0 h 310"/>
              <a:gd name="T6" fmla="*/ 7 w 322"/>
              <a:gd name="T7" fmla="*/ 1 h 310"/>
              <a:gd name="T8" fmla="*/ 7 w 322"/>
              <a:gd name="T9" fmla="*/ 2 h 310"/>
              <a:gd name="T10" fmla="*/ 5 w 322"/>
              <a:gd name="T11" fmla="*/ 2 h 310"/>
              <a:gd name="T12" fmla="*/ 5 w 322"/>
              <a:gd name="T13" fmla="*/ 5 h 310"/>
              <a:gd name="T14" fmla="*/ 3 w 322"/>
              <a:gd name="T15" fmla="*/ 5 h 310"/>
              <a:gd name="T16" fmla="*/ 4 w 322"/>
              <a:gd name="T17" fmla="*/ 7 h 310"/>
              <a:gd name="T18" fmla="*/ 0 w 322"/>
              <a:gd name="T19" fmla="*/ 7 h 31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2"/>
              <a:gd name="T31" fmla="*/ 0 h 310"/>
              <a:gd name="T32" fmla="*/ 322 w 322"/>
              <a:gd name="T33" fmla="*/ 310 h 31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2" h="310">
                <a:moveTo>
                  <a:pt x="0" y="310"/>
                </a:moveTo>
                <a:lnTo>
                  <a:pt x="154" y="0"/>
                </a:lnTo>
                <a:lnTo>
                  <a:pt x="317" y="5"/>
                </a:lnTo>
                <a:lnTo>
                  <a:pt x="322" y="22"/>
                </a:lnTo>
                <a:lnTo>
                  <a:pt x="317" y="80"/>
                </a:lnTo>
                <a:lnTo>
                  <a:pt x="197" y="76"/>
                </a:lnTo>
                <a:lnTo>
                  <a:pt x="196" y="198"/>
                </a:lnTo>
                <a:lnTo>
                  <a:pt x="152" y="221"/>
                </a:lnTo>
                <a:lnTo>
                  <a:pt x="156" y="292"/>
                </a:lnTo>
                <a:lnTo>
                  <a:pt x="0" y="31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4" name="Freeform 475"/>
          <p:cNvSpPr/>
          <p:nvPr/>
        </p:nvSpPr>
        <p:spPr bwMode="auto">
          <a:xfrm>
            <a:off x="2098675" y="3456305"/>
            <a:ext cx="492760" cy="643255"/>
          </a:xfrm>
          <a:custGeom>
            <a:avLst/>
            <a:gdLst>
              <a:gd name="T0" fmla="*/ 0 w 634"/>
              <a:gd name="T1" fmla="*/ 11 h 874"/>
              <a:gd name="T2" fmla="*/ 1 w 634"/>
              <a:gd name="T3" fmla="*/ 13 h 874"/>
              <a:gd name="T4" fmla="*/ 1 w 634"/>
              <a:gd name="T5" fmla="*/ 15 h 874"/>
              <a:gd name="T6" fmla="*/ 3 w 634"/>
              <a:gd name="T7" fmla="*/ 16 h 874"/>
              <a:gd name="T8" fmla="*/ 5 w 634"/>
              <a:gd name="T9" fmla="*/ 19 h 874"/>
              <a:gd name="T10" fmla="*/ 8 w 634"/>
              <a:gd name="T11" fmla="*/ 20 h 874"/>
              <a:gd name="T12" fmla="*/ 11 w 634"/>
              <a:gd name="T13" fmla="*/ 20 h 874"/>
              <a:gd name="T14" fmla="*/ 12 w 634"/>
              <a:gd name="T15" fmla="*/ 19 h 874"/>
              <a:gd name="T16" fmla="*/ 11 w 634"/>
              <a:gd name="T17" fmla="*/ 17 h 874"/>
              <a:gd name="T18" fmla="*/ 10 w 634"/>
              <a:gd name="T19" fmla="*/ 16 h 874"/>
              <a:gd name="T20" fmla="*/ 11 w 634"/>
              <a:gd name="T21" fmla="*/ 15 h 874"/>
              <a:gd name="T22" fmla="*/ 11 w 634"/>
              <a:gd name="T23" fmla="*/ 13 h 874"/>
              <a:gd name="T24" fmla="*/ 12 w 634"/>
              <a:gd name="T25" fmla="*/ 11 h 874"/>
              <a:gd name="T26" fmla="*/ 13 w 634"/>
              <a:gd name="T27" fmla="*/ 6 h 874"/>
              <a:gd name="T28" fmla="*/ 14 w 634"/>
              <a:gd name="T29" fmla="*/ 5 h 874"/>
              <a:gd name="T30" fmla="*/ 13 w 634"/>
              <a:gd name="T31" fmla="*/ 5 h 874"/>
              <a:gd name="T32" fmla="*/ 13 w 634"/>
              <a:gd name="T33" fmla="*/ 1 h 874"/>
              <a:gd name="T34" fmla="*/ 12 w 634"/>
              <a:gd name="T35" fmla="*/ 0 h 874"/>
              <a:gd name="T36" fmla="*/ 11 w 634"/>
              <a:gd name="T37" fmla="*/ 1 h 874"/>
              <a:gd name="T38" fmla="*/ 3 w 634"/>
              <a:gd name="T39" fmla="*/ 1 h 874"/>
              <a:gd name="T40" fmla="*/ 3 w 634"/>
              <a:gd name="T41" fmla="*/ 3 h 874"/>
              <a:gd name="T42" fmla="*/ 2 w 634"/>
              <a:gd name="T43" fmla="*/ 3 h 874"/>
              <a:gd name="T44" fmla="*/ 2 w 634"/>
              <a:gd name="T45" fmla="*/ 4 h 874"/>
              <a:gd name="T46" fmla="*/ 2 w 634"/>
              <a:gd name="T47" fmla="*/ 8 h 874"/>
              <a:gd name="T48" fmla="*/ 1 w 634"/>
              <a:gd name="T49" fmla="*/ 8 h 874"/>
              <a:gd name="T50" fmla="*/ 0 w 634"/>
              <a:gd name="T51" fmla="*/ 11 h 8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34"/>
              <a:gd name="T79" fmla="*/ 0 h 874"/>
              <a:gd name="T80" fmla="*/ 634 w 634"/>
              <a:gd name="T81" fmla="*/ 874 h 8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34" h="874">
                <a:moveTo>
                  <a:pt x="0" y="460"/>
                </a:moveTo>
                <a:lnTo>
                  <a:pt x="30" y="549"/>
                </a:lnTo>
                <a:lnTo>
                  <a:pt x="59" y="644"/>
                </a:lnTo>
                <a:lnTo>
                  <a:pt x="124" y="679"/>
                </a:lnTo>
                <a:lnTo>
                  <a:pt x="216" y="807"/>
                </a:lnTo>
                <a:lnTo>
                  <a:pt x="344" y="874"/>
                </a:lnTo>
                <a:lnTo>
                  <a:pt x="460" y="857"/>
                </a:lnTo>
                <a:lnTo>
                  <a:pt x="532" y="832"/>
                </a:lnTo>
                <a:lnTo>
                  <a:pt x="488" y="740"/>
                </a:lnTo>
                <a:lnTo>
                  <a:pt x="423" y="684"/>
                </a:lnTo>
                <a:lnTo>
                  <a:pt x="466" y="652"/>
                </a:lnTo>
                <a:lnTo>
                  <a:pt x="474" y="572"/>
                </a:lnTo>
                <a:lnTo>
                  <a:pt x="544" y="462"/>
                </a:lnTo>
                <a:lnTo>
                  <a:pt x="575" y="273"/>
                </a:lnTo>
                <a:lnTo>
                  <a:pt x="634" y="230"/>
                </a:lnTo>
                <a:lnTo>
                  <a:pt x="587" y="192"/>
                </a:lnTo>
                <a:lnTo>
                  <a:pt x="570" y="50"/>
                </a:lnTo>
                <a:lnTo>
                  <a:pt x="521" y="0"/>
                </a:lnTo>
                <a:lnTo>
                  <a:pt x="460" y="59"/>
                </a:lnTo>
                <a:lnTo>
                  <a:pt x="116" y="49"/>
                </a:lnTo>
                <a:lnTo>
                  <a:pt x="116" y="138"/>
                </a:lnTo>
                <a:lnTo>
                  <a:pt x="83" y="139"/>
                </a:lnTo>
                <a:lnTo>
                  <a:pt x="83" y="166"/>
                </a:lnTo>
                <a:lnTo>
                  <a:pt x="82" y="334"/>
                </a:lnTo>
                <a:lnTo>
                  <a:pt x="42" y="343"/>
                </a:lnTo>
                <a:lnTo>
                  <a:pt x="0" y="46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5" name="Freeform 476"/>
          <p:cNvSpPr/>
          <p:nvPr/>
        </p:nvSpPr>
        <p:spPr bwMode="auto">
          <a:xfrm>
            <a:off x="2361565" y="5068570"/>
            <a:ext cx="38100" cy="51435"/>
          </a:xfrm>
          <a:custGeom>
            <a:avLst/>
            <a:gdLst>
              <a:gd name="T0" fmla="*/ 0 w 46"/>
              <a:gd name="T1" fmla="*/ 1 h 72"/>
              <a:gd name="T2" fmla="*/ 1 w 46"/>
              <a:gd name="T3" fmla="*/ 2 h 72"/>
              <a:gd name="T4" fmla="*/ 1 w 46"/>
              <a:gd name="T5" fmla="*/ 1 h 72"/>
              <a:gd name="T6" fmla="*/ 1 w 46"/>
              <a:gd name="T7" fmla="*/ 0 h 72"/>
              <a:gd name="T8" fmla="*/ 0 w 46"/>
              <a:gd name="T9" fmla="*/ 1 h 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6"/>
              <a:gd name="T16" fmla="*/ 0 h 72"/>
              <a:gd name="T17" fmla="*/ 46 w 46"/>
              <a:gd name="T18" fmla="*/ 72 h 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6" h="72">
                <a:moveTo>
                  <a:pt x="0" y="40"/>
                </a:moveTo>
                <a:lnTo>
                  <a:pt x="25" y="72"/>
                </a:lnTo>
                <a:lnTo>
                  <a:pt x="46" y="46"/>
                </a:lnTo>
                <a:lnTo>
                  <a:pt x="42" y="0"/>
                </a:lnTo>
                <a:lnTo>
                  <a:pt x="0" y="4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6" name="Freeform 477"/>
          <p:cNvSpPr/>
          <p:nvPr/>
        </p:nvSpPr>
        <p:spPr bwMode="auto">
          <a:xfrm>
            <a:off x="2328545" y="4246880"/>
            <a:ext cx="322580" cy="351155"/>
          </a:xfrm>
          <a:custGeom>
            <a:avLst/>
            <a:gdLst>
              <a:gd name="T0" fmla="*/ 0 w 409"/>
              <a:gd name="T1" fmla="*/ 3 h 475"/>
              <a:gd name="T2" fmla="*/ 0 w 409"/>
              <a:gd name="T3" fmla="*/ 6 h 475"/>
              <a:gd name="T4" fmla="*/ 1 w 409"/>
              <a:gd name="T5" fmla="*/ 8 h 475"/>
              <a:gd name="T6" fmla="*/ 3 w 409"/>
              <a:gd name="T7" fmla="*/ 9 h 475"/>
              <a:gd name="T8" fmla="*/ 4 w 409"/>
              <a:gd name="T9" fmla="*/ 9 h 475"/>
              <a:gd name="T10" fmla="*/ 5 w 409"/>
              <a:gd name="T11" fmla="*/ 11 h 475"/>
              <a:gd name="T12" fmla="*/ 8 w 409"/>
              <a:gd name="T13" fmla="*/ 11 h 475"/>
              <a:gd name="T14" fmla="*/ 10 w 409"/>
              <a:gd name="T15" fmla="*/ 10 h 475"/>
              <a:gd name="T16" fmla="*/ 8 w 409"/>
              <a:gd name="T17" fmla="*/ 5 h 475"/>
              <a:gd name="T18" fmla="*/ 9 w 409"/>
              <a:gd name="T19" fmla="*/ 4 h 475"/>
              <a:gd name="T20" fmla="*/ 4 w 409"/>
              <a:gd name="T21" fmla="*/ 0 h 475"/>
              <a:gd name="T22" fmla="*/ 3 w 409"/>
              <a:gd name="T23" fmla="*/ 2 h 475"/>
              <a:gd name="T24" fmla="*/ 2 w 409"/>
              <a:gd name="T25" fmla="*/ 1 h 475"/>
              <a:gd name="T26" fmla="*/ 2 w 409"/>
              <a:gd name="T27" fmla="*/ 2 h 475"/>
              <a:gd name="T28" fmla="*/ 2 w 409"/>
              <a:gd name="T29" fmla="*/ 0 h 475"/>
              <a:gd name="T30" fmla="*/ 1 w 409"/>
              <a:gd name="T31" fmla="*/ 0 h 475"/>
              <a:gd name="T32" fmla="*/ 1 w 409"/>
              <a:gd name="T33" fmla="*/ 1 h 475"/>
              <a:gd name="T34" fmla="*/ 1 w 409"/>
              <a:gd name="T35" fmla="*/ 2 h 475"/>
              <a:gd name="T36" fmla="*/ 0 w 409"/>
              <a:gd name="T37" fmla="*/ 3 h 47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9"/>
              <a:gd name="T58" fmla="*/ 0 h 475"/>
              <a:gd name="T59" fmla="*/ 409 w 409"/>
              <a:gd name="T60" fmla="*/ 475 h 47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9" h="475">
                <a:moveTo>
                  <a:pt x="0" y="150"/>
                </a:moveTo>
                <a:lnTo>
                  <a:pt x="3" y="242"/>
                </a:lnTo>
                <a:lnTo>
                  <a:pt x="52" y="334"/>
                </a:lnTo>
                <a:lnTo>
                  <a:pt x="124" y="375"/>
                </a:lnTo>
                <a:lnTo>
                  <a:pt x="160" y="384"/>
                </a:lnTo>
                <a:lnTo>
                  <a:pt x="199" y="475"/>
                </a:lnTo>
                <a:lnTo>
                  <a:pt x="353" y="462"/>
                </a:lnTo>
                <a:lnTo>
                  <a:pt x="409" y="423"/>
                </a:lnTo>
                <a:lnTo>
                  <a:pt x="351" y="237"/>
                </a:lnTo>
                <a:lnTo>
                  <a:pt x="367" y="165"/>
                </a:lnTo>
                <a:lnTo>
                  <a:pt x="175" y="0"/>
                </a:lnTo>
                <a:lnTo>
                  <a:pt x="118" y="84"/>
                </a:lnTo>
                <a:lnTo>
                  <a:pt x="98" y="61"/>
                </a:lnTo>
                <a:lnTo>
                  <a:pt x="84" y="80"/>
                </a:lnTo>
                <a:lnTo>
                  <a:pt x="82" y="0"/>
                </a:lnTo>
                <a:lnTo>
                  <a:pt x="29" y="5"/>
                </a:lnTo>
                <a:lnTo>
                  <a:pt x="39" y="62"/>
                </a:lnTo>
                <a:lnTo>
                  <a:pt x="42" y="97"/>
                </a:lnTo>
                <a:lnTo>
                  <a:pt x="0" y="15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7" name="Freeform 478"/>
          <p:cNvSpPr/>
          <p:nvPr/>
        </p:nvSpPr>
        <p:spPr bwMode="auto">
          <a:xfrm>
            <a:off x="1440180" y="3854450"/>
            <a:ext cx="66040" cy="168275"/>
          </a:xfrm>
          <a:custGeom>
            <a:avLst/>
            <a:gdLst>
              <a:gd name="T0" fmla="*/ 0 w 82"/>
              <a:gd name="T1" fmla="*/ 0 h 227"/>
              <a:gd name="T2" fmla="*/ 1 w 82"/>
              <a:gd name="T3" fmla="*/ 0 h 227"/>
              <a:gd name="T4" fmla="*/ 2 w 82"/>
              <a:gd name="T5" fmla="*/ 5 h 227"/>
              <a:gd name="T6" fmla="*/ 1 w 82"/>
              <a:gd name="T7" fmla="*/ 5 h 227"/>
              <a:gd name="T8" fmla="*/ 0 w 82"/>
              <a:gd name="T9" fmla="*/ 0 h 2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2"/>
              <a:gd name="T16" fmla="*/ 0 h 227"/>
              <a:gd name="T17" fmla="*/ 82 w 82"/>
              <a:gd name="T18" fmla="*/ 227 h 2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2" h="227">
                <a:moveTo>
                  <a:pt x="0" y="0"/>
                </a:moveTo>
                <a:lnTo>
                  <a:pt x="41" y="10"/>
                </a:lnTo>
                <a:lnTo>
                  <a:pt x="82" y="219"/>
                </a:lnTo>
                <a:lnTo>
                  <a:pt x="53" y="227"/>
                </a:lnTo>
                <a:lnTo>
                  <a:pt x="0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8" name="Freeform 479"/>
          <p:cNvSpPr/>
          <p:nvPr/>
        </p:nvSpPr>
        <p:spPr bwMode="auto">
          <a:xfrm>
            <a:off x="2331720" y="4087495"/>
            <a:ext cx="155575" cy="173355"/>
          </a:xfrm>
          <a:custGeom>
            <a:avLst/>
            <a:gdLst>
              <a:gd name="T0" fmla="*/ 0 w 198"/>
              <a:gd name="T1" fmla="*/ 5 h 234"/>
              <a:gd name="T2" fmla="*/ 1 w 198"/>
              <a:gd name="T3" fmla="*/ 5 h 234"/>
              <a:gd name="T4" fmla="*/ 2 w 198"/>
              <a:gd name="T5" fmla="*/ 5 h 234"/>
              <a:gd name="T6" fmla="*/ 2 w 198"/>
              <a:gd name="T7" fmla="*/ 4 h 234"/>
              <a:gd name="T8" fmla="*/ 4 w 198"/>
              <a:gd name="T9" fmla="*/ 4 h 234"/>
              <a:gd name="T10" fmla="*/ 5 w 198"/>
              <a:gd name="T11" fmla="*/ 2 h 234"/>
              <a:gd name="T12" fmla="*/ 4 w 198"/>
              <a:gd name="T13" fmla="*/ 0 h 234"/>
              <a:gd name="T14" fmla="*/ 1 w 198"/>
              <a:gd name="T15" fmla="*/ 0 h 234"/>
              <a:gd name="T16" fmla="*/ 1 w 198"/>
              <a:gd name="T17" fmla="*/ 2 h 234"/>
              <a:gd name="T18" fmla="*/ 1 w 198"/>
              <a:gd name="T19" fmla="*/ 3 h 234"/>
              <a:gd name="T20" fmla="*/ 0 w 198"/>
              <a:gd name="T21" fmla="*/ 5 h 2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8"/>
              <a:gd name="T34" fmla="*/ 0 h 234"/>
              <a:gd name="T35" fmla="*/ 198 w 198"/>
              <a:gd name="T36" fmla="*/ 234 h 23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8" h="234">
                <a:moveTo>
                  <a:pt x="0" y="234"/>
                </a:moveTo>
                <a:lnTo>
                  <a:pt x="27" y="222"/>
                </a:lnTo>
                <a:lnTo>
                  <a:pt x="80" y="217"/>
                </a:lnTo>
                <a:lnTo>
                  <a:pt x="82" y="186"/>
                </a:lnTo>
                <a:lnTo>
                  <a:pt x="159" y="165"/>
                </a:lnTo>
                <a:lnTo>
                  <a:pt x="198" y="87"/>
                </a:lnTo>
                <a:lnTo>
                  <a:pt x="159" y="0"/>
                </a:lnTo>
                <a:lnTo>
                  <a:pt x="43" y="17"/>
                </a:lnTo>
                <a:lnTo>
                  <a:pt x="56" y="82"/>
                </a:lnTo>
                <a:lnTo>
                  <a:pt x="29" y="124"/>
                </a:lnTo>
                <a:lnTo>
                  <a:pt x="0" y="234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9" name="Freeform 480"/>
          <p:cNvSpPr/>
          <p:nvPr/>
        </p:nvSpPr>
        <p:spPr bwMode="auto">
          <a:xfrm>
            <a:off x="2175510" y="3156585"/>
            <a:ext cx="334010" cy="342900"/>
          </a:xfrm>
          <a:custGeom>
            <a:avLst/>
            <a:gdLst>
              <a:gd name="T0" fmla="*/ 0 w 429"/>
              <a:gd name="T1" fmla="*/ 2 h 464"/>
              <a:gd name="T2" fmla="*/ 0 w 429"/>
              <a:gd name="T3" fmla="*/ 11 h 464"/>
              <a:gd name="T4" fmla="*/ 8 w 429"/>
              <a:gd name="T5" fmla="*/ 11 h 464"/>
              <a:gd name="T6" fmla="*/ 10 w 429"/>
              <a:gd name="T7" fmla="*/ 9 h 464"/>
              <a:gd name="T8" fmla="*/ 10 w 429"/>
              <a:gd name="T9" fmla="*/ 9 h 464"/>
              <a:gd name="T10" fmla="*/ 7 w 429"/>
              <a:gd name="T11" fmla="*/ 2 h 464"/>
              <a:gd name="T12" fmla="*/ 8 w 429"/>
              <a:gd name="T13" fmla="*/ 4 h 464"/>
              <a:gd name="T14" fmla="*/ 9 w 429"/>
              <a:gd name="T15" fmla="*/ 3 h 464"/>
              <a:gd name="T16" fmla="*/ 8 w 429"/>
              <a:gd name="T17" fmla="*/ 0 h 464"/>
              <a:gd name="T18" fmla="*/ 7 w 429"/>
              <a:gd name="T19" fmla="*/ 1 h 464"/>
              <a:gd name="T20" fmla="*/ 7 w 429"/>
              <a:gd name="T21" fmla="*/ 0 h 464"/>
              <a:gd name="T22" fmla="*/ 5 w 429"/>
              <a:gd name="T23" fmla="*/ 0 h 464"/>
              <a:gd name="T24" fmla="*/ 4 w 429"/>
              <a:gd name="T25" fmla="*/ 1 h 464"/>
              <a:gd name="T26" fmla="*/ 0 w 429"/>
              <a:gd name="T27" fmla="*/ 0 h 464"/>
              <a:gd name="T28" fmla="*/ 0 w 429"/>
              <a:gd name="T29" fmla="*/ 2 h 4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29"/>
              <a:gd name="T46" fmla="*/ 0 h 464"/>
              <a:gd name="T47" fmla="*/ 429 w 429"/>
              <a:gd name="T48" fmla="*/ 464 h 46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29" h="464">
                <a:moveTo>
                  <a:pt x="0" y="75"/>
                </a:moveTo>
                <a:lnTo>
                  <a:pt x="17" y="454"/>
                </a:lnTo>
                <a:lnTo>
                  <a:pt x="361" y="464"/>
                </a:lnTo>
                <a:lnTo>
                  <a:pt x="422" y="405"/>
                </a:lnTo>
                <a:lnTo>
                  <a:pt x="429" y="364"/>
                </a:lnTo>
                <a:lnTo>
                  <a:pt x="298" y="98"/>
                </a:lnTo>
                <a:lnTo>
                  <a:pt x="361" y="183"/>
                </a:lnTo>
                <a:lnTo>
                  <a:pt x="392" y="110"/>
                </a:lnTo>
                <a:lnTo>
                  <a:pt x="361" y="17"/>
                </a:lnTo>
                <a:lnTo>
                  <a:pt x="284" y="30"/>
                </a:lnTo>
                <a:lnTo>
                  <a:pt x="282" y="4"/>
                </a:lnTo>
                <a:lnTo>
                  <a:pt x="239" y="4"/>
                </a:lnTo>
                <a:lnTo>
                  <a:pt x="166" y="40"/>
                </a:lnTo>
                <a:lnTo>
                  <a:pt x="17" y="0"/>
                </a:lnTo>
                <a:lnTo>
                  <a:pt x="0" y="7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0" name="Freeform 481"/>
          <p:cNvSpPr/>
          <p:nvPr/>
        </p:nvSpPr>
        <p:spPr bwMode="auto">
          <a:xfrm>
            <a:off x="1289685" y="3727450"/>
            <a:ext cx="221615" cy="178435"/>
          </a:xfrm>
          <a:custGeom>
            <a:avLst/>
            <a:gdLst>
              <a:gd name="T0" fmla="*/ 0 w 285"/>
              <a:gd name="T1" fmla="*/ 5 h 242"/>
              <a:gd name="T2" fmla="*/ 1 w 285"/>
              <a:gd name="T3" fmla="*/ 5 h 242"/>
              <a:gd name="T4" fmla="*/ 2 w 285"/>
              <a:gd name="T5" fmla="*/ 6 h 242"/>
              <a:gd name="T6" fmla="*/ 2 w 285"/>
              <a:gd name="T7" fmla="*/ 4 h 242"/>
              <a:gd name="T8" fmla="*/ 5 w 285"/>
              <a:gd name="T9" fmla="*/ 4 h 242"/>
              <a:gd name="T10" fmla="*/ 5 w 285"/>
              <a:gd name="T11" fmla="*/ 4 h 242"/>
              <a:gd name="T12" fmla="*/ 7 w 285"/>
              <a:gd name="T13" fmla="*/ 3 h 242"/>
              <a:gd name="T14" fmla="*/ 5 w 285"/>
              <a:gd name="T15" fmla="*/ 1 h 242"/>
              <a:gd name="T16" fmla="*/ 5 w 285"/>
              <a:gd name="T17" fmla="*/ 0 h 242"/>
              <a:gd name="T18" fmla="*/ 1 w 285"/>
              <a:gd name="T19" fmla="*/ 2 h 242"/>
              <a:gd name="T20" fmla="*/ 0 w 285"/>
              <a:gd name="T21" fmla="*/ 5 h 2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85"/>
              <a:gd name="T34" fmla="*/ 0 h 242"/>
              <a:gd name="T35" fmla="*/ 285 w 285"/>
              <a:gd name="T36" fmla="*/ 242 h 24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85" h="242">
                <a:moveTo>
                  <a:pt x="0" y="207"/>
                </a:moveTo>
                <a:lnTo>
                  <a:pt x="23" y="233"/>
                </a:lnTo>
                <a:lnTo>
                  <a:pt x="102" y="242"/>
                </a:lnTo>
                <a:lnTo>
                  <a:pt x="92" y="181"/>
                </a:lnTo>
                <a:lnTo>
                  <a:pt x="192" y="171"/>
                </a:lnTo>
                <a:lnTo>
                  <a:pt x="233" y="181"/>
                </a:lnTo>
                <a:lnTo>
                  <a:pt x="285" y="135"/>
                </a:lnTo>
                <a:lnTo>
                  <a:pt x="214" y="42"/>
                </a:lnTo>
                <a:lnTo>
                  <a:pt x="206" y="0"/>
                </a:lnTo>
                <a:lnTo>
                  <a:pt x="49" y="79"/>
                </a:lnTo>
                <a:lnTo>
                  <a:pt x="0" y="207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1" name="Freeform 482"/>
          <p:cNvSpPr/>
          <p:nvPr/>
        </p:nvSpPr>
        <p:spPr bwMode="auto">
          <a:xfrm>
            <a:off x="2098675" y="4481830"/>
            <a:ext cx="350520" cy="317500"/>
          </a:xfrm>
          <a:custGeom>
            <a:avLst/>
            <a:gdLst>
              <a:gd name="T0" fmla="*/ 0 w 450"/>
              <a:gd name="T1" fmla="*/ 5 h 434"/>
              <a:gd name="T2" fmla="*/ 0 w 450"/>
              <a:gd name="T3" fmla="*/ 9 h 434"/>
              <a:gd name="T4" fmla="*/ 1 w 450"/>
              <a:gd name="T5" fmla="*/ 10 h 434"/>
              <a:gd name="T6" fmla="*/ 3 w 450"/>
              <a:gd name="T7" fmla="*/ 10 h 434"/>
              <a:gd name="T8" fmla="*/ 4 w 450"/>
              <a:gd name="T9" fmla="*/ 10 h 434"/>
              <a:gd name="T10" fmla="*/ 6 w 450"/>
              <a:gd name="T11" fmla="*/ 9 h 434"/>
              <a:gd name="T12" fmla="*/ 6 w 450"/>
              <a:gd name="T13" fmla="*/ 8 h 434"/>
              <a:gd name="T14" fmla="*/ 7 w 450"/>
              <a:gd name="T15" fmla="*/ 8 h 434"/>
              <a:gd name="T16" fmla="*/ 7 w 450"/>
              <a:gd name="T17" fmla="*/ 7 h 434"/>
              <a:gd name="T18" fmla="*/ 10 w 450"/>
              <a:gd name="T19" fmla="*/ 6 h 434"/>
              <a:gd name="T20" fmla="*/ 9 w 450"/>
              <a:gd name="T21" fmla="*/ 6 h 434"/>
              <a:gd name="T22" fmla="*/ 10 w 450"/>
              <a:gd name="T23" fmla="*/ 3 h 434"/>
              <a:gd name="T24" fmla="*/ 10 w 450"/>
              <a:gd name="T25" fmla="*/ 1 h 434"/>
              <a:gd name="T26" fmla="*/ 8 w 450"/>
              <a:gd name="T27" fmla="*/ 0 h 434"/>
              <a:gd name="T28" fmla="*/ 8 w 450"/>
              <a:gd name="T29" fmla="*/ 0 h 434"/>
              <a:gd name="T30" fmla="*/ 6 w 450"/>
              <a:gd name="T31" fmla="*/ 1 h 434"/>
              <a:gd name="T32" fmla="*/ 6 w 450"/>
              <a:gd name="T33" fmla="*/ 3 h 434"/>
              <a:gd name="T34" fmla="*/ 7 w 450"/>
              <a:gd name="T35" fmla="*/ 4 h 434"/>
              <a:gd name="T36" fmla="*/ 7 w 450"/>
              <a:gd name="T37" fmla="*/ 5 h 434"/>
              <a:gd name="T38" fmla="*/ 2 w 450"/>
              <a:gd name="T39" fmla="*/ 3 h 434"/>
              <a:gd name="T40" fmla="*/ 2 w 450"/>
              <a:gd name="T41" fmla="*/ 5 h 434"/>
              <a:gd name="T42" fmla="*/ 0 w 450"/>
              <a:gd name="T43" fmla="*/ 5 h 43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50"/>
              <a:gd name="T67" fmla="*/ 0 h 434"/>
              <a:gd name="T68" fmla="*/ 450 w 450"/>
              <a:gd name="T69" fmla="*/ 434 h 43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50" h="434">
                <a:moveTo>
                  <a:pt x="0" y="212"/>
                </a:moveTo>
                <a:lnTo>
                  <a:pt x="0" y="379"/>
                </a:lnTo>
                <a:lnTo>
                  <a:pt x="47" y="419"/>
                </a:lnTo>
                <a:lnTo>
                  <a:pt x="121" y="433"/>
                </a:lnTo>
                <a:lnTo>
                  <a:pt x="187" y="434"/>
                </a:lnTo>
                <a:lnTo>
                  <a:pt x="254" y="375"/>
                </a:lnTo>
                <a:lnTo>
                  <a:pt x="256" y="348"/>
                </a:lnTo>
                <a:lnTo>
                  <a:pt x="317" y="334"/>
                </a:lnTo>
                <a:lnTo>
                  <a:pt x="309" y="310"/>
                </a:lnTo>
                <a:lnTo>
                  <a:pt x="428" y="265"/>
                </a:lnTo>
                <a:lnTo>
                  <a:pt x="412" y="245"/>
                </a:lnTo>
                <a:lnTo>
                  <a:pt x="450" y="114"/>
                </a:lnTo>
                <a:lnTo>
                  <a:pt x="422" y="56"/>
                </a:lnTo>
                <a:lnTo>
                  <a:pt x="350" y="15"/>
                </a:lnTo>
                <a:lnTo>
                  <a:pt x="329" y="0"/>
                </a:lnTo>
                <a:lnTo>
                  <a:pt x="260" y="42"/>
                </a:lnTo>
                <a:lnTo>
                  <a:pt x="254" y="156"/>
                </a:lnTo>
                <a:lnTo>
                  <a:pt x="298" y="177"/>
                </a:lnTo>
                <a:lnTo>
                  <a:pt x="300" y="225"/>
                </a:lnTo>
                <a:lnTo>
                  <a:pt x="81" y="122"/>
                </a:lnTo>
                <a:lnTo>
                  <a:pt x="86" y="212"/>
                </a:lnTo>
                <a:lnTo>
                  <a:pt x="0" y="21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2" name="Freeform 483"/>
          <p:cNvSpPr/>
          <p:nvPr/>
        </p:nvSpPr>
        <p:spPr bwMode="auto">
          <a:xfrm>
            <a:off x="1934845" y="4946650"/>
            <a:ext cx="486410" cy="428625"/>
          </a:xfrm>
          <a:custGeom>
            <a:avLst/>
            <a:gdLst>
              <a:gd name="T0" fmla="*/ 0 w 624"/>
              <a:gd name="T1" fmla="*/ 7 h 583"/>
              <a:gd name="T2" fmla="*/ 1 w 624"/>
              <a:gd name="T3" fmla="*/ 7 h 583"/>
              <a:gd name="T4" fmla="*/ 1 w 624"/>
              <a:gd name="T5" fmla="*/ 7 h 583"/>
              <a:gd name="T6" fmla="*/ 2 w 624"/>
              <a:gd name="T7" fmla="*/ 7 h 583"/>
              <a:gd name="T8" fmla="*/ 3 w 624"/>
              <a:gd name="T9" fmla="*/ 7 h 583"/>
              <a:gd name="T10" fmla="*/ 3 w 624"/>
              <a:gd name="T11" fmla="*/ 3 h 583"/>
              <a:gd name="T12" fmla="*/ 4 w 624"/>
              <a:gd name="T13" fmla="*/ 4 h 583"/>
              <a:gd name="T14" fmla="*/ 4 w 624"/>
              <a:gd name="T15" fmla="*/ 5 h 583"/>
              <a:gd name="T16" fmla="*/ 5 w 624"/>
              <a:gd name="T17" fmla="*/ 5 h 583"/>
              <a:gd name="T18" fmla="*/ 6 w 624"/>
              <a:gd name="T19" fmla="*/ 4 h 583"/>
              <a:gd name="T20" fmla="*/ 8 w 624"/>
              <a:gd name="T21" fmla="*/ 4 h 583"/>
              <a:gd name="T22" fmla="*/ 11 w 624"/>
              <a:gd name="T23" fmla="*/ 0 h 583"/>
              <a:gd name="T24" fmla="*/ 13 w 624"/>
              <a:gd name="T25" fmla="*/ 1 h 583"/>
              <a:gd name="T26" fmla="*/ 14 w 624"/>
              <a:gd name="T27" fmla="*/ 4 h 583"/>
              <a:gd name="T28" fmla="*/ 13 w 624"/>
              <a:gd name="T29" fmla="*/ 5 h 583"/>
              <a:gd name="T30" fmla="*/ 13 w 624"/>
              <a:gd name="T31" fmla="*/ 5 h 583"/>
              <a:gd name="T32" fmla="*/ 14 w 624"/>
              <a:gd name="T33" fmla="*/ 5 h 583"/>
              <a:gd name="T34" fmla="*/ 15 w 624"/>
              <a:gd name="T35" fmla="*/ 5 h 583"/>
              <a:gd name="T36" fmla="*/ 14 w 624"/>
              <a:gd name="T37" fmla="*/ 7 h 583"/>
              <a:gd name="T38" fmla="*/ 12 w 624"/>
              <a:gd name="T39" fmla="*/ 10 h 583"/>
              <a:gd name="T40" fmla="*/ 9 w 624"/>
              <a:gd name="T41" fmla="*/ 13 h 583"/>
              <a:gd name="T42" fmla="*/ 7 w 624"/>
              <a:gd name="T43" fmla="*/ 13 h 583"/>
              <a:gd name="T44" fmla="*/ 2 w 624"/>
              <a:gd name="T45" fmla="*/ 13 h 583"/>
              <a:gd name="T46" fmla="*/ 1 w 624"/>
              <a:gd name="T47" fmla="*/ 12 h 583"/>
              <a:gd name="T48" fmla="*/ 1 w 624"/>
              <a:gd name="T49" fmla="*/ 11 h 583"/>
              <a:gd name="T50" fmla="*/ 0 w 624"/>
              <a:gd name="T51" fmla="*/ 7 h 583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24"/>
              <a:gd name="T79" fmla="*/ 0 h 583"/>
              <a:gd name="T80" fmla="*/ 624 w 624"/>
              <a:gd name="T81" fmla="*/ 583 h 583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24" h="583">
                <a:moveTo>
                  <a:pt x="0" y="308"/>
                </a:moveTo>
                <a:lnTo>
                  <a:pt x="22" y="286"/>
                </a:lnTo>
                <a:lnTo>
                  <a:pt x="48" y="326"/>
                </a:lnTo>
                <a:lnTo>
                  <a:pt x="98" y="326"/>
                </a:lnTo>
                <a:lnTo>
                  <a:pt x="131" y="298"/>
                </a:lnTo>
                <a:lnTo>
                  <a:pt x="131" y="117"/>
                </a:lnTo>
                <a:lnTo>
                  <a:pt x="165" y="163"/>
                </a:lnTo>
                <a:lnTo>
                  <a:pt x="163" y="213"/>
                </a:lnTo>
                <a:lnTo>
                  <a:pt x="217" y="211"/>
                </a:lnTo>
                <a:lnTo>
                  <a:pt x="262" y="156"/>
                </a:lnTo>
                <a:lnTo>
                  <a:pt x="347" y="156"/>
                </a:lnTo>
                <a:lnTo>
                  <a:pt x="489" y="0"/>
                </a:lnTo>
                <a:lnTo>
                  <a:pt x="577" y="23"/>
                </a:lnTo>
                <a:lnTo>
                  <a:pt x="593" y="167"/>
                </a:lnTo>
                <a:lnTo>
                  <a:pt x="551" y="207"/>
                </a:lnTo>
                <a:lnTo>
                  <a:pt x="576" y="239"/>
                </a:lnTo>
                <a:lnTo>
                  <a:pt x="597" y="213"/>
                </a:lnTo>
                <a:lnTo>
                  <a:pt x="624" y="213"/>
                </a:lnTo>
                <a:lnTo>
                  <a:pt x="608" y="298"/>
                </a:lnTo>
                <a:lnTo>
                  <a:pt x="521" y="429"/>
                </a:lnTo>
                <a:lnTo>
                  <a:pt x="404" y="543"/>
                </a:lnTo>
                <a:lnTo>
                  <a:pt x="319" y="581"/>
                </a:lnTo>
                <a:lnTo>
                  <a:pt x="75" y="583"/>
                </a:lnTo>
                <a:lnTo>
                  <a:pt x="53" y="517"/>
                </a:lnTo>
                <a:lnTo>
                  <a:pt x="65" y="468"/>
                </a:lnTo>
                <a:lnTo>
                  <a:pt x="0" y="30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3" name="Freeform 484"/>
          <p:cNvSpPr/>
          <p:nvPr/>
        </p:nvSpPr>
        <p:spPr bwMode="auto">
          <a:xfrm>
            <a:off x="2246630" y="5176520"/>
            <a:ext cx="67945" cy="77470"/>
          </a:xfrm>
          <a:custGeom>
            <a:avLst/>
            <a:gdLst>
              <a:gd name="T0" fmla="*/ 0 w 86"/>
              <a:gd name="T1" fmla="*/ 1 h 106"/>
              <a:gd name="T2" fmla="*/ 1 w 86"/>
              <a:gd name="T3" fmla="*/ 2 h 106"/>
              <a:gd name="T4" fmla="*/ 2 w 86"/>
              <a:gd name="T5" fmla="*/ 1 h 106"/>
              <a:gd name="T6" fmla="*/ 1 w 86"/>
              <a:gd name="T7" fmla="*/ 0 h 106"/>
              <a:gd name="T8" fmla="*/ 0 w 86"/>
              <a:gd name="T9" fmla="*/ 1 h 10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6"/>
              <a:gd name="T16" fmla="*/ 0 h 106"/>
              <a:gd name="T17" fmla="*/ 86 w 86"/>
              <a:gd name="T18" fmla="*/ 106 h 10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6" h="106">
                <a:moveTo>
                  <a:pt x="0" y="52"/>
                </a:moveTo>
                <a:lnTo>
                  <a:pt x="33" y="106"/>
                </a:lnTo>
                <a:lnTo>
                  <a:pt x="86" y="52"/>
                </a:lnTo>
                <a:lnTo>
                  <a:pt x="61" y="0"/>
                </a:lnTo>
                <a:lnTo>
                  <a:pt x="0" y="5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Freeform 485"/>
          <p:cNvSpPr/>
          <p:nvPr/>
        </p:nvSpPr>
        <p:spPr bwMode="auto">
          <a:xfrm>
            <a:off x="2136775" y="2204720"/>
            <a:ext cx="234950" cy="198755"/>
          </a:xfrm>
          <a:custGeom>
            <a:avLst/>
            <a:gdLst>
              <a:gd name="T0" fmla="*/ 2 w 302"/>
              <a:gd name="T1" fmla="*/ 0 h 272"/>
              <a:gd name="T2" fmla="*/ 3 w 302"/>
              <a:gd name="T3" fmla="*/ 0 h 272"/>
              <a:gd name="T4" fmla="*/ 3 w 302"/>
              <a:gd name="T5" fmla="*/ 1 h 272"/>
              <a:gd name="T6" fmla="*/ 4 w 302"/>
              <a:gd name="T7" fmla="*/ 1 h 272"/>
              <a:gd name="T8" fmla="*/ 5 w 302"/>
              <a:gd name="T9" fmla="*/ 1 h 272"/>
              <a:gd name="T10" fmla="*/ 6 w 302"/>
              <a:gd name="T11" fmla="*/ 1 h 272"/>
              <a:gd name="T12" fmla="*/ 6 w 302"/>
              <a:gd name="T13" fmla="*/ 3 h 272"/>
              <a:gd name="T14" fmla="*/ 6 w 302"/>
              <a:gd name="T15" fmla="*/ 3 h 272"/>
              <a:gd name="T16" fmla="*/ 7 w 302"/>
              <a:gd name="T17" fmla="*/ 3 h 272"/>
              <a:gd name="T18" fmla="*/ 7 w 302"/>
              <a:gd name="T19" fmla="*/ 3 h 272"/>
              <a:gd name="T20" fmla="*/ 7 w 302"/>
              <a:gd name="T21" fmla="*/ 4 h 272"/>
              <a:gd name="T22" fmla="*/ 7 w 302"/>
              <a:gd name="T23" fmla="*/ 4 h 272"/>
              <a:gd name="T24" fmla="*/ 6 w 302"/>
              <a:gd name="T25" fmla="*/ 4 h 272"/>
              <a:gd name="T26" fmla="*/ 6 w 302"/>
              <a:gd name="T27" fmla="*/ 4 h 272"/>
              <a:gd name="T28" fmla="*/ 6 w 302"/>
              <a:gd name="T29" fmla="*/ 5 h 272"/>
              <a:gd name="T30" fmla="*/ 7 w 302"/>
              <a:gd name="T31" fmla="*/ 5 h 272"/>
              <a:gd name="T32" fmla="*/ 6 w 302"/>
              <a:gd name="T33" fmla="*/ 5 h 272"/>
              <a:gd name="T34" fmla="*/ 6 w 302"/>
              <a:gd name="T35" fmla="*/ 5 h 272"/>
              <a:gd name="T36" fmla="*/ 6 w 302"/>
              <a:gd name="T37" fmla="*/ 5 h 272"/>
              <a:gd name="T38" fmla="*/ 5 w 302"/>
              <a:gd name="T39" fmla="*/ 6 h 272"/>
              <a:gd name="T40" fmla="*/ 5 w 302"/>
              <a:gd name="T41" fmla="*/ 6 h 272"/>
              <a:gd name="T42" fmla="*/ 5 w 302"/>
              <a:gd name="T43" fmla="*/ 6 h 272"/>
              <a:gd name="T44" fmla="*/ 5 w 302"/>
              <a:gd name="T45" fmla="*/ 6 h 272"/>
              <a:gd name="T46" fmla="*/ 4 w 302"/>
              <a:gd name="T47" fmla="*/ 6 h 272"/>
              <a:gd name="T48" fmla="*/ 4 w 302"/>
              <a:gd name="T49" fmla="*/ 6 h 272"/>
              <a:gd name="T50" fmla="*/ 3 w 302"/>
              <a:gd name="T51" fmla="*/ 6 h 272"/>
              <a:gd name="T52" fmla="*/ 2 w 302"/>
              <a:gd name="T53" fmla="*/ 5 h 272"/>
              <a:gd name="T54" fmla="*/ 1 w 302"/>
              <a:gd name="T55" fmla="*/ 5 h 272"/>
              <a:gd name="T56" fmla="*/ 1 w 302"/>
              <a:gd name="T57" fmla="*/ 5 h 272"/>
              <a:gd name="T58" fmla="*/ 0 w 302"/>
              <a:gd name="T59" fmla="*/ 6 h 272"/>
              <a:gd name="T60" fmla="*/ 0 w 302"/>
              <a:gd name="T61" fmla="*/ 5 h 272"/>
              <a:gd name="T62" fmla="*/ 1 w 302"/>
              <a:gd name="T63" fmla="*/ 4 h 272"/>
              <a:gd name="T64" fmla="*/ 0 w 302"/>
              <a:gd name="T65" fmla="*/ 3 h 272"/>
              <a:gd name="T66" fmla="*/ 1 w 302"/>
              <a:gd name="T67" fmla="*/ 3 h 272"/>
              <a:gd name="T68" fmla="*/ 1 w 302"/>
              <a:gd name="T69" fmla="*/ 2 h 272"/>
              <a:gd name="T70" fmla="*/ 1 w 302"/>
              <a:gd name="T71" fmla="*/ 2 h 272"/>
              <a:gd name="T72" fmla="*/ 1 w 302"/>
              <a:gd name="T73" fmla="*/ 2 h 272"/>
              <a:gd name="T74" fmla="*/ 1 w 302"/>
              <a:gd name="T75" fmla="*/ 1 h 272"/>
              <a:gd name="T76" fmla="*/ 1 w 302"/>
              <a:gd name="T77" fmla="*/ 1 h 272"/>
              <a:gd name="T78" fmla="*/ 2 w 302"/>
              <a:gd name="T79" fmla="*/ 0 h 272"/>
              <a:gd name="T80" fmla="*/ 2 w 302"/>
              <a:gd name="T81" fmla="*/ 0 h 27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02"/>
              <a:gd name="T124" fmla="*/ 0 h 272"/>
              <a:gd name="T125" fmla="*/ 302 w 302"/>
              <a:gd name="T126" fmla="*/ 272 h 27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02" h="272">
                <a:moveTo>
                  <a:pt x="96" y="0"/>
                </a:moveTo>
                <a:lnTo>
                  <a:pt x="125" y="5"/>
                </a:lnTo>
                <a:lnTo>
                  <a:pt x="147" y="25"/>
                </a:lnTo>
                <a:lnTo>
                  <a:pt x="189" y="25"/>
                </a:lnTo>
                <a:lnTo>
                  <a:pt x="232" y="31"/>
                </a:lnTo>
                <a:lnTo>
                  <a:pt x="254" y="65"/>
                </a:lnTo>
                <a:lnTo>
                  <a:pt x="270" y="109"/>
                </a:lnTo>
                <a:lnTo>
                  <a:pt x="274" y="127"/>
                </a:lnTo>
                <a:lnTo>
                  <a:pt x="293" y="142"/>
                </a:lnTo>
                <a:lnTo>
                  <a:pt x="302" y="154"/>
                </a:lnTo>
                <a:lnTo>
                  <a:pt x="302" y="172"/>
                </a:lnTo>
                <a:lnTo>
                  <a:pt x="284" y="172"/>
                </a:lnTo>
                <a:lnTo>
                  <a:pt x="260" y="172"/>
                </a:lnTo>
                <a:lnTo>
                  <a:pt x="270" y="189"/>
                </a:lnTo>
                <a:lnTo>
                  <a:pt x="278" y="200"/>
                </a:lnTo>
                <a:lnTo>
                  <a:pt x="284" y="223"/>
                </a:lnTo>
                <a:lnTo>
                  <a:pt x="270" y="234"/>
                </a:lnTo>
                <a:lnTo>
                  <a:pt x="248" y="234"/>
                </a:lnTo>
                <a:lnTo>
                  <a:pt x="246" y="234"/>
                </a:lnTo>
                <a:lnTo>
                  <a:pt x="232" y="245"/>
                </a:lnTo>
                <a:lnTo>
                  <a:pt x="232" y="268"/>
                </a:lnTo>
                <a:lnTo>
                  <a:pt x="215" y="272"/>
                </a:lnTo>
                <a:lnTo>
                  <a:pt x="200" y="261"/>
                </a:lnTo>
                <a:lnTo>
                  <a:pt x="176" y="255"/>
                </a:lnTo>
                <a:lnTo>
                  <a:pt x="155" y="245"/>
                </a:lnTo>
                <a:lnTo>
                  <a:pt x="135" y="250"/>
                </a:lnTo>
                <a:lnTo>
                  <a:pt x="73" y="223"/>
                </a:lnTo>
                <a:lnTo>
                  <a:pt x="47" y="227"/>
                </a:lnTo>
                <a:lnTo>
                  <a:pt x="26" y="223"/>
                </a:lnTo>
                <a:lnTo>
                  <a:pt x="12" y="245"/>
                </a:lnTo>
                <a:lnTo>
                  <a:pt x="0" y="199"/>
                </a:lnTo>
                <a:lnTo>
                  <a:pt x="28" y="169"/>
                </a:lnTo>
                <a:lnTo>
                  <a:pt x="8" y="109"/>
                </a:lnTo>
                <a:lnTo>
                  <a:pt x="26" y="117"/>
                </a:lnTo>
                <a:lnTo>
                  <a:pt x="29" y="104"/>
                </a:lnTo>
                <a:lnTo>
                  <a:pt x="34" y="82"/>
                </a:lnTo>
                <a:lnTo>
                  <a:pt x="42" y="71"/>
                </a:lnTo>
                <a:lnTo>
                  <a:pt x="47" y="46"/>
                </a:lnTo>
                <a:lnTo>
                  <a:pt x="68" y="21"/>
                </a:lnTo>
                <a:lnTo>
                  <a:pt x="82" y="0"/>
                </a:lnTo>
                <a:lnTo>
                  <a:pt x="96" y="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5" name="Freeform 486"/>
          <p:cNvSpPr/>
          <p:nvPr/>
        </p:nvSpPr>
        <p:spPr bwMode="auto">
          <a:xfrm>
            <a:off x="2101850" y="2346960"/>
            <a:ext cx="524510" cy="330835"/>
          </a:xfrm>
          <a:custGeom>
            <a:avLst/>
            <a:gdLst>
              <a:gd name="T0" fmla="*/ 8 w 671"/>
              <a:gd name="T1" fmla="*/ 0 h 446"/>
              <a:gd name="T2" fmla="*/ 9 w 671"/>
              <a:gd name="T3" fmla="*/ 0 h 446"/>
              <a:gd name="T4" fmla="*/ 10 w 671"/>
              <a:gd name="T5" fmla="*/ 1 h 446"/>
              <a:gd name="T6" fmla="*/ 10 w 671"/>
              <a:gd name="T7" fmla="*/ 1 h 446"/>
              <a:gd name="T8" fmla="*/ 11 w 671"/>
              <a:gd name="T9" fmla="*/ 2 h 446"/>
              <a:gd name="T10" fmla="*/ 13 w 671"/>
              <a:gd name="T11" fmla="*/ 3 h 446"/>
              <a:gd name="T12" fmla="*/ 14 w 671"/>
              <a:gd name="T13" fmla="*/ 3 h 446"/>
              <a:gd name="T14" fmla="*/ 15 w 671"/>
              <a:gd name="T15" fmla="*/ 4 h 446"/>
              <a:gd name="T16" fmla="*/ 15 w 671"/>
              <a:gd name="T17" fmla="*/ 6 h 446"/>
              <a:gd name="T18" fmla="*/ 13 w 671"/>
              <a:gd name="T19" fmla="*/ 7 h 446"/>
              <a:gd name="T20" fmla="*/ 11 w 671"/>
              <a:gd name="T21" fmla="*/ 9 h 446"/>
              <a:gd name="T22" fmla="*/ 11 w 671"/>
              <a:gd name="T23" fmla="*/ 9 h 446"/>
              <a:gd name="T24" fmla="*/ 11 w 671"/>
              <a:gd name="T25" fmla="*/ 11 h 446"/>
              <a:gd name="T26" fmla="*/ 10 w 671"/>
              <a:gd name="T27" fmla="*/ 9 h 446"/>
              <a:gd name="T28" fmla="*/ 9 w 671"/>
              <a:gd name="T29" fmla="*/ 8 h 446"/>
              <a:gd name="T30" fmla="*/ 9 w 671"/>
              <a:gd name="T31" fmla="*/ 7 h 446"/>
              <a:gd name="T32" fmla="*/ 7 w 671"/>
              <a:gd name="T33" fmla="*/ 9 h 446"/>
              <a:gd name="T34" fmla="*/ 6 w 671"/>
              <a:gd name="T35" fmla="*/ 8 h 446"/>
              <a:gd name="T36" fmla="*/ 7 w 671"/>
              <a:gd name="T37" fmla="*/ 8 h 446"/>
              <a:gd name="T38" fmla="*/ 7 w 671"/>
              <a:gd name="T39" fmla="*/ 7 h 446"/>
              <a:gd name="T40" fmla="*/ 6 w 671"/>
              <a:gd name="T41" fmla="*/ 6 h 446"/>
              <a:gd name="T42" fmla="*/ 5 w 671"/>
              <a:gd name="T43" fmla="*/ 5 h 446"/>
              <a:gd name="T44" fmla="*/ 2 w 671"/>
              <a:gd name="T45" fmla="*/ 6 h 446"/>
              <a:gd name="T46" fmla="*/ 1 w 671"/>
              <a:gd name="T47" fmla="*/ 6 h 446"/>
              <a:gd name="T48" fmla="*/ 0 w 671"/>
              <a:gd name="T49" fmla="*/ 4 h 446"/>
              <a:gd name="T50" fmla="*/ 2 w 671"/>
              <a:gd name="T51" fmla="*/ 2 h 446"/>
              <a:gd name="T52" fmla="*/ 1 w 671"/>
              <a:gd name="T53" fmla="*/ 1 h 446"/>
              <a:gd name="T54" fmla="*/ 2 w 671"/>
              <a:gd name="T55" fmla="*/ 1 h 446"/>
              <a:gd name="T56" fmla="*/ 3 w 671"/>
              <a:gd name="T57" fmla="*/ 1 h 446"/>
              <a:gd name="T58" fmla="*/ 5 w 671"/>
              <a:gd name="T59" fmla="*/ 1 h 446"/>
              <a:gd name="T60" fmla="*/ 6 w 671"/>
              <a:gd name="T61" fmla="*/ 1 h 446"/>
              <a:gd name="T62" fmla="*/ 7 w 671"/>
              <a:gd name="T63" fmla="*/ 2 h 446"/>
              <a:gd name="T64" fmla="*/ 7 w 671"/>
              <a:gd name="T65" fmla="*/ 1 h 446"/>
              <a:gd name="T66" fmla="*/ 7 w 671"/>
              <a:gd name="T67" fmla="*/ 1 h 4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671"/>
              <a:gd name="T103" fmla="*/ 0 h 446"/>
              <a:gd name="T104" fmla="*/ 671 w 671"/>
              <a:gd name="T105" fmla="*/ 446 h 44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671" h="446">
                <a:moveTo>
                  <a:pt x="334" y="20"/>
                </a:moveTo>
                <a:lnTo>
                  <a:pt x="344" y="17"/>
                </a:lnTo>
                <a:lnTo>
                  <a:pt x="362" y="4"/>
                </a:lnTo>
                <a:lnTo>
                  <a:pt x="379" y="0"/>
                </a:lnTo>
                <a:lnTo>
                  <a:pt x="406" y="4"/>
                </a:lnTo>
                <a:lnTo>
                  <a:pt x="418" y="27"/>
                </a:lnTo>
                <a:lnTo>
                  <a:pt x="424" y="54"/>
                </a:lnTo>
                <a:lnTo>
                  <a:pt x="435" y="63"/>
                </a:lnTo>
                <a:lnTo>
                  <a:pt x="448" y="58"/>
                </a:lnTo>
                <a:lnTo>
                  <a:pt x="481" y="95"/>
                </a:lnTo>
                <a:lnTo>
                  <a:pt x="498" y="124"/>
                </a:lnTo>
                <a:lnTo>
                  <a:pt x="542" y="145"/>
                </a:lnTo>
                <a:lnTo>
                  <a:pt x="574" y="150"/>
                </a:lnTo>
                <a:lnTo>
                  <a:pt x="587" y="145"/>
                </a:lnTo>
                <a:lnTo>
                  <a:pt x="617" y="160"/>
                </a:lnTo>
                <a:lnTo>
                  <a:pt x="650" y="165"/>
                </a:lnTo>
                <a:lnTo>
                  <a:pt x="671" y="233"/>
                </a:lnTo>
                <a:lnTo>
                  <a:pt x="638" y="242"/>
                </a:lnTo>
                <a:lnTo>
                  <a:pt x="631" y="276"/>
                </a:lnTo>
                <a:lnTo>
                  <a:pt x="579" y="311"/>
                </a:lnTo>
                <a:lnTo>
                  <a:pt x="500" y="334"/>
                </a:lnTo>
                <a:lnTo>
                  <a:pt x="491" y="366"/>
                </a:lnTo>
                <a:lnTo>
                  <a:pt x="462" y="352"/>
                </a:lnTo>
                <a:lnTo>
                  <a:pt x="493" y="395"/>
                </a:lnTo>
                <a:lnTo>
                  <a:pt x="540" y="400"/>
                </a:lnTo>
                <a:lnTo>
                  <a:pt x="453" y="446"/>
                </a:lnTo>
                <a:lnTo>
                  <a:pt x="400" y="396"/>
                </a:lnTo>
                <a:lnTo>
                  <a:pt x="444" y="358"/>
                </a:lnTo>
                <a:lnTo>
                  <a:pt x="400" y="349"/>
                </a:lnTo>
                <a:lnTo>
                  <a:pt x="376" y="349"/>
                </a:lnTo>
                <a:lnTo>
                  <a:pt x="383" y="315"/>
                </a:lnTo>
                <a:lnTo>
                  <a:pt x="374" y="320"/>
                </a:lnTo>
                <a:lnTo>
                  <a:pt x="310" y="338"/>
                </a:lnTo>
                <a:lnTo>
                  <a:pt x="289" y="396"/>
                </a:lnTo>
                <a:lnTo>
                  <a:pt x="244" y="394"/>
                </a:lnTo>
                <a:lnTo>
                  <a:pt x="254" y="352"/>
                </a:lnTo>
                <a:lnTo>
                  <a:pt x="255" y="334"/>
                </a:lnTo>
                <a:lnTo>
                  <a:pt x="283" y="325"/>
                </a:lnTo>
                <a:lnTo>
                  <a:pt x="295" y="312"/>
                </a:lnTo>
                <a:lnTo>
                  <a:pt x="298" y="302"/>
                </a:lnTo>
                <a:lnTo>
                  <a:pt x="283" y="296"/>
                </a:lnTo>
                <a:lnTo>
                  <a:pt x="262" y="253"/>
                </a:lnTo>
                <a:lnTo>
                  <a:pt x="236" y="227"/>
                </a:lnTo>
                <a:lnTo>
                  <a:pt x="203" y="227"/>
                </a:lnTo>
                <a:lnTo>
                  <a:pt x="162" y="239"/>
                </a:lnTo>
                <a:lnTo>
                  <a:pt x="100" y="242"/>
                </a:lnTo>
                <a:lnTo>
                  <a:pt x="72" y="250"/>
                </a:lnTo>
                <a:lnTo>
                  <a:pt x="24" y="250"/>
                </a:lnTo>
                <a:lnTo>
                  <a:pt x="0" y="224"/>
                </a:lnTo>
                <a:lnTo>
                  <a:pt x="16" y="185"/>
                </a:lnTo>
                <a:lnTo>
                  <a:pt x="41" y="143"/>
                </a:lnTo>
                <a:lnTo>
                  <a:pt x="73" y="99"/>
                </a:lnTo>
                <a:lnTo>
                  <a:pt x="56" y="47"/>
                </a:lnTo>
                <a:lnTo>
                  <a:pt x="57" y="38"/>
                </a:lnTo>
                <a:lnTo>
                  <a:pt x="70" y="27"/>
                </a:lnTo>
                <a:lnTo>
                  <a:pt x="91" y="31"/>
                </a:lnTo>
                <a:lnTo>
                  <a:pt x="117" y="27"/>
                </a:lnTo>
                <a:lnTo>
                  <a:pt x="143" y="39"/>
                </a:lnTo>
                <a:lnTo>
                  <a:pt x="177" y="54"/>
                </a:lnTo>
                <a:lnTo>
                  <a:pt x="199" y="47"/>
                </a:lnTo>
                <a:lnTo>
                  <a:pt x="220" y="59"/>
                </a:lnTo>
                <a:lnTo>
                  <a:pt x="244" y="65"/>
                </a:lnTo>
                <a:lnTo>
                  <a:pt x="259" y="76"/>
                </a:lnTo>
                <a:lnTo>
                  <a:pt x="276" y="72"/>
                </a:lnTo>
                <a:lnTo>
                  <a:pt x="279" y="49"/>
                </a:lnTo>
                <a:lnTo>
                  <a:pt x="290" y="38"/>
                </a:lnTo>
                <a:lnTo>
                  <a:pt x="314" y="38"/>
                </a:lnTo>
                <a:lnTo>
                  <a:pt x="322" y="31"/>
                </a:lnTo>
                <a:lnTo>
                  <a:pt x="334" y="20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6" name="Freeform 487"/>
          <p:cNvSpPr/>
          <p:nvPr/>
        </p:nvSpPr>
        <p:spPr bwMode="auto">
          <a:xfrm>
            <a:off x="2235835" y="2514600"/>
            <a:ext cx="100965" cy="121920"/>
          </a:xfrm>
          <a:custGeom>
            <a:avLst/>
            <a:gdLst>
              <a:gd name="T0" fmla="*/ 1 w 129"/>
              <a:gd name="T1" fmla="*/ 1 h 165"/>
              <a:gd name="T2" fmla="*/ 1 w 129"/>
              <a:gd name="T3" fmla="*/ 2 h 165"/>
              <a:gd name="T4" fmla="*/ 1 w 129"/>
              <a:gd name="T5" fmla="*/ 2 h 165"/>
              <a:gd name="T6" fmla="*/ 1 w 129"/>
              <a:gd name="T7" fmla="*/ 4 h 165"/>
              <a:gd name="T8" fmla="*/ 2 w 129"/>
              <a:gd name="T9" fmla="*/ 4 h 165"/>
              <a:gd name="T10" fmla="*/ 2 w 129"/>
              <a:gd name="T11" fmla="*/ 3 h 165"/>
              <a:gd name="T12" fmla="*/ 2 w 129"/>
              <a:gd name="T13" fmla="*/ 3 h 165"/>
              <a:gd name="T14" fmla="*/ 3 w 129"/>
              <a:gd name="T15" fmla="*/ 2 h 165"/>
              <a:gd name="T16" fmla="*/ 3 w 129"/>
              <a:gd name="T17" fmla="*/ 2 h 165"/>
              <a:gd name="T18" fmla="*/ 3 w 129"/>
              <a:gd name="T19" fmla="*/ 2 h 165"/>
              <a:gd name="T20" fmla="*/ 2 w 129"/>
              <a:gd name="T21" fmla="*/ 1 h 165"/>
              <a:gd name="T22" fmla="*/ 1 w 129"/>
              <a:gd name="T23" fmla="*/ 0 h 165"/>
              <a:gd name="T24" fmla="*/ 1 w 129"/>
              <a:gd name="T25" fmla="*/ 0 h 165"/>
              <a:gd name="T26" fmla="*/ 0 w 129"/>
              <a:gd name="T27" fmla="*/ 0 h 165"/>
              <a:gd name="T28" fmla="*/ 1 w 129"/>
              <a:gd name="T29" fmla="*/ 1 h 16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9"/>
              <a:gd name="T46" fmla="*/ 0 h 165"/>
              <a:gd name="T47" fmla="*/ 129 w 129"/>
              <a:gd name="T48" fmla="*/ 165 h 16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9" h="165">
                <a:moveTo>
                  <a:pt x="29" y="45"/>
                </a:moveTo>
                <a:lnTo>
                  <a:pt x="46" y="69"/>
                </a:lnTo>
                <a:lnTo>
                  <a:pt x="53" y="87"/>
                </a:lnTo>
                <a:lnTo>
                  <a:pt x="61" y="164"/>
                </a:lnTo>
                <a:lnTo>
                  <a:pt x="73" y="165"/>
                </a:lnTo>
                <a:lnTo>
                  <a:pt x="83" y="125"/>
                </a:lnTo>
                <a:lnTo>
                  <a:pt x="84" y="106"/>
                </a:lnTo>
                <a:lnTo>
                  <a:pt x="121" y="93"/>
                </a:lnTo>
                <a:lnTo>
                  <a:pt x="129" y="76"/>
                </a:lnTo>
                <a:lnTo>
                  <a:pt x="115" y="71"/>
                </a:lnTo>
                <a:lnTo>
                  <a:pt x="93" y="27"/>
                </a:lnTo>
                <a:lnTo>
                  <a:pt x="65" y="3"/>
                </a:lnTo>
                <a:lnTo>
                  <a:pt x="32" y="0"/>
                </a:lnTo>
                <a:lnTo>
                  <a:pt x="0" y="6"/>
                </a:lnTo>
                <a:lnTo>
                  <a:pt x="29" y="45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7" name="Freeform 488"/>
          <p:cNvSpPr/>
          <p:nvPr/>
        </p:nvSpPr>
        <p:spPr bwMode="auto">
          <a:xfrm>
            <a:off x="2593975" y="2676525"/>
            <a:ext cx="218440" cy="107950"/>
          </a:xfrm>
          <a:custGeom>
            <a:avLst/>
            <a:gdLst>
              <a:gd name="T0" fmla="*/ 0 w 282"/>
              <a:gd name="T1" fmla="*/ 0 h 147"/>
              <a:gd name="T2" fmla="*/ 1 w 282"/>
              <a:gd name="T3" fmla="*/ 0 h 147"/>
              <a:gd name="T4" fmla="*/ 3 w 282"/>
              <a:gd name="T5" fmla="*/ 1 h 147"/>
              <a:gd name="T6" fmla="*/ 4 w 282"/>
              <a:gd name="T7" fmla="*/ 1 h 147"/>
              <a:gd name="T8" fmla="*/ 4 w 282"/>
              <a:gd name="T9" fmla="*/ 1 h 147"/>
              <a:gd name="T10" fmla="*/ 5 w 282"/>
              <a:gd name="T11" fmla="*/ 1 h 147"/>
              <a:gd name="T12" fmla="*/ 5 w 282"/>
              <a:gd name="T13" fmla="*/ 1 h 147"/>
              <a:gd name="T14" fmla="*/ 6 w 282"/>
              <a:gd name="T15" fmla="*/ 2 h 147"/>
              <a:gd name="T16" fmla="*/ 6 w 282"/>
              <a:gd name="T17" fmla="*/ 2 h 147"/>
              <a:gd name="T18" fmla="*/ 6 w 282"/>
              <a:gd name="T19" fmla="*/ 2 h 147"/>
              <a:gd name="T20" fmla="*/ 7 w 282"/>
              <a:gd name="T21" fmla="*/ 3 h 147"/>
              <a:gd name="T22" fmla="*/ 6 w 282"/>
              <a:gd name="T23" fmla="*/ 3 h 147"/>
              <a:gd name="T24" fmla="*/ 6 w 282"/>
              <a:gd name="T25" fmla="*/ 3 h 147"/>
              <a:gd name="T26" fmla="*/ 5 w 282"/>
              <a:gd name="T27" fmla="*/ 3 h 147"/>
              <a:gd name="T28" fmla="*/ 5 w 282"/>
              <a:gd name="T29" fmla="*/ 3 h 147"/>
              <a:gd name="T30" fmla="*/ 5 w 282"/>
              <a:gd name="T31" fmla="*/ 3 h 147"/>
              <a:gd name="T32" fmla="*/ 4 w 282"/>
              <a:gd name="T33" fmla="*/ 3 h 147"/>
              <a:gd name="T34" fmla="*/ 3 w 282"/>
              <a:gd name="T35" fmla="*/ 3 h 147"/>
              <a:gd name="T36" fmla="*/ 3 w 282"/>
              <a:gd name="T37" fmla="*/ 3 h 147"/>
              <a:gd name="T38" fmla="*/ 3 w 282"/>
              <a:gd name="T39" fmla="*/ 2 h 147"/>
              <a:gd name="T40" fmla="*/ 1 w 282"/>
              <a:gd name="T41" fmla="*/ 1 h 147"/>
              <a:gd name="T42" fmla="*/ 0 w 282"/>
              <a:gd name="T43" fmla="*/ 0 h 14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82"/>
              <a:gd name="T67" fmla="*/ 0 h 147"/>
              <a:gd name="T68" fmla="*/ 282 w 282"/>
              <a:gd name="T69" fmla="*/ 147 h 14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82" h="147">
                <a:moveTo>
                  <a:pt x="0" y="8"/>
                </a:moveTo>
                <a:lnTo>
                  <a:pt x="68" y="0"/>
                </a:lnTo>
                <a:lnTo>
                  <a:pt x="130" y="31"/>
                </a:lnTo>
                <a:lnTo>
                  <a:pt x="160" y="63"/>
                </a:lnTo>
                <a:lnTo>
                  <a:pt x="192" y="63"/>
                </a:lnTo>
                <a:lnTo>
                  <a:pt x="214" y="50"/>
                </a:lnTo>
                <a:lnTo>
                  <a:pt x="235" y="43"/>
                </a:lnTo>
                <a:lnTo>
                  <a:pt x="249" y="78"/>
                </a:lnTo>
                <a:lnTo>
                  <a:pt x="278" y="86"/>
                </a:lnTo>
                <a:lnTo>
                  <a:pt x="275" y="100"/>
                </a:lnTo>
                <a:lnTo>
                  <a:pt x="282" y="125"/>
                </a:lnTo>
                <a:lnTo>
                  <a:pt x="278" y="144"/>
                </a:lnTo>
                <a:lnTo>
                  <a:pt x="249" y="115"/>
                </a:lnTo>
                <a:lnTo>
                  <a:pt x="235" y="105"/>
                </a:lnTo>
                <a:lnTo>
                  <a:pt x="215" y="105"/>
                </a:lnTo>
                <a:lnTo>
                  <a:pt x="208" y="139"/>
                </a:lnTo>
                <a:lnTo>
                  <a:pt x="187" y="130"/>
                </a:lnTo>
                <a:lnTo>
                  <a:pt x="152" y="147"/>
                </a:lnTo>
                <a:lnTo>
                  <a:pt x="110" y="142"/>
                </a:lnTo>
                <a:lnTo>
                  <a:pt x="109" y="86"/>
                </a:lnTo>
                <a:lnTo>
                  <a:pt x="39" y="35"/>
                </a:lnTo>
                <a:lnTo>
                  <a:pt x="0" y="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8" name="Freeform 489"/>
          <p:cNvSpPr/>
          <p:nvPr/>
        </p:nvSpPr>
        <p:spPr bwMode="auto">
          <a:xfrm>
            <a:off x="2757805" y="2741295"/>
            <a:ext cx="183515" cy="162560"/>
          </a:xfrm>
          <a:custGeom>
            <a:avLst/>
            <a:gdLst>
              <a:gd name="T0" fmla="*/ 2 w 234"/>
              <a:gd name="T1" fmla="*/ 0 h 221"/>
              <a:gd name="T2" fmla="*/ 2 w 234"/>
              <a:gd name="T3" fmla="*/ 0 h 221"/>
              <a:gd name="T4" fmla="*/ 3 w 234"/>
              <a:gd name="T5" fmla="*/ 0 h 221"/>
              <a:gd name="T6" fmla="*/ 4 w 234"/>
              <a:gd name="T7" fmla="*/ 1 h 221"/>
              <a:gd name="T8" fmla="*/ 5 w 234"/>
              <a:gd name="T9" fmla="*/ 2 h 221"/>
              <a:gd name="T10" fmla="*/ 5 w 234"/>
              <a:gd name="T11" fmla="*/ 3 h 221"/>
              <a:gd name="T12" fmla="*/ 5 w 234"/>
              <a:gd name="T13" fmla="*/ 3 h 221"/>
              <a:gd name="T14" fmla="*/ 5 w 234"/>
              <a:gd name="T15" fmla="*/ 4 h 221"/>
              <a:gd name="T16" fmla="*/ 5 w 234"/>
              <a:gd name="T17" fmla="*/ 4 h 221"/>
              <a:gd name="T18" fmla="*/ 4 w 234"/>
              <a:gd name="T19" fmla="*/ 5 h 221"/>
              <a:gd name="T20" fmla="*/ 4 w 234"/>
              <a:gd name="T21" fmla="*/ 5 h 221"/>
              <a:gd name="T22" fmla="*/ 3 w 234"/>
              <a:gd name="T23" fmla="*/ 4 h 221"/>
              <a:gd name="T24" fmla="*/ 3 w 234"/>
              <a:gd name="T25" fmla="*/ 4 h 221"/>
              <a:gd name="T26" fmla="*/ 2 w 234"/>
              <a:gd name="T27" fmla="*/ 5 h 221"/>
              <a:gd name="T28" fmla="*/ 1 w 234"/>
              <a:gd name="T29" fmla="*/ 5 h 221"/>
              <a:gd name="T30" fmla="*/ 1 w 234"/>
              <a:gd name="T31" fmla="*/ 4 h 221"/>
              <a:gd name="T32" fmla="*/ 1 w 234"/>
              <a:gd name="T33" fmla="*/ 4 h 221"/>
              <a:gd name="T34" fmla="*/ 1 w 234"/>
              <a:gd name="T35" fmla="*/ 3 h 221"/>
              <a:gd name="T36" fmla="*/ 1 w 234"/>
              <a:gd name="T37" fmla="*/ 4 h 221"/>
              <a:gd name="T38" fmla="*/ 2 w 234"/>
              <a:gd name="T39" fmla="*/ 4 h 221"/>
              <a:gd name="T40" fmla="*/ 3 w 234"/>
              <a:gd name="T41" fmla="*/ 4 h 221"/>
              <a:gd name="T42" fmla="*/ 1 w 234"/>
              <a:gd name="T43" fmla="*/ 3 h 221"/>
              <a:gd name="T44" fmla="*/ 1 w 234"/>
              <a:gd name="T45" fmla="*/ 2 h 221"/>
              <a:gd name="T46" fmla="*/ 1 w 234"/>
              <a:gd name="T47" fmla="*/ 2 h 221"/>
              <a:gd name="T48" fmla="*/ 1 w 234"/>
              <a:gd name="T49" fmla="*/ 1 h 221"/>
              <a:gd name="T50" fmla="*/ 1 w 234"/>
              <a:gd name="T51" fmla="*/ 1 h 221"/>
              <a:gd name="T52" fmla="*/ 0 w 234"/>
              <a:gd name="T53" fmla="*/ 1 h 221"/>
              <a:gd name="T54" fmla="*/ 0 w 234"/>
              <a:gd name="T55" fmla="*/ 1 h 221"/>
              <a:gd name="T56" fmla="*/ 0 w 234"/>
              <a:gd name="T57" fmla="*/ 0 h 221"/>
              <a:gd name="T58" fmla="*/ 1 w 234"/>
              <a:gd name="T59" fmla="*/ 0 h 221"/>
              <a:gd name="T60" fmla="*/ 1 w 234"/>
              <a:gd name="T61" fmla="*/ 1 h 221"/>
              <a:gd name="T62" fmla="*/ 2 w 234"/>
              <a:gd name="T63" fmla="*/ 1 h 221"/>
              <a:gd name="T64" fmla="*/ 2 w 234"/>
              <a:gd name="T65" fmla="*/ 1 h 221"/>
              <a:gd name="T66" fmla="*/ 1 w 234"/>
              <a:gd name="T67" fmla="*/ 0 h 221"/>
              <a:gd name="T68" fmla="*/ 2 w 234"/>
              <a:gd name="T69" fmla="*/ 0 h 221"/>
              <a:gd name="T70" fmla="*/ 2 w 234"/>
              <a:gd name="T71" fmla="*/ 0 h 22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34"/>
              <a:gd name="T109" fmla="*/ 0 h 221"/>
              <a:gd name="T110" fmla="*/ 234 w 234"/>
              <a:gd name="T111" fmla="*/ 221 h 22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34" h="221">
                <a:moveTo>
                  <a:pt x="89" y="8"/>
                </a:moveTo>
                <a:lnTo>
                  <a:pt x="103" y="8"/>
                </a:lnTo>
                <a:lnTo>
                  <a:pt x="137" y="19"/>
                </a:lnTo>
                <a:lnTo>
                  <a:pt x="171" y="49"/>
                </a:lnTo>
                <a:lnTo>
                  <a:pt x="193" y="83"/>
                </a:lnTo>
                <a:lnTo>
                  <a:pt x="234" y="125"/>
                </a:lnTo>
                <a:lnTo>
                  <a:pt x="211" y="134"/>
                </a:lnTo>
                <a:lnTo>
                  <a:pt x="199" y="160"/>
                </a:lnTo>
                <a:lnTo>
                  <a:pt x="196" y="172"/>
                </a:lnTo>
                <a:lnTo>
                  <a:pt x="185" y="221"/>
                </a:lnTo>
                <a:lnTo>
                  <a:pt x="153" y="207"/>
                </a:lnTo>
                <a:lnTo>
                  <a:pt x="143" y="165"/>
                </a:lnTo>
                <a:lnTo>
                  <a:pt x="114" y="181"/>
                </a:lnTo>
                <a:lnTo>
                  <a:pt x="79" y="206"/>
                </a:lnTo>
                <a:lnTo>
                  <a:pt x="59" y="200"/>
                </a:lnTo>
                <a:lnTo>
                  <a:pt x="42" y="180"/>
                </a:lnTo>
                <a:lnTo>
                  <a:pt x="34" y="160"/>
                </a:lnTo>
                <a:lnTo>
                  <a:pt x="46" y="141"/>
                </a:lnTo>
                <a:lnTo>
                  <a:pt x="56" y="156"/>
                </a:lnTo>
                <a:lnTo>
                  <a:pt x="98" y="179"/>
                </a:lnTo>
                <a:lnTo>
                  <a:pt x="108" y="158"/>
                </a:lnTo>
                <a:lnTo>
                  <a:pt x="68" y="123"/>
                </a:lnTo>
                <a:lnTo>
                  <a:pt x="53" y="94"/>
                </a:lnTo>
                <a:lnTo>
                  <a:pt x="41" y="83"/>
                </a:lnTo>
                <a:lnTo>
                  <a:pt x="41" y="65"/>
                </a:lnTo>
                <a:lnTo>
                  <a:pt x="27" y="58"/>
                </a:lnTo>
                <a:lnTo>
                  <a:pt x="0" y="54"/>
                </a:lnTo>
                <a:lnTo>
                  <a:pt x="6" y="33"/>
                </a:lnTo>
                <a:lnTo>
                  <a:pt x="8" y="19"/>
                </a:lnTo>
                <a:lnTo>
                  <a:pt x="30" y="19"/>
                </a:lnTo>
                <a:lnTo>
                  <a:pt x="41" y="29"/>
                </a:lnTo>
                <a:lnTo>
                  <a:pt x="70" y="58"/>
                </a:lnTo>
                <a:lnTo>
                  <a:pt x="74" y="39"/>
                </a:lnTo>
                <a:lnTo>
                  <a:pt x="67" y="16"/>
                </a:lnTo>
                <a:lnTo>
                  <a:pt x="70" y="0"/>
                </a:lnTo>
                <a:lnTo>
                  <a:pt x="89" y="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9" name="Freeform 490"/>
          <p:cNvSpPr/>
          <p:nvPr/>
        </p:nvSpPr>
        <p:spPr bwMode="auto">
          <a:xfrm>
            <a:off x="2719705" y="2772410"/>
            <a:ext cx="122555" cy="100965"/>
          </a:xfrm>
          <a:custGeom>
            <a:avLst/>
            <a:gdLst>
              <a:gd name="T0" fmla="*/ 0 w 156"/>
              <a:gd name="T1" fmla="*/ 0 h 135"/>
              <a:gd name="T2" fmla="*/ 0 w 156"/>
              <a:gd name="T3" fmla="*/ 1 h 135"/>
              <a:gd name="T4" fmla="*/ 1 w 156"/>
              <a:gd name="T5" fmla="*/ 2 h 135"/>
              <a:gd name="T6" fmla="*/ 2 w 156"/>
              <a:gd name="T7" fmla="*/ 3 h 135"/>
              <a:gd name="T8" fmla="*/ 2 w 156"/>
              <a:gd name="T9" fmla="*/ 2 h 135"/>
              <a:gd name="T10" fmla="*/ 2 w 156"/>
              <a:gd name="T11" fmla="*/ 3 h 135"/>
              <a:gd name="T12" fmla="*/ 3 w 156"/>
              <a:gd name="T13" fmla="*/ 3 h 135"/>
              <a:gd name="T14" fmla="*/ 3 w 156"/>
              <a:gd name="T15" fmla="*/ 3 h 135"/>
              <a:gd name="T16" fmla="*/ 4 w 156"/>
              <a:gd name="T17" fmla="*/ 3 h 135"/>
              <a:gd name="T18" fmla="*/ 3 w 156"/>
              <a:gd name="T19" fmla="*/ 2 h 135"/>
              <a:gd name="T20" fmla="*/ 3 w 156"/>
              <a:gd name="T21" fmla="*/ 1 h 135"/>
              <a:gd name="T22" fmla="*/ 2 w 156"/>
              <a:gd name="T23" fmla="*/ 1 h 135"/>
              <a:gd name="T24" fmla="*/ 2 w 156"/>
              <a:gd name="T25" fmla="*/ 1 h 135"/>
              <a:gd name="T26" fmla="*/ 2 w 156"/>
              <a:gd name="T27" fmla="*/ 0 h 135"/>
              <a:gd name="T28" fmla="*/ 1 w 156"/>
              <a:gd name="T29" fmla="*/ 0 h 135"/>
              <a:gd name="T30" fmla="*/ 1 w 156"/>
              <a:gd name="T31" fmla="*/ 0 h 135"/>
              <a:gd name="T32" fmla="*/ 0 w 156"/>
              <a:gd name="T33" fmla="*/ 0 h 135"/>
              <a:gd name="T34" fmla="*/ 0 w 156"/>
              <a:gd name="T35" fmla="*/ 0 h 13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6"/>
              <a:gd name="T55" fmla="*/ 0 h 135"/>
              <a:gd name="T56" fmla="*/ 156 w 156"/>
              <a:gd name="T57" fmla="*/ 135 h 13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6" h="135">
                <a:moveTo>
                  <a:pt x="0" y="18"/>
                </a:moveTo>
                <a:lnTo>
                  <a:pt x="16" y="40"/>
                </a:lnTo>
                <a:lnTo>
                  <a:pt x="40" y="74"/>
                </a:lnTo>
                <a:lnTo>
                  <a:pt x="77" y="117"/>
                </a:lnTo>
                <a:lnTo>
                  <a:pt x="99" y="91"/>
                </a:lnTo>
                <a:lnTo>
                  <a:pt x="100" y="114"/>
                </a:lnTo>
                <a:lnTo>
                  <a:pt x="117" y="117"/>
                </a:lnTo>
                <a:lnTo>
                  <a:pt x="145" y="135"/>
                </a:lnTo>
                <a:lnTo>
                  <a:pt x="156" y="114"/>
                </a:lnTo>
                <a:lnTo>
                  <a:pt x="116" y="79"/>
                </a:lnTo>
                <a:lnTo>
                  <a:pt x="104" y="52"/>
                </a:lnTo>
                <a:lnTo>
                  <a:pt x="89" y="39"/>
                </a:lnTo>
                <a:lnTo>
                  <a:pt x="89" y="21"/>
                </a:lnTo>
                <a:lnTo>
                  <a:pt x="75" y="14"/>
                </a:lnTo>
                <a:lnTo>
                  <a:pt x="47" y="9"/>
                </a:lnTo>
                <a:lnTo>
                  <a:pt x="26" y="0"/>
                </a:lnTo>
                <a:lnTo>
                  <a:pt x="5" y="4"/>
                </a:lnTo>
                <a:lnTo>
                  <a:pt x="0" y="1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0" name="Freeform 491"/>
          <p:cNvSpPr/>
          <p:nvPr/>
        </p:nvSpPr>
        <p:spPr bwMode="auto">
          <a:xfrm>
            <a:off x="2787650" y="2214880"/>
            <a:ext cx="1243965" cy="586105"/>
          </a:xfrm>
          <a:custGeom>
            <a:avLst/>
            <a:gdLst>
              <a:gd name="T0" fmla="*/ 35 w 1596"/>
              <a:gd name="T1" fmla="*/ 8 h 795"/>
              <a:gd name="T2" fmla="*/ 31 w 1596"/>
              <a:gd name="T3" fmla="*/ 7 h 795"/>
              <a:gd name="T4" fmla="*/ 30 w 1596"/>
              <a:gd name="T5" fmla="*/ 6 h 795"/>
              <a:gd name="T6" fmla="*/ 29 w 1596"/>
              <a:gd name="T7" fmla="*/ 6 h 795"/>
              <a:gd name="T8" fmla="*/ 27 w 1596"/>
              <a:gd name="T9" fmla="*/ 5 h 795"/>
              <a:gd name="T10" fmla="*/ 24 w 1596"/>
              <a:gd name="T11" fmla="*/ 3 h 795"/>
              <a:gd name="T12" fmla="*/ 20 w 1596"/>
              <a:gd name="T13" fmla="*/ 2 h 795"/>
              <a:gd name="T14" fmla="*/ 17 w 1596"/>
              <a:gd name="T15" fmla="*/ 1 h 795"/>
              <a:gd name="T16" fmla="*/ 15 w 1596"/>
              <a:gd name="T17" fmla="*/ 1 h 795"/>
              <a:gd name="T18" fmla="*/ 12 w 1596"/>
              <a:gd name="T19" fmla="*/ 1 h 795"/>
              <a:gd name="T20" fmla="*/ 9 w 1596"/>
              <a:gd name="T21" fmla="*/ 1 h 795"/>
              <a:gd name="T22" fmla="*/ 9 w 1596"/>
              <a:gd name="T23" fmla="*/ 4 h 795"/>
              <a:gd name="T24" fmla="*/ 10 w 1596"/>
              <a:gd name="T25" fmla="*/ 5 h 795"/>
              <a:gd name="T26" fmla="*/ 10 w 1596"/>
              <a:gd name="T27" fmla="*/ 6 h 795"/>
              <a:gd name="T28" fmla="*/ 9 w 1596"/>
              <a:gd name="T29" fmla="*/ 6 h 795"/>
              <a:gd name="T30" fmla="*/ 7 w 1596"/>
              <a:gd name="T31" fmla="*/ 5 h 795"/>
              <a:gd name="T32" fmla="*/ 6 w 1596"/>
              <a:gd name="T33" fmla="*/ 6 h 795"/>
              <a:gd name="T34" fmla="*/ 5 w 1596"/>
              <a:gd name="T35" fmla="*/ 5 h 795"/>
              <a:gd name="T36" fmla="*/ 2 w 1596"/>
              <a:gd name="T37" fmla="*/ 5 h 795"/>
              <a:gd name="T38" fmla="*/ 1 w 1596"/>
              <a:gd name="T39" fmla="*/ 6 h 795"/>
              <a:gd name="T40" fmla="*/ 1 w 1596"/>
              <a:gd name="T41" fmla="*/ 7 h 795"/>
              <a:gd name="T42" fmla="*/ 0 w 1596"/>
              <a:gd name="T43" fmla="*/ 7 h 795"/>
              <a:gd name="T44" fmla="*/ 0 w 1596"/>
              <a:gd name="T45" fmla="*/ 9 h 795"/>
              <a:gd name="T46" fmla="*/ 1 w 1596"/>
              <a:gd name="T47" fmla="*/ 10 h 795"/>
              <a:gd name="T48" fmla="*/ 2 w 1596"/>
              <a:gd name="T49" fmla="*/ 10 h 795"/>
              <a:gd name="T50" fmla="*/ 3 w 1596"/>
              <a:gd name="T51" fmla="*/ 12 h 795"/>
              <a:gd name="T52" fmla="*/ 7 w 1596"/>
              <a:gd name="T53" fmla="*/ 11 h 795"/>
              <a:gd name="T54" fmla="*/ 6 w 1596"/>
              <a:gd name="T55" fmla="*/ 13 h 795"/>
              <a:gd name="T56" fmla="*/ 4 w 1596"/>
              <a:gd name="T57" fmla="*/ 15 h 795"/>
              <a:gd name="T58" fmla="*/ 7 w 1596"/>
              <a:gd name="T59" fmla="*/ 17 h 795"/>
              <a:gd name="T60" fmla="*/ 8 w 1596"/>
              <a:gd name="T61" fmla="*/ 17 h 795"/>
              <a:gd name="T62" fmla="*/ 9 w 1596"/>
              <a:gd name="T63" fmla="*/ 17 h 795"/>
              <a:gd name="T64" fmla="*/ 9 w 1596"/>
              <a:gd name="T65" fmla="*/ 13 h 795"/>
              <a:gd name="T66" fmla="*/ 11 w 1596"/>
              <a:gd name="T67" fmla="*/ 12 h 795"/>
              <a:gd name="T68" fmla="*/ 11 w 1596"/>
              <a:gd name="T69" fmla="*/ 11 h 795"/>
              <a:gd name="T70" fmla="*/ 12 w 1596"/>
              <a:gd name="T71" fmla="*/ 11 h 795"/>
              <a:gd name="T72" fmla="*/ 13 w 1596"/>
              <a:gd name="T73" fmla="*/ 12 h 795"/>
              <a:gd name="T74" fmla="*/ 13 w 1596"/>
              <a:gd name="T75" fmla="*/ 13 h 795"/>
              <a:gd name="T76" fmla="*/ 14 w 1596"/>
              <a:gd name="T77" fmla="*/ 15 h 795"/>
              <a:gd name="T78" fmla="*/ 17 w 1596"/>
              <a:gd name="T79" fmla="*/ 15 h 795"/>
              <a:gd name="T80" fmla="*/ 17 w 1596"/>
              <a:gd name="T81" fmla="*/ 17 h 795"/>
              <a:gd name="T82" fmla="*/ 18 w 1596"/>
              <a:gd name="T83" fmla="*/ 19 h 795"/>
              <a:gd name="T84" fmla="*/ 21 w 1596"/>
              <a:gd name="T85" fmla="*/ 18 h 795"/>
              <a:gd name="T86" fmla="*/ 23 w 1596"/>
              <a:gd name="T87" fmla="*/ 18 h 795"/>
              <a:gd name="T88" fmla="*/ 23 w 1596"/>
              <a:gd name="T89" fmla="*/ 17 h 795"/>
              <a:gd name="T90" fmla="*/ 23 w 1596"/>
              <a:gd name="T91" fmla="*/ 16 h 795"/>
              <a:gd name="T92" fmla="*/ 25 w 1596"/>
              <a:gd name="T93" fmla="*/ 17 h 795"/>
              <a:gd name="T94" fmla="*/ 27 w 1596"/>
              <a:gd name="T95" fmla="*/ 16 h 795"/>
              <a:gd name="T96" fmla="*/ 31 w 1596"/>
              <a:gd name="T97" fmla="*/ 17 h 795"/>
              <a:gd name="T98" fmla="*/ 31 w 1596"/>
              <a:gd name="T99" fmla="*/ 14 h 795"/>
              <a:gd name="T100" fmla="*/ 34 w 1596"/>
              <a:gd name="T101" fmla="*/ 11 h 79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96"/>
              <a:gd name="T154" fmla="*/ 0 h 795"/>
              <a:gd name="T155" fmla="*/ 1596 w 1596"/>
              <a:gd name="T156" fmla="*/ 795 h 79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96" h="795">
                <a:moveTo>
                  <a:pt x="1561" y="408"/>
                </a:moveTo>
                <a:lnTo>
                  <a:pt x="1596" y="391"/>
                </a:lnTo>
                <a:lnTo>
                  <a:pt x="1516" y="328"/>
                </a:lnTo>
                <a:lnTo>
                  <a:pt x="1467" y="354"/>
                </a:lnTo>
                <a:lnTo>
                  <a:pt x="1395" y="331"/>
                </a:lnTo>
                <a:lnTo>
                  <a:pt x="1358" y="311"/>
                </a:lnTo>
                <a:lnTo>
                  <a:pt x="1327" y="311"/>
                </a:lnTo>
                <a:lnTo>
                  <a:pt x="1310" y="272"/>
                </a:lnTo>
                <a:lnTo>
                  <a:pt x="1297" y="246"/>
                </a:lnTo>
                <a:lnTo>
                  <a:pt x="1273" y="246"/>
                </a:lnTo>
                <a:lnTo>
                  <a:pt x="1247" y="246"/>
                </a:lnTo>
                <a:lnTo>
                  <a:pt x="1226" y="257"/>
                </a:lnTo>
                <a:lnTo>
                  <a:pt x="1186" y="212"/>
                </a:lnTo>
                <a:lnTo>
                  <a:pt x="1171" y="220"/>
                </a:lnTo>
                <a:lnTo>
                  <a:pt x="1150" y="230"/>
                </a:lnTo>
                <a:lnTo>
                  <a:pt x="1133" y="239"/>
                </a:lnTo>
                <a:lnTo>
                  <a:pt x="1098" y="207"/>
                </a:lnTo>
                <a:lnTo>
                  <a:pt x="1017" y="134"/>
                </a:lnTo>
                <a:lnTo>
                  <a:pt x="958" y="89"/>
                </a:lnTo>
                <a:lnTo>
                  <a:pt x="919" y="50"/>
                </a:lnTo>
                <a:lnTo>
                  <a:pt x="852" y="97"/>
                </a:lnTo>
                <a:lnTo>
                  <a:pt x="841" y="62"/>
                </a:lnTo>
                <a:lnTo>
                  <a:pt x="750" y="58"/>
                </a:lnTo>
                <a:lnTo>
                  <a:pt x="739" y="58"/>
                </a:lnTo>
                <a:lnTo>
                  <a:pt x="696" y="0"/>
                </a:lnTo>
                <a:lnTo>
                  <a:pt x="654" y="8"/>
                </a:lnTo>
                <a:lnTo>
                  <a:pt x="623" y="31"/>
                </a:lnTo>
                <a:lnTo>
                  <a:pt x="566" y="44"/>
                </a:lnTo>
                <a:lnTo>
                  <a:pt x="546" y="32"/>
                </a:lnTo>
                <a:lnTo>
                  <a:pt x="516" y="67"/>
                </a:lnTo>
                <a:lnTo>
                  <a:pt x="492" y="62"/>
                </a:lnTo>
                <a:lnTo>
                  <a:pt x="409" y="70"/>
                </a:lnTo>
                <a:lnTo>
                  <a:pt x="395" y="67"/>
                </a:lnTo>
                <a:lnTo>
                  <a:pt x="384" y="75"/>
                </a:lnTo>
                <a:lnTo>
                  <a:pt x="417" y="119"/>
                </a:lnTo>
                <a:lnTo>
                  <a:pt x="395" y="159"/>
                </a:lnTo>
                <a:lnTo>
                  <a:pt x="396" y="189"/>
                </a:lnTo>
                <a:lnTo>
                  <a:pt x="396" y="204"/>
                </a:lnTo>
                <a:lnTo>
                  <a:pt x="441" y="204"/>
                </a:lnTo>
                <a:lnTo>
                  <a:pt x="454" y="230"/>
                </a:lnTo>
                <a:lnTo>
                  <a:pt x="454" y="257"/>
                </a:lnTo>
                <a:lnTo>
                  <a:pt x="441" y="263"/>
                </a:lnTo>
                <a:lnTo>
                  <a:pt x="425" y="246"/>
                </a:lnTo>
                <a:lnTo>
                  <a:pt x="405" y="257"/>
                </a:lnTo>
                <a:lnTo>
                  <a:pt x="395" y="269"/>
                </a:lnTo>
                <a:lnTo>
                  <a:pt x="361" y="246"/>
                </a:lnTo>
                <a:lnTo>
                  <a:pt x="351" y="224"/>
                </a:lnTo>
                <a:lnTo>
                  <a:pt x="322" y="235"/>
                </a:lnTo>
                <a:lnTo>
                  <a:pt x="322" y="243"/>
                </a:lnTo>
                <a:lnTo>
                  <a:pt x="302" y="224"/>
                </a:lnTo>
                <a:lnTo>
                  <a:pt x="273" y="246"/>
                </a:lnTo>
                <a:lnTo>
                  <a:pt x="240" y="257"/>
                </a:lnTo>
                <a:lnTo>
                  <a:pt x="229" y="246"/>
                </a:lnTo>
                <a:lnTo>
                  <a:pt x="221" y="224"/>
                </a:lnTo>
                <a:lnTo>
                  <a:pt x="176" y="220"/>
                </a:lnTo>
                <a:lnTo>
                  <a:pt x="103" y="216"/>
                </a:lnTo>
                <a:lnTo>
                  <a:pt x="85" y="220"/>
                </a:lnTo>
                <a:lnTo>
                  <a:pt x="81" y="235"/>
                </a:lnTo>
                <a:lnTo>
                  <a:pt x="69" y="230"/>
                </a:lnTo>
                <a:lnTo>
                  <a:pt x="54" y="254"/>
                </a:lnTo>
                <a:lnTo>
                  <a:pt x="43" y="272"/>
                </a:lnTo>
                <a:lnTo>
                  <a:pt x="43" y="281"/>
                </a:lnTo>
                <a:lnTo>
                  <a:pt x="51" y="299"/>
                </a:lnTo>
                <a:lnTo>
                  <a:pt x="39" y="304"/>
                </a:lnTo>
                <a:lnTo>
                  <a:pt x="28" y="272"/>
                </a:lnTo>
                <a:lnTo>
                  <a:pt x="7" y="276"/>
                </a:lnTo>
                <a:lnTo>
                  <a:pt x="0" y="318"/>
                </a:lnTo>
                <a:lnTo>
                  <a:pt x="0" y="343"/>
                </a:lnTo>
                <a:lnTo>
                  <a:pt x="0" y="366"/>
                </a:lnTo>
                <a:lnTo>
                  <a:pt x="11" y="387"/>
                </a:lnTo>
                <a:lnTo>
                  <a:pt x="20" y="399"/>
                </a:lnTo>
                <a:lnTo>
                  <a:pt x="20" y="424"/>
                </a:lnTo>
                <a:lnTo>
                  <a:pt x="39" y="422"/>
                </a:lnTo>
                <a:lnTo>
                  <a:pt x="62" y="403"/>
                </a:lnTo>
                <a:lnTo>
                  <a:pt x="74" y="422"/>
                </a:lnTo>
                <a:lnTo>
                  <a:pt x="91" y="445"/>
                </a:lnTo>
                <a:lnTo>
                  <a:pt x="103" y="468"/>
                </a:lnTo>
                <a:lnTo>
                  <a:pt x="121" y="512"/>
                </a:lnTo>
                <a:lnTo>
                  <a:pt x="157" y="501"/>
                </a:lnTo>
                <a:lnTo>
                  <a:pt x="209" y="489"/>
                </a:lnTo>
                <a:lnTo>
                  <a:pt x="291" y="477"/>
                </a:lnTo>
                <a:lnTo>
                  <a:pt x="312" y="506"/>
                </a:lnTo>
                <a:lnTo>
                  <a:pt x="316" y="562"/>
                </a:lnTo>
                <a:lnTo>
                  <a:pt x="273" y="573"/>
                </a:lnTo>
                <a:lnTo>
                  <a:pt x="240" y="581"/>
                </a:lnTo>
                <a:lnTo>
                  <a:pt x="248" y="621"/>
                </a:lnTo>
                <a:lnTo>
                  <a:pt x="191" y="621"/>
                </a:lnTo>
                <a:lnTo>
                  <a:pt x="240" y="699"/>
                </a:lnTo>
                <a:lnTo>
                  <a:pt x="262" y="706"/>
                </a:lnTo>
                <a:lnTo>
                  <a:pt x="284" y="710"/>
                </a:lnTo>
                <a:lnTo>
                  <a:pt x="298" y="744"/>
                </a:lnTo>
                <a:lnTo>
                  <a:pt x="311" y="731"/>
                </a:lnTo>
                <a:lnTo>
                  <a:pt x="352" y="723"/>
                </a:lnTo>
                <a:lnTo>
                  <a:pt x="378" y="736"/>
                </a:lnTo>
                <a:lnTo>
                  <a:pt x="395" y="753"/>
                </a:lnTo>
                <a:lnTo>
                  <a:pt x="406" y="736"/>
                </a:lnTo>
                <a:lnTo>
                  <a:pt x="435" y="741"/>
                </a:lnTo>
                <a:lnTo>
                  <a:pt x="386" y="565"/>
                </a:lnTo>
                <a:lnTo>
                  <a:pt x="405" y="556"/>
                </a:lnTo>
                <a:lnTo>
                  <a:pt x="469" y="518"/>
                </a:lnTo>
                <a:lnTo>
                  <a:pt x="480" y="515"/>
                </a:lnTo>
                <a:lnTo>
                  <a:pt x="471" y="501"/>
                </a:lnTo>
                <a:lnTo>
                  <a:pt x="484" y="508"/>
                </a:lnTo>
                <a:lnTo>
                  <a:pt x="484" y="489"/>
                </a:lnTo>
                <a:lnTo>
                  <a:pt x="492" y="477"/>
                </a:lnTo>
                <a:lnTo>
                  <a:pt x="498" y="483"/>
                </a:lnTo>
                <a:lnTo>
                  <a:pt x="513" y="483"/>
                </a:lnTo>
                <a:lnTo>
                  <a:pt x="527" y="493"/>
                </a:lnTo>
                <a:lnTo>
                  <a:pt x="544" y="470"/>
                </a:lnTo>
                <a:lnTo>
                  <a:pt x="558" y="477"/>
                </a:lnTo>
                <a:lnTo>
                  <a:pt x="544" y="508"/>
                </a:lnTo>
                <a:lnTo>
                  <a:pt x="554" y="550"/>
                </a:lnTo>
                <a:lnTo>
                  <a:pt x="584" y="575"/>
                </a:lnTo>
                <a:lnTo>
                  <a:pt x="584" y="581"/>
                </a:lnTo>
                <a:lnTo>
                  <a:pt x="575" y="602"/>
                </a:lnTo>
                <a:lnTo>
                  <a:pt x="577" y="611"/>
                </a:lnTo>
                <a:lnTo>
                  <a:pt x="621" y="629"/>
                </a:lnTo>
                <a:lnTo>
                  <a:pt x="632" y="656"/>
                </a:lnTo>
                <a:lnTo>
                  <a:pt x="671" y="639"/>
                </a:lnTo>
                <a:lnTo>
                  <a:pt x="717" y="629"/>
                </a:lnTo>
                <a:lnTo>
                  <a:pt x="750" y="708"/>
                </a:lnTo>
                <a:lnTo>
                  <a:pt x="763" y="745"/>
                </a:lnTo>
                <a:lnTo>
                  <a:pt x="751" y="754"/>
                </a:lnTo>
                <a:lnTo>
                  <a:pt x="746" y="768"/>
                </a:lnTo>
                <a:lnTo>
                  <a:pt x="779" y="779"/>
                </a:lnTo>
                <a:lnTo>
                  <a:pt x="789" y="795"/>
                </a:lnTo>
                <a:lnTo>
                  <a:pt x="835" y="779"/>
                </a:lnTo>
                <a:lnTo>
                  <a:pt x="848" y="795"/>
                </a:lnTo>
                <a:lnTo>
                  <a:pt x="882" y="776"/>
                </a:lnTo>
                <a:lnTo>
                  <a:pt x="904" y="771"/>
                </a:lnTo>
                <a:lnTo>
                  <a:pt x="930" y="777"/>
                </a:lnTo>
                <a:lnTo>
                  <a:pt x="989" y="777"/>
                </a:lnTo>
                <a:lnTo>
                  <a:pt x="977" y="764"/>
                </a:lnTo>
                <a:lnTo>
                  <a:pt x="977" y="741"/>
                </a:lnTo>
                <a:lnTo>
                  <a:pt x="984" y="726"/>
                </a:lnTo>
                <a:lnTo>
                  <a:pt x="984" y="714"/>
                </a:lnTo>
                <a:lnTo>
                  <a:pt x="967" y="702"/>
                </a:lnTo>
                <a:lnTo>
                  <a:pt x="1004" y="698"/>
                </a:lnTo>
                <a:lnTo>
                  <a:pt x="1039" y="702"/>
                </a:lnTo>
                <a:lnTo>
                  <a:pt x="1047" y="714"/>
                </a:lnTo>
                <a:lnTo>
                  <a:pt x="1071" y="708"/>
                </a:lnTo>
                <a:lnTo>
                  <a:pt x="1055" y="673"/>
                </a:lnTo>
                <a:lnTo>
                  <a:pt x="1073" y="669"/>
                </a:lnTo>
                <a:lnTo>
                  <a:pt x="1166" y="683"/>
                </a:lnTo>
                <a:lnTo>
                  <a:pt x="1241" y="691"/>
                </a:lnTo>
                <a:lnTo>
                  <a:pt x="1297" y="719"/>
                </a:lnTo>
                <a:lnTo>
                  <a:pt x="1327" y="719"/>
                </a:lnTo>
                <a:lnTo>
                  <a:pt x="1336" y="753"/>
                </a:lnTo>
                <a:lnTo>
                  <a:pt x="1358" y="683"/>
                </a:lnTo>
                <a:lnTo>
                  <a:pt x="1327" y="607"/>
                </a:lnTo>
                <a:lnTo>
                  <a:pt x="1422" y="581"/>
                </a:lnTo>
                <a:lnTo>
                  <a:pt x="1436" y="539"/>
                </a:lnTo>
                <a:lnTo>
                  <a:pt x="1448" y="477"/>
                </a:lnTo>
                <a:lnTo>
                  <a:pt x="1545" y="483"/>
                </a:lnTo>
                <a:lnTo>
                  <a:pt x="1561" y="408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1" name="Freeform 492"/>
          <p:cNvSpPr/>
          <p:nvPr/>
        </p:nvSpPr>
        <p:spPr bwMode="auto">
          <a:xfrm>
            <a:off x="3085465" y="2592070"/>
            <a:ext cx="547370" cy="363855"/>
          </a:xfrm>
          <a:custGeom>
            <a:avLst/>
            <a:gdLst>
              <a:gd name="T0" fmla="*/ 1 w 697"/>
              <a:gd name="T1" fmla="*/ 5 h 492"/>
              <a:gd name="T2" fmla="*/ 2 w 697"/>
              <a:gd name="T3" fmla="*/ 4 h 492"/>
              <a:gd name="T4" fmla="*/ 2 w 697"/>
              <a:gd name="T5" fmla="*/ 4 h 492"/>
              <a:gd name="T6" fmla="*/ 3 w 697"/>
              <a:gd name="T7" fmla="*/ 4 h 492"/>
              <a:gd name="T8" fmla="*/ 4 w 697"/>
              <a:gd name="T9" fmla="*/ 4 h 492"/>
              <a:gd name="T10" fmla="*/ 4 w 697"/>
              <a:gd name="T11" fmla="*/ 5 h 492"/>
              <a:gd name="T12" fmla="*/ 4 w 697"/>
              <a:gd name="T13" fmla="*/ 5 h 492"/>
              <a:gd name="T14" fmla="*/ 5 w 697"/>
              <a:gd name="T15" fmla="*/ 7 h 492"/>
              <a:gd name="T16" fmla="*/ 5 w 697"/>
              <a:gd name="T17" fmla="*/ 6 h 492"/>
              <a:gd name="T18" fmla="*/ 6 w 697"/>
              <a:gd name="T19" fmla="*/ 7 h 492"/>
              <a:gd name="T20" fmla="*/ 8 w 697"/>
              <a:gd name="T21" fmla="*/ 8 h 492"/>
              <a:gd name="T22" fmla="*/ 9 w 697"/>
              <a:gd name="T23" fmla="*/ 9 h 492"/>
              <a:gd name="T24" fmla="*/ 10 w 697"/>
              <a:gd name="T25" fmla="*/ 10 h 492"/>
              <a:gd name="T26" fmla="*/ 11 w 697"/>
              <a:gd name="T27" fmla="*/ 11 h 492"/>
              <a:gd name="T28" fmla="*/ 12 w 697"/>
              <a:gd name="T29" fmla="*/ 10 h 492"/>
              <a:gd name="T30" fmla="*/ 12 w 697"/>
              <a:gd name="T31" fmla="*/ 9 h 492"/>
              <a:gd name="T32" fmla="*/ 11 w 697"/>
              <a:gd name="T33" fmla="*/ 7 h 492"/>
              <a:gd name="T34" fmla="*/ 12 w 697"/>
              <a:gd name="T35" fmla="*/ 7 h 492"/>
              <a:gd name="T36" fmla="*/ 14 w 697"/>
              <a:gd name="T37" fmla="*/ 7 h 492"/>
              <a:gd name="T38" fmla="*/ 16 w 697"/>
              <a:gd name="T39" fmla="*/ 7 h 492"/>
              <a:gd name="T40" fmla="*/ 16 w 697"/>
              <a:gd name="T41" fmla="*/ 6 h 492"/>
              <a:gd name="T42" fmla="*/ 13 w 697"/>
              <a:gd name="T43" fmla="*/ 6 h 492"/>
              <a:gd name="T44" fmla="*/ 12 w 697"/>
              <a:gd name="T45" fmla="*/ 6 h 492"/>
              <a:gd name="T46" fmla="*/ 11 w 697"/>
              <a:gd name="T47" fmla="*/ 7 h 492"/>
              <a:gd name="T48" fmla="*/ 10 w 697"/>
              <a:gd name="T49" fmla="*/ 6 h 492"/>
              <a:gd name="T50" fmla="*/ 9 w 697"/>
              <a:gd name="T51" fmla="*/ 7 h 492"/>
              <a:gd name="T52" fmla="*/ 9 w 697"/>
              <a:gd name="T53" fmla="*/ 6 h 492"/>
              <a:gd name="T54" fmla="*/ 9 w 697"/>
              <a:gd name="T55" fmla="*/ 5 h 492"/>
              <a:gd name="T56" fmla="*/ 9 w 697"/>
              <a:gd name="T57" fmla="*/ 4 h 492"/>
              <a:gd name="T58" fmla="*/ 6 w 697"/>
              <a:gd name="T59" fmla="*/ 3 h 492"/>
              <a:gd name="T60" fmla="*/ 5 w 697"/>
              <a:gd name="T61" fmla="*/ 2 h 492"/>
              <a:gd name="T62" fmla="*/ 3 w 697"/>
              <a:gd name="T63" fmla="*/ 3 h 492"/>
              <a:gd name="T64" fmla="*/ 2 w 697"/>
              <a:gd name="T65" fmla="*/ 1 h 492"/>
              <a:gd name="T66" fmla="*/ 2 w 697"/>
              <a:gd name="T67" fmla="*/ 0 h 492"/>
              <a:gd name="T68" fmla="*/ 1 w 697"/>
              <a:gd name="T69" fmla="*/ 5 h 49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97"/>
              <a:gd name="T106" fmla="*/ 0 h 492"/>
              <a:gd name="T107" fmla="*/ 697 w 697"/>
              <a:gd name="T108" fmla="*/ 492 h 49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97" h="492">
                <a:moveTo>
                  <a:pt x="49" y="226"/>
                </a:moveTo>
                <a:lnTo>
                  <a:pt x="65" y="221"/>
                </a:lnTo>
                <a:lnTo>
                  <a:pt x="72" y="202"/>
                </a:lnTo>
                <a:lnTo>
                  <a:pt x="81" y="184"/>
                </a:lnTo>
                <a:lnTo>
                  <a:pt x="98" y="193"/>
                </a:lnTo>
                <a:lnTo>
                  <a:pt x="94" y="168"/>
                </a:lnTo>
                <a:lnTo>
                  <a:pt x="112" y="158"/>
                </a:lnTo>
                <a:lnTo>
                  <a:pt x="124" y="176"/>
                </a:lnTo>
                <a:lnTo>
                  <a:pt x="141" y="176"/>
                </a:lnTo>
                <a:lnTo>
                  <a:pt x="158" y="187"/>
                </a:lnTo>
                <a:lnTo>
                  <a:pt x="168" y="193"/>
                </a:lnTo>
                <a:lnTo>
                  <a:pt x="168" y="199"/>
                </a:lnTo>
                <a:lnTo>
                  <a:pt x="169" y="214"/>
                </a:lnTo>
                <a:lnTo>
                  <a:pt x="189" y="221"/>
                </a:lnTo>
                <a:lnTo>
                  <a:pt x="189" y="244"/>
                </a:lnTo>
                <a:lnTo>
                  <a:pt x="205" y="276"/>
                </a:lnTo>
                <a:lnTo>
                  <a:pt x="225" y="280"/>
                </a:lnTo>
                <a:lnTo>
                  <a:pt x="230" y="272"/>
                </a:lnTo>
                <a:lnTo>
                  <a:pt x="251" y="258"/>
                </a:lnTo>
                <a:lnTo>
                  <a:pt x="270" y="276"/>
                </a:lnTo>
                <a:lnTo>
                  <a:pt x="290" y="306"/>
                </a:lnTo>
                <a:lnTo>
                  <a:pt x="325" y="344"/>
                </a:lnTo>
                <a:lnTo>
                  <a:pt x="383" y="360"/>
                </a:lnTo>
                <a:lnTo>
                  <a:pt x="386" y="384"/>
                </a:lnTo>
                <a:lnTo>
                  <a:pt x="423" y="400"/>
                </a:lnTo>
                <a:lnTo>
                  <a:pt x="440" y="425"/>
                </a:lnTo>
                <a:lnTo>
                  <a:pt x="427" y="491"/>
                </a:lnTo>
                <a:lnTo>
                  <a:pt x="459" y="492"/>
                </a:lnTo>
                <a:lnTo>
                  <a:pt x="485" y="457"/>
                </a:lnTo>
                <a:lnTo>
                  <a:pt x="498" y="440"/>
                </a:lnTo>
                <a:lnTo>
                  <a:pt x="507" y="421"/>
                </a:lnTo>
                <a:lnTo>
                  <a:pt x="501" y="387"/>
                </a:lnTo>
                <a:lnTo>
                  <a:pt x="473" y="373"/>
                </a:lnTo>
                <a:lnTo>
                  <a:pt x="481" y="314"/>
                </a:lnTo>
                <a:lnTo>
                  <a:pt x="505" y="290"/>
                </a:lnTo>
                <a:lnTo>
                  <a:pt x="527" y="298"/>
                </a:lnTo>
                <a:lnTo>
                  <a:pt x="579" y="287"/>
                </a:lnTo>
                <a:lnTo>
                  <a:pt x="586" y="311"/>
                </a:lnTo>
                <a:lnTo>
                  <a:pt x="614" y="310"/>
                </a:lnTo>
                <a:lnTo>
                  <a:pt x="680" y="306"/>
                </a:lnTo>
                <a:lnTo>
                  <a:pt x="697" y="276"/>
                </a:lnTo>
                <a:lnTo>
                  <a:pt x="680" y="261"/>
                </a:lnTo>
                <a:lnTo>
                  <a:pt x="637" y="261"/>
                </a:lnTo>
                <a:lnTo>
                  <a:pt x="566" y="261"/>
                </a:lnTo>
                <a:lnTo>
                  <a:pt x="538" y="261"/>
                </a:lnTo>
                <a:lnTo>
                  <a:pt x="510" y="256"/>
                </a:lnTo>
                <a:lnTo>
                  <a:pt x="462" y="280"/>
                </a:lnTo>
                <a:lnTo>
                  <a:pt x="457" y="276"/>
                </a:lnTo>
                <a:lnTo>
                  <a:pt x="449" y="264"/>
                </a:lnTo>
                <a:lnTo>
                  <a:pt x="426" y="272"/>
                </a:lnTo>
                <a:lnTo>
                  <a:pt x="403" y="280"/>
                </a:lnTo>
                <a:lnTo>
                  <a:pt x="398" y="275"/>
                </a:lnTo>
                <a:lnTo>
                  <a:pt x="394" y="264"/>
                </a:lnTo>
                <a:lnTo>
                  <a:pt x="365" y="256"/>
                </a:lnTo>
                <a:lnTo>
                  <a:pt x="360" y="253"/>
                </a:lnTo>
                <a:lnTo>
                  <a:pt x="364" y="239"/>
                </a:lnTo>
                <a:lnTo>
                  <a:pt x="378" y="230"/>
                </a:lnTo>
                <a:lnTo>
                  <a:pt x="360" y="183"/>
                </a:lnTo>
                <a:lnTo>
                  <a:pt x="331" y="114"/>
                </a:lnTo>
                <a:lnTo>
                  <a:pt x="247" y="137"/>
                </a:lnTo>
                <a:lnTo>
                  <a:pt x="230" y="114"/>
                </a:lnTo>
                <a:lnTo>
                  <a:pt x="191" y="96"/>
                </a:lnTo>
                <a:lnTo>
                  <a:pt x="158" y="123"/>
                </a:lnTo>
                <a:lnTo>
                  <a:pt x="126" y="116"/>
                </a:lnTo>
                <a:lnTo>
                  <a:pt x="89" y="87"/>
                </a:lnTo>
                <a:lnTo>
                  <a:pt x="83" y="51"/>
                </a:lnTo>
                <a:lnTo>
                  <a:pt x="85" y="26"/>
                </a:lnTo>
                <a:lnTo>
                  <a:pt x="83" y="0"/>
                </a:lnTo>
                <a:lnTo>
                  <a:pt x="0" y="51"/>
                </a:lnTo>
                <a:lnTo>
                  <a:pt x="49" y="22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2" name="Freeform 493"/>
          <p:cNvSpPr/>
          <p:nvPr/>
        </p:nvSpPr>
        <p:spPr bwMode="auto">
          <a:xfrm>
            <a:off x="3017520" y="2710180"/>
            <a:ext cx="415290" cy="317500"/>
          </a:xfrm>
          <a:custGeom>
            <a:avLst/>
            <a:gdLst>
              <a:gd name="T0" fmla="*/ 0 w 534"/>
              <a:gd name="T1" fmla="*/ 1 h 433"/>
              <a:gd name="T2" fmla="*/ 0 w 534"/>
              <a:gd name="T3" fmla="*/ 3 h 433"/>
              <a:gd name="T4" fmla="*/ 1 w 534"/>
              <a:gd name="T5" fmla="*/ 2 h 433"/>
              <a:gd name="T6" fmla="*/ 2 w 534"/>
              <a:gd name="T7" fmla="*/ 3 h 433"/>
              <a:gd name="T8" fmla="*/ 1 w 534"/>
              <a:gd name="T9" fmla="*/ 3 h 433"/>
              <a:gd name="T10" fmla="*/ 0 w 534"/>
              <a:gd name="T11" fmla="*/ 3 h 433"/>
              <a:gd name="T12" fmla="*/ 0 w 534"/>
              <a:gd name="T13" fmla="*/ 4 h 433"/>
              <a:gd name="T14" fmla="*/ 0 w 534"/>
              <a:gd name="T15" fmla="*/ 4 h 433"/>
              <a:gd name="T16" fmla="*/ 1 w 534"/>
              <a:gd name="T17" fmla="*/ 5 h 433"/>
              <a:gd name="T18" fmla="*/ 1 w 534"/>
              <a:gd name="T19" fmla="*/ 5 h 433"/>
              <a:gd name="T20" fmla="*/ 1 w 534"/>
              <a:gd name="T21" fmla="*/ 5 h 433"/>
              <a:gd name="T22" fmla="*/ 1 w 534"/>
              <a:gd name="T23" fmla="*/ 7 h 433"/>
              <a:gd name="T24" fmla="*/ 3 w 534"/>
              <a:gd name="T25" fmla="*/ 7 h 433"/>
              <a:gd name="T26" fmla="*/ 4 w 534"/>
              <a:gd name="T27" fmla="*/ 6 h 433"/>
              <a:gd name="T28" fmla="*/ 6 w 534"/>
              <a:gd name="T29" fmla="*/ 7 h 433"/>
              <a:gd name="T30" fmla="*/ 7 w 534"/>
              <a:gd name="T31" fmla="*/ 8 h 433"/>
              <a:gd name="T32" fmla="*/ 7 w 534"/>
              <a:gd name="T33" fmla="*/ 9 h 433"/>
              <a:gd name="T34" fmla="*/ 7 w 534"/>
              <a:gd name="T35" fmla="*/ 9 h 433"/>
              <a:gd name="T36" fmla="*/ 9 w 534"/>
              <a:gd name="T37" fmla="*/ 10 h 433"/>
              <a:gd name="T38" fmla="*/ 11 w 534"/>
              <a:gd name="T39" fmla="*/ 7 h 433"/>
              <a:gd name="T40" fmla="*/ 12 w 534"/>
              <a:gd name="T41" fmla="*/ 7 h 433"/>
              <a:gd name="T42" fmla="*/ 12 w 534"/>
              <a:gd name="T43" fmla="*/ 7 h 433"/>
              <a:gd name="T44" fmla="*/ 12 w 534"/>
              <a:gd name="T45" fmla="*/ 6 h 433"/>
              <a:gd name="T46" fmla="*/ 12 w 534"/>
              <a:gd name="T47" fmla="*/ 5 h 433"/>
              <a:gd name="T48" fmla="*/ 11 w 534"/>
              <a:gd name="T49" fmla="*/ 5 h 433"/>
              <a:gd name="T50" fmla="*/ 11 w 534"/>
              <a:gd name="T51" fmla="*/ 5 h 433"/>
              <a:gd name="T52" fmla="*/ 10 w 534"/>
              <a:gd name="T53" fmla="*/ 4 h 433"/>
              <a:gd name="T54" fmla="*/ 9 w 534"/>
              <a:gd name="T55" fmla="*/ 3 h 433"/>
              <a:gd name="T56" fmla="*/ 9 w 534"/>
              <a:gd name="T57" fmla="*/ 3 h 433"/>
              <a:gd name="T58" fmla="*/ 8 w 534"/>
              <a:gd name="T59" fmla="*/ 2 h 433"/>
              <a:gd name="T60" fmla="*/ 7 w 534"/>
              <a:gd name="T61" fmla="*/ 3 h 433"/>
              <a:gd name="T62" fmla="*/ 7 w 534"/>
              <a:gd name="T63" fmla="*/ 3 h 433"/>
              <a:gd name="T64" fmla="*/ 7 w 534"/>
              <a:gd name="T65" fmla="*/ 3 h 433"/>
              <a:gd name="T66" fmla="*/ 7 w 534"/>
              <a:gd name="T67" fmla="*/ 2 h 433"/>
              <a:gd name="T68" fmla="*/ 7 w 534"/>
              <a:gd name="T69" fmla="*/ 1 h 433"/>
              <a:gd name="T70" fmla="*/ 6 w 534"/>
              <a:gd name="T71" fmla="*/ 1 h 433"/>
              <a:gd name="T72" fmla="*/ 6 w 534"/>
              <a:gd name="T73" fmla="*/ 1 h 433"/>
              <a:gd name="T74" fmla="*/ 5 w 534"/>
              <a:gd name="T75" fmla="*/ 0 h 433"/>
              <a:gd name="T76" fmla="*/ 5 w 534"/>
              <a:gd name="T77" fmla="*/ 0 h 433"/>
              <a:gd name="T78" fmla="*/ 5 w 534"/>
              <a:gd name="T79" fmla="*/ 0 h 433"/>
              <a:gd name="T80" fmla="*/ 4 w 534"/>
              <a:gd name="T81" fmla="*/ 0 h 433"/>
              <a:gd name="T82" fmla="*/ 5 w 534"/>
              <a:gd name="T83" fmla="*/ 1 h 433"/>
              <a:gd name="T84" fmla="*/ 4 w 534"/>
              <a:gd name="T85" fmla="*/ 1 h 433"/>
              <a:gd name="T86" fmla="*/ 4 w 534"/>
              <a:gd name="T87" fmla="*/ 1 h 433"/>
              <a:gd name="T88" fmla="*/ 4 w 534"/>
              <a:gd name="T89" fmla="*/ 1 h 433"/>
              <a:gd name="T90" fmla="*/ 3 w 534"/>
              <a:gd name="T91" fmla="*/ 1 h 433"/>
              <a:gd name="T92" fmla="*/ 3 w 534"/>
              <a:gd name="T93" fmla="*/ 1 h 433"/>
              <a:gd name="T94" fmla="*/ 2 w 534"/>
              <a:gd name="T95" fmla="*/ 2 h 433"/>
              <a:gd name="T96" fmla="*/ 2 w 534"/>
              <a:gd name="T97" fmla="*/ 1 h 433"/>
              <a:gd name="T98" fmla="*/ 1 w 534"/>
              <a:gd name="T99" fmla="*/ 1 h 433"/>
              <a:gd name="T100" fmla="*/ 0 w 534"/>
              <a:gd name="T101" fmla="*/ 1 h 43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34"/>
              <a:gd name="T154" fmla="*/ 0 h 433"/>
              <a:gd name="T155" fmla="*/ 534 w 534"/>
              <a:gd name="T156" fmla="*/ 433 h 43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34" h="433">
                <a:moveTo>
                  <a:pt x="0" y="63"/>
                </a:moveTo>
                <a:lnTo>
                  <a:pt x="4" y="118"/>
                </a:lnTo>
                <a:lnTo>
                  <a:pt x="32" y="86"/>
                </a:lnTo>
                <a:lnTo>
                  <a:pt x="72" y="129"/>
                </a:lnTo>
                <a:lnTo>
                  <a:pt x="53" y="156"/>
                </a:lnTo>
                <a:lnTo>
                  <a:pt x="7" y="130"/>
                </a:lnTo>
                <a:lnTo>
                  <a:pt x="1" y="168"/>
                </a:lnTo>
                <a:lnTo>
                  <a:pt x="7" y="191"/>
                </a:lnTo>
                <a:lnTo>
                  <a:pt x="32" y="196"/>
                </a:lnTo>
                <a:lnTo>
                  <a:pt x="22" y="221"/>
                </a:lnTo>
                <a:lnTo>
                  <a:pt x="41" y="238"/>
                </a:lnTo>
                <a:lnTo>
                  <a:pt x="41" y="314"/>
                </a:lnTo>
                <a:lnTo>
                  <a:pt x="115" y="292"/>
                </a:lnTo>
                <a:lnTo>
                  <a:pt x="157" y="269"/>
                </a:lnTo>
                <a:lnTo>
                  <a:pt x="250" y="320"/>
                </a:lnTo>
                <a:lnTo>
                  <a:pt x="311" y="352"/>
                </a:lnTo>
                <a:lnTo>
                  <a:pt x="322" y="366"/>
                </a:lnTo>
                <a:lnTo>
                  <a:pt x="328" y="405"/>
                </a:lnTo>
                <a:lnTo>
                  <a:pt x="382" y="433"/>
                </a:lnTo>
                <a:lnTo>
                  <a:pt x="466" y="329"/>
                </a:lnTo>
                <a:lnTo>
                  <a:pt x="519" y="329"/>
                </a:lnTo>
                <a:lnTo>
                  <a:pt x="528" y="286"/>
                </a:lnTo>
                <a:lnTo>
                  <a:pt x="534" y="268"/>
                </a:lnTo>
                <a:lnTo>
                  <a:pt x="517" y="240"/>
                </a:lnTo>
                <a:lnTo>
                  <a:pt x="478" y="223"/>
                </a:lnTo>
                <a:lnTo>
                  <a:pt x="472" y="202"/>
                </a:lnTo>
                <a:lnTo>
                  <a:pt x="417" y="186"/>
                </a:lnTo>
                <a:lnTo>
                  <a:pt x="382" y="148"/>
                </a:lnTo>
                <a:lnTo>
                  <a:pt x="371" y="122"/>
                </a:lnTo>
                <a:lnTo>
                  <a:pt x="343" y="98"/>
                </a:lnTo>
                <a:lnTo>
                  <a:pt x="327" y="113"/>
                </a:lnTo>
                <a:lnTo>
                  <a:pt x="317" y="122"/>
                </a:lnTo>
                <a:lnTo>
                  <a:pt x="297" y="118"/>
                </a:lnTo>
                <a:lnTo>
                  <a:pt x="281" y="86"/>
                </a:lnTo>
                <a:lnTo>
                  <a:pt x="281" y="63"/>
                </a:lnTo>
                <a:lnTo>
                  <a:pt x="261" y="56"/>
                </a:lnTo>
                <a:lnTo>
                  <a:pt x="256" y="35"/>
                </a:lnTo>
                <a:lnTo>
                  <a:pt x="233" y="18"/>
                </a:lnTo>
                <a:lnTo>
                  <a:pt x="216" y="18"/>
                </a:lnTo>
                <a:lnTo>
                  <a:pt x="204" y="0"/>
                </a:lnTo>
                <a:lnTo>
                  <a:pt x="186" y="10"/>
                </a:lnTo>
                <a:lnTo>
                  <a:pt x="192" y="35"/>
                </a:lnTo>
                <a:lnTo>
                  <a:pt x="182" y="31"/>
                </a:lnTo>
                <a:lnTo>
                  <a:pt x="173" y="26"/>
                </a:lnTo>
                <a:lnTo>
                  <a:pt x="157" y="63"/>
                </a:lnTo>
                <a:lnTo>
                  <a:pt x="136" y="68"/>
                </a:lnTo>
                <a:lnTo>
                  <a:pt x="115" y="61"/>
                </a:lnTo>
                <a:lnTo>
                  <a:pt x="101" y="80"/>
                </a:lnTo>
                <a:lnTo>
                  <a:pt x="84" y="63"/>
                </a:lnTo>
                <a:lnTo>
                  <a:pt x="57" y="46"/>
                </a:lnTo>
                <a:lnTo>
                  <a:pt x="0" y="6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3" name="Freeform 494"/>
          <p:cNvSpPr/>
          <p:nvPr/>
        </p:nvSpPr>
        <p:spPr bwMode="auto">
          <a:xfrm>
            <a:off x="3482340" y="2707640"/>
            <a:ext cx="347345" cy="160020"/>
          </a:xfrm>
          <a:custGeom>
            <a:avLst/>
            <a:gdLst>
              <a:gd name="T0" fmla="*/ 3 w 444"/>
              <a:gd name="T1" fmla="*/ 3 h 219"/>
              <a:gd name="T2" fmla="*/ 2 w 444"/>
              <a:gd name="T3" fmla="*/ 3 h 219"/>
              <a:gd name="T4" fmla="*/ 0 w 444"/>
              <a:gd name="T5" fmla="*/ 4 h 219"/>
              <a:gd name="T6" fmla="*/ 0 w 444"/>
              <a:gd name="T7" fmla="*/ 4 h 219"/>
              <a:gd name="T8" fmla="*/ 0 w 444"/>
              <a:gd name="T9" fmla="*/ 5 h 219"/>
              <a:gd name="T10" fmla="*/ 1 w 444"/>
              <a:gd name="T11" fmla="*/ 5 h 219"/>
              <a:gd name="T12" fmla="*/ 3 w 444"/>
              <a:gd name="T13" fmla="*/ 5 h 219"/>
              <a:gd name="T14" fmla="*/ 4 w 444"/>
              <a:gd name="T15" fmla="*/ 5 h 219"/>
              <a:gd name="T16" fmla="*/ 5 w 444"/>
              <a:gd name="T17" fmla="*/ 5 h 219"/>
              <a:gd name="T18" fmla="*/ 5 w 444"/>
              <a:gd name="T19" fmla="*/ 4 h 219"/>
              <a:gd name="T20" fmla="*/ 6 w 444"/>
              <a:gd name="T21" fmla="*/ 4 h 219"/>
              <a:gd name="T22" fmla="*/ 7 w 444"/>
              <a:gd name="T23" fmla="*/ 4 h 219"/>
              <a:gd name="T24" fmla="*/ 7 w 444"/>
              <a:gd name="T25" fmla="*/ 4 h 219"/>
              <a:gd name="T26" fmla="*/ 9 w 444"/>
              <a:gd name="T27" fmla="*/ 3 h 219"/>
              <a:gd name="T28" fmla="*/ 10 w 444"/>
              <a:gd name="T29" fmla="*/ 2 h 219"/>
              <a:gd name="T30" fmla="*/ 10 w 444"/>
              <a:gd name="T31" fmla="*/ 2 h 219"/>
              <a:gd name="T32" fmla="*/ 10 w 444"/>
              <a:gd name="T33" fmla="*/ 1 h 219"/>
              <a:gd name="T34" fmla="*/ 9 w 444"/>
              <a:gd name="T35" fmla="*/ 1 h 219"/>
              <a:gd name="T36" fmla="*/ 9 w 444"/>
              <a:gd name="T37" fmla="*/ 1 h 219"/>
              <a:gd name="T38" fmla="*/ 8 w 444"/>
              <a:gd name="T39" fmla="*/ 1 h 219"/>
              <a:gd name="T40" fmla="*/ 7 w 444"/>
              <a:gd name="T41" fmla="*/ 0 h 219"/>
              <a:gd name="T42" fmla="*/ 4 w 444"/>
              <a:gd name="T43" fmla="*/ 0 h 219"/>
              <a:gd name="T44" fmla="*/ 4 w 444"/>
              <a:gd name="T45" fmla="*/ 0 h 219"/>
              <a:gd name="T46" fmla="*/ 4 w 444"/>
              <a:gd name="T47" fmla="*/ 1 h 219"/>
              <a:gd name="T48" fmla="*/ 4 w 444"/>
              <a:gd name="T49" fmla="*/ 1 h 219"/>
              <a:gd name="T50" fmla="*/ 4 w 444"/>
              <a:gd name="T51" fmla="*/ 1 h 219"/>
              <a:gd name="T52" fmla="*/ 3 w 444"/>
              <a:gd name="T53" fmla="*/ 1 h 219"/>
              <a:gd name="T54" fmla="*/ 3 w 444"/>
              <a:gd name="T55" fmla="*/ 1 h 219"/>
              <a:gd name="T56" fmla="*/ 2 w 444"/>
              <a:gd name="T57" fmla="*/ 1 h 219"/>
              <a:gd name="T58" fmla="*/ 2 w 444"/>
              <a:gd name="T59" fmla="*/ 1 h 219"/>
              <a:gd name="T60" fmla="*/ 2 w 444"/>
              <a:gd name="T61" fmla="*/ 1 h 219"/>
              <a:gd name="T62" fmla="*/ 2 w 444"/>
              <a:gd name="T63" fmla="*/ 2 h 219"/>
              <a:gd name="T64" fmla="*/ 2 w 444"/>
              <a:gd name="T65" fmla="*/ 2 h 219"/>
              <a:gd name="T66" fmla="*/ 2 w 444"/>
              <a:gd name="T67" fmla="*/ 3 h 219"/>
              <a:gd name="T68" fmla="*/ 4 w 444"/>
              <a:gd name="T69" fmla="*/ 3 h 219"/>
              <a:gd name="T70" fmla="*/ 4 w 444"/>
              <a:gd name="T71" fmla="*/ 2 h 219"/>
              <a:gd name="T72" fmla="*/ 5 w 444"/>
              <a:gd name="T73" fmla="*/ 3 h 219"/>
              <a:gd name="T74" fmla="*/ 4 w 444"/>
              <a:gd name="T75" fmla="*/ 3 h 219"/>
              <a:gd name="T76" fmla="*/ 4 w 444"/>
              <a:gd name="T77" fmla="*/ 3 h 219"/>
              <a:gd name="T78" fmla="*/ 3 w 444"/>
              <a:gd name="T79" fmla="*/ 3 h 219"/>
              <a:gd name="T80" fmla="*/ 3 w 444"/>
              <a:gd name="T81" fmla="*/ 3 h 219"/>
              <a:gd name="T82" fmla="*/ 3 w 444"/>
              <a:gd name="T83" fmla="*/ 3 h 21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44"/>
              <a:gd name="T127" fmla="*/ 0 h 219"/>
              <a:gd name="T128" fmla="*/ 444 w 444"/>
              <a:gd name="T129" fmla="*/ 219 h 21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44" h="219">
                <a:moveTo>
                  <a:pt x="113" y="156"/>
                </a:moveTo>
                <a:lnTo>
                  <a:pt x="81" y="156"/>
                </a:lnTo>
                <a:lnTo>
                  <a:pt x="16" y="165"/>
                </a:lnTo>
                <a:lnTo>
                  <a:pt x="0" y="190"/>
                </a:lnTo>
                <a:lnTo>
                  <a:pt x="16" y="200"/>
                </a:lnTo>
                <a:lnTo>
                  <a:pt x="29" y="207"/>
                </a:lnTo>
                <a:lnTo>
                  <a:pt x="118" y="206"/>
                </a:lnTo>
                <a:lnTo>
                  <a:pt x="179" y="206"/>
                </a:lnTo>
                <a:lnTo>
                  <a:pt x="207" y="219"/>
                </a:lnTo>
                <a:lnTo>
                  <a:pt x="216" y="192"/>
                </a:lnTo>
                <a:lnTo>
                  <a:pt x="242" y="190"/>
                </a:lnTo>
                <a:lnTo>
                  <a:pt x="278" y="180"/>
                </a:lnTo>
                <a:lnTo>
                  <a:pt x="309" y="172"/>
                </a:lnTo>
                <a:lnTo>
                  <a:pt x="363" y="136"/>
                </a:lnTo>
                <a:lnTo>
                  <a:pt x="423" y="102"/>
                </a:lnTo>
                <a:lnTo>
                  <a:pt x="444" y="84"/>
                </a:lnTo>
                <a:lnTo>
                  <a:pt x="436" y="50"/>
                </a:lnTo>
                <a:lnTo>
                  <a:pt x="406" y="50"/>
                </a:lnTo>
                <a:lnTo>
                  <a:pt x="382" y="35"/>
                </a:lnTo>
                <a:lnTo>
                  <a:pt x="349" y="22"/>
                </a:lnTo>
                <a:lnTo>
                  <a:pt x="275" y="14"/>
                </a:lnTo>
                <a:lnTo>
                  <a:pt x="182" y="0"/>
                </a:lnTo>
                <a:lnTo>
                  <a:pt x="165" y="4"/>
                </a:lnTo>
                <a:lnTo>
                  <a:pt x="171" y="22"/>
                </a:lnTo>
                <a:lnTo>
                  <a:pt x="180" y="39"/>
                </a:lnTo>
                <a:lnTo>
                  <a:pt x="156" y="45"/>
                </a:lnTo>
                <a:lnTo>
                  <a:pt x="148" y="33"/>
                </a:lnTo>
                <a:lnTo>
                  <a:pt x="117" y="29"/>
                </a:lnTo>
                <a:lnTo>
                  <a:pt x="76" y="33"/>
                </a:lnTo>
                <a:lnTo>
                  <a:pt x="93" y="45"/>
                </a:lnTo>
                <a:lnTo>
                  <a:pt x="93" y="57"/>
                </a:lnTo>
                <a:lnTo>
                  <a:pt x="86" y="72"/>
                </a:lnTo>
                <a:lnTo>
                  <a:pt x="86" y="95"/>
                </a:lnTo>
                <a:lnTo>
                  <a:pt x="98" y="108"/>
                </a:lnTo>
                <a:lnTo>
                  <a:pt x="156" y="108"/>
                </a:lnTo>
                <a:lnTo>
                  <a:pt x="174" y="107"/>
                </a:lnTo>
                <a:lnTo>
                  <a:pt x="192" y="126"/>
                </a:lnTo>
                <a:lnTo>
                  <a:pt x="173" y="153"/>
                </a:lnTo>
                <a:lnTo>
                  <a:pt x="154" y="153"/>
                </a:lnTo>
                <a:lnTo>
                  <a:pt x="132" y="152"/>
                </a:lnTo>
                <a:lnTo>
                  <a:pt x="123" y="153"/>
                </a:lnTo>
                <a:lnTo>
                  <a:pt x="113" y="156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4" name="Freeform 495"/>
          <p:cNvSpPr/>
          <p:nvPr/>
        </p:nvSpPr>
        <p:spPr bwMode="auto">
          <a:xfrm>
            <a:off x="3446780" y="2803525"/>
            <a:ext cx="221615" cy="168275"/>
          </a:xfrm>
          <a:custGeom>
            <a:avLst/>
            <a:gdLst>
              <a:gd name="T0" fmla="*/ 0 w 285"/>
              <a:gd name="T1" fmla="*/ 5 h 227"/>
              <a:gd name="T2" fmla="*/ 0 w 285"/>
              <a:gd name="T3" fmla="*/ 5 h 227"/>
              <a:gd name="T4" fmla="*/ 1 w 285"/>
              <a:gd name="T5" fmla="*/ 5 h 227"/>
              <a:gd name="T6" fmla="*/ 2 w 285"/>
              <a:gd name="T7" fmla="*/ 5 h 227"/>
              <a:gd name="T8" fmla="*/ 3 w 285"/>
              <a:gd name="T9" fmla="*/ 3 h 227"/>
              <a:gd name="T10" fmla="*/ 3 w 285"/>
              <a:gd name="T11" fmla="*/ 4 h 227"/>
              <a:gd name="T12" fmla="*/ 4 w 285"/>
              <a:gd name="T13" fmla="*/ 5 h 227"/>
              <a:gd name="T14" fmla="*/ 5 w 285"/>
              <a:gd name="T15" fmla="*/ 5 h 227"/>
              <a:gd name="T16" fmla="*/ 6 w 285"/>
              <a:gd name="T17" fmla="*/ 5 h 227"/>
              <a:gd name="T18" fmla="*/ 7 w 285"/>
              <a:gd name="T19" fmla="*/ 5 h 227"/>
              <a:gd name="T20" fmla="*/ 7 w 285"/>
              <a:gd name="T21" fmla="*/ 3 h 227"/>
              <a:gd name="T22" fmla="*/ 6 w 285"/>
              <a:gd name="T23" fmla="*/ 3 h 227"/>
              <a:gd name="T24" fmla="*/ 6 w 285"/>
              <a:gd name="T25" fmla="*/ 3 h 227"/>
              <a:gd name="T26" fmla="*/ 6 w 285"/>
              <a:gd name="T27" fmla="*/ 2 h 227"/>
              <a:gd name="T28" fmla="*/ 5 w 285"/>
              <a:gd name="T29" fmla="*/ 2 h 227"/>
              <a:gd name="T30" fmla="*/ 5 w 285"/>
              <a:gd name="T31" fmla="*/ 2 h 227"/>
              <a:gd name="T32" fmla="*/ 3 w 285"/>
              <a:gd name="T33" fmla="*/ 2 h 227"/>
              <a:gd name="T34" fmla="*/ 3 w 285"/>
              <a:gd name="T35" fmla="*/ 2 h 227"/>
              <a:gd name="T36" fmla="*/ 2 w 285"/>
              <a:gd name="T37" fmla="*/ 2 h 227"/>
              <a:gd name="T38" fmla="*/ 1 w 285"/>
              <a:gd name="T39" fmla="*/ 1 h 227"/>
              <a:gd name="T40" fmla="*/ 1 w 285"/>
              <a:gd name="T41" fmla="*/ 1 h 227"/>
              <a:gd name="T42" fmla="*/ 1 w 285"/>
              <a:gd name="T43" fmla="*/ 1 h 227"/>
              <a:gd name="T44" fmla="*/ 1 w 285"/>
              <a:gd name="T45" fmla="*/ 1 h 227"/>
              <a:gd name="T46" fmla="*/ 3 w 285"/>
              <a:gd name="T47" fmla="*/ 1 h 227"/>
              <a:gd name="T48" fmla="*/ 3 w 285"/>
              <a:gd name="T49" fmla="*/ 0 h 227"/>
              <a:gd name="T50" fmla="*/ 2 w 285"/>
              <a:gd name="T51" fmla="*/ 0 h 227"/>
              <a:gd name="T52" fmla="*/ 1 w 285"/>
              <a:gd name="T53" fmla="*/ 0 h 227"/>
              <a:gd name="T54" fmla="*/ 0 w 285"/>
              <a:gd name="T55" fmla="*/ 1 h 227"/>
              <a:gd name="T56" fmla="*/ 0 w 285"/>
              <a:gd name="T57" fmla="*/ 2 h 227"/>
              <a:gd name="T58" fmla="*/ 0 w 285"/>
              <a:gd name="T59" fmla="*/ 2 h 227"/>
              <a:gd name="T60" fmla="*/ 0 w 285"/>
              <a:gd name="T61" fmla="*/ 2 h 227"/>
              <a:gd name="T62" fmla="*/ 1 w 285"/>
              <a:gd name="T63" fmla="*/ 2 h 227"/>
              <a:gd name="T64" fmla="*/ 1 w 285"/>
              <a:gd name="T65" fmla="*/ 3 h 227"/>
              <a:gd name="T66" fmla="*/ 1 w 285"/>
              <a:gd name="T67" fmla="*/ 4 h 227"/>
              <a:gd name="T68" fmla="*/ 1 w 285"/>
              <a:gd name="T69" fmla="*/ 4 h 227"/>
              <a:gd name="T70" fmla="*/ 1 w 285"/>
              <a:gd name="T71" fmla="*/ 4 h 227"/>
              <a:gd name="T72" fmla="*/ 0 w 285"/>
              <a:gd name="T73" fmla="*/ 5 h 227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5"/>
              <a:gd name="T112" fmla="*/ 0 h 227"/>
              <a:gd name="T113" fmla="*/ 285 w 285"/>
              <a:gd name="T114" fmla="*/ 227 h 227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5" h="227">
                <a:moveTo>
                  <a:pt x="0" y="192"/>
                </a:moveTo>
                <a:lnTo>
                  <a:pt x="4" y="201"/>
                </a:lnTo>
                <a:lnTo>
                  <a:pt x="27" y="205"/>
                </a:lnTo>
                <a:lnTo>
                  <a:pt x="76" y="207"/>
                </a:lnTo>
                <a:lnTo>
                  <a:pt x="135" y="138"/>
                </a:lnTo>
                <a:lnTo>
                  <a:pt x="150" y="181"/>
                </a:lnTo>
                <a:lnTo>
                  <a:pt x="166" y="227"/>
                </a:lnTo>
                <a:lnTo>
                  <a:pt x="206" y="209"/>
                </a:lnTo>
                <a:lnTo>
                  <a:pt x="243" y="191"/>
                </a:lnTo>
                <a:lnTo>
                  <a:pt x="285" y="205"/>
                </a:lnTo>
                <a:lnTo>
                  <a:pt x="285" y="139"/>
                </a:lnTo>
                <a:lnTo>
                  <a:pt x="258" y="127"/>
                </a:lnTo>
                <a:lnTo>
                  <a:pt x="242" y="128"/>
                </a:lnTo>
                <a:lnTo>
                  <a:pt x="253" y="85"/>
                </a:lnTo>
                <a:lnTo>
                  <a:pt x="218" y="76"/>
                </a:lnTo>
                <a:lnTo>
                  <a:pt x="192" y="73"/>
                </a:lnTo>
                <a:lnTo>
                  <a:pt x="151" y="73"/>
                </a:lnTo>
                <a:lnTo>
                  <a:pt x="121" y="73"/>
                </a:lnTo>
                <a:lnTo>
                  <a:pt x="81" y="73"/>
                </a:lnTo>
                <a:lnTo>
                  <a:pt x="49" y="66"/>
                </a:lnTo>
                <a:lnTo>
                  <a:pt x="45" y="59"/>
                </a:lnTo>
                <a:lnTo>
                  <a:pt x="50" y="44"/>
                </a:lnTo>
                <a:lnTo>
                  <a:pt x="65" y="32"/>
                </a:lnTo>
                <a:lnTo>
                  <a:pt x="119" y="21"/>
                </a:lnTo>
                <a:lnTo>
                  <a:pt x="117" y="0"/>
                </a:lnTo>
                <a:lnTo>
                  <a:pt x="73" y="7"/>
                </a:lnTo>
                <a:lnTo>
                  <a:pt x="40" y="4"/>
                </a:lnTo>
                <a:lnTo>
                  <a:pt x="19" y="27"/>
                </a:lnTo>
                <a:lnTo>
                  <a:pt x="9" y="73"/>
                </a:lnTo>
                <a:lnTo>
                  <a:pt x="11" y="84"/>
                </a:lnTo>
                <a:lnTo>
                  <a:pt x="8" y="86"/>
                </a:lnTo>
                <a:lnTo>
                  <a:pt x="34" y="97"/>
                </a:lnTo>
                <a:lnTo>
                  <a:pt x="47" y="122"/>
                </a:lnTo>
                <a:lnTo>
                  <a:pt x="39" y="153"/>
                </a:lnTo>
                <a:lnTo>
                  <a:pt x="32" y="155"/>
                </a:lnTo>
                <a:lnTo>
                  <a:pt x="25" y="166"/>
                </a:lnTo>
                <a:lnTo>
                  <a:pt x="0" y="192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Freeform 496"/>
          <p:cNvSpPr/>
          <p:nvPr/>
        </p:nvSpPr>
        <p:spPr bwMode="auto">
          <a:xfrm>
            <a:off x="4865370" y="3467100"/>
            <a:ext cx="16510" cy="26035"/>
          </a:xfrm>
          <a:custGeom>
            <a:avLst/>
            <a:gdLst>
              <a:gd name="T0" fmla="*/ 0 w 19"/>
              <a:gd name="T1" fmla="*/ 1 h 33"/>
              <a:gd name="T2" fmla="*/ 0 w 19"/>
              <a:gd name="T3" fmla="*/ 0 h 33"/>
              <a:gd name="T4" fmla="*/ 1 w 19"/>
              <a:gd name="T5" fmla="*/ 1 h 33"/>
              <a:gd name="T6" fmla="*/ 0 w 19"/>
              <a:gd name="T7" fmla="*/ 1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33"/>
              <a:gd name="T14" fmla="*/ 19 w 19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33">
                <a:moveTo>
                  <a:pt x="0" y="33"/>
                </a:moveTo>
                <a:lnTo>
                  <a:pt x="11" y="0"/>
                </a:lnTo>
                <a:lnTo>
                  <a:pt x="19" y="18"/>
                </a:lnTo>
                <a:lnTo>
                  <a:pt x="0" y="33"/>
                </a:lnTo>
                <a:close/>
              </a:path>
            </a:pathLst>
          </a:custGeom>
          <a:solidFill>
            <a:srgbClr val="9EC1D3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Freeform 465"/>
          <p:cNvSpPr/>
          <p:nvPr/>
        </p:nvSpPr>
        <p:spPr bwMode="auto">
          <a:xfrm>
            <a:off x="1529715" y="3773805"/>
            <a:ext cx="347345" cy="317500"/>
          </a:xfrm>
          <a:custGeom>
            <a:avLst/>
            <a:gdLst>
              <a:gd name="T0" fmla="*/ 0 w 445"/>
              <a:gd name="T1" fmla="*/ 8 h 429"/>
              <a:gd name="T2" fmla="*/ 1 w 445"/>
              <a:gd name="T3" fmla="*/ 2 h 429"/>
              <a:gd name="T4" fmla="*/ 2 w 445"/>
              <a:gd name="T5" fmla="*/ 0 h 429"/>
              <a:gd name="T6" fmla="*/ 6 w 445"/>
              <a:gd name="T7" fmla="*/ 1 h 429"/>
              <a:gd name="T8" fmla="*/ 9 w 445"/>
              <a:gd name="T9" fmla="*/ 0 h 429"/>
              <a:gd name="T10" fmla="*/ 10 w 445"/>
              <a:gd name="T11" fmla="*/ 1 h 429"/>
              <a:gd name="T12" fmla="*/ 10 w 445"/>
              <a:gd name="T13" fmla="*/ 2 h 429"/>
              <a:gd name="T14" fmla="*/ 9 w 445"/>
              <a:gd name="T15" fmla="*/ 3 h 429"/>
              <a:gd name="T16" fmla="*/ 7 w 445"/>
              <a:gd name="T17" fmla="*/ 8 h 429"/>
              <a:gd name="T18" fmla="*/ 6 w 445"/>
              <a:gd name="T19" fmla="*/ 7 h 429"/>
              <a:gd name="T20" fmla="*/ 5 w 445"/>
              <a:gd name="T21" fmla="*/ 9 h 429"/>
              <a:gd name="T22" fmla="*/ 3 w 445"/>
              <a:gd name="T23" fmla="*/ 10 h 429"/>
              <a:gd name="T24" fmla="*/ 2 w 445"/>
              <a:gd name="T25" fmla="*/ 8 h 429"/>
              <a:gd name="T26" fmla="*/ 0 w 445"/>
              <a:gd name="T27" fmla="*/ 8 h 42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45"/>
              <a:gd name="T43" fmla="*/ 0 h 429"/>
              <a:gd name="T44" fmla="*/ 445 w 445"/>
              <a:gd name="T45" fmla="*/ 429 h 42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45" h="429">
                <a:moveTo>
                  <a:pt x="0" y="335"/>
                </a:moveTo>
                <a:lnTo>
                  <a:pt x="29" y="95"/>
                </a:lnTo>
                <a:lnTo>
                  <a:pt x="78" y="2"/>
                </a:lnTo>
                <a:lnTo>
                  <a:pt x="249" y="49"/>
                </a:lnTo>
                <a:lnTo>
                  <a:pt x="398" y="0"/>
                </a:lnTo>
                <a:lnTo>
                  <a:pt x="428" y="57"/>
                </a:lnTo>
                <a:lnTo>
                  <a:pt x="445" y="95"/>
                </a:lnTo>
                <a:lnTo>
                  <a:pt x="406" y="130"/>
                </a:lnTo>
                <a:lnTo>
                  <a:pt x="323" y="324"/>
                </a:lnTo>
                <a:lnTo>
                  <a:pt x="252" y="312"/>
                </a:lnTo>
                <a:lnTo>
                  <a:pt x="214" y="404"/>
                </a:lnTo>
                <a:lnTo>
                  <a:pt x="128" y="429"/>
                </a:lnTo>
                <a:lnTo>
                  <a:pt x="78" y="347"/>
                </a:lnTo>
                <a:lnTo>
                  <a:pt x="0" y="335"/>
                </a:lnTo>
                <a:close/>
              </a:path>
            </a:pathLst>
          </a:custGeom>
          <a:solidFill>
            <a:schemeClr val="accent2"/>
          </a:solidFill>
          <a:ln w="12700" cmpd="sng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尼日利亚简介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NIGERI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文本框 6"/>
          <p:cNvSpPr txBox="1">
            <a:spLocks noChangeArrowheads="1"/>
          </p:cNvSpPr>
          <p:nvPr/>
        </p:nvSpPr>
        <p:spPr bwMode="auto">
          <a:xfrm>
            <a:off x="6991985" y="3813175"/>
            <a:ext cx="5226685" cy="2675255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charset="0"/>
                <a:ea typeface="方正宋刻本秀楷简体" panose="02000000000000000000" pitchFamily="2" charset="-122"/>
              </a:defRPr>
            </a:lvl9pPr>
          </a:lstStyle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英语</a:t>
            </a:r>
            <a:endParaRPr lang="zh-CN" altLang="en-US" sz="2400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奈拉</a:t>
            </a:r>
            <a:endParaRPr lang="zh-CN" altLang="en-US" sz="2400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石油</a:t>
            </a:r>
            <a:endParaRPr lang="zh-CN" altLang="en-US" sz="2400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2.32</a:t>
            </a: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（</a:t>
            </a:r>
            <a:r>
              <a:rPr lang="en-US" altLang="zh-CN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）</a:t>
            </a:r>
            <a:endParaRPr lang="zh-CN" altLang="en-US" sz="2400">
              <a:solidFill>
                <a:srgbClr val="3F3F3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>
                <a:solidFill>
                  <a:srgbClr val="3F3F3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伊斯兰教、基督教</a:t>
            </a:r>
            <a:endParaRPr lang="zh-CN" altLang="en-US" sz="2400" dirty="0">
              <a:solidFill>
                <a:srgbClr val="A5002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 descr="多语言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52335" y="3925570"/>
            <a:ext cx="419100" cy="419100"/>
          </a:xfrm>
          <a:prstGeom prst="rect">
            <a:avLst/>
          </a:prstGeom>
        </p:spPr>
      </p:pic>
      <p:pic>
        <p:nvPicPr>
          <p:cNvPr id="10" name="图片 9" descr="货币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4865" y="4416425"/>
            <a:ext cx="574040" cy="574040"/>
          </a:xfrm>
          <a:prstGeom prst="rect">
            <a:avLst/>
          </a:prstGeom>
        </p:spPr>
      </p:pic>
      <p:pic>
        <p:nvPicPr>
          <p:cNvPr id="11" name="图片 10" descr="经济建设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7415" y="4990465"/>
            <a:ext cx="464820" cy="464820"/>
          </a:xfrm>
          <a:prstGeom prst="rect">
            <a:avLst/>
          </a:prstGeom>
        </p:spPr>
      </p:pic>
      <p:pic>
        <p:nvPicPr>
          <p:cNvPr id="12" name="图片 11" descr="人口库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8845" y="5474335"/>
            <a:ext cx="473075" cy="473075"/>
          </a:xfrm>
          <a:prstGeom prst="rect">
            <a:avLst/>
          </a:prstGeom>
        </p:spPr>
      </p:pic>
      <p:pic>
        <p:nvPicPr>
          <p:cNvPr id="13" name="图片 12" descr="十字架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7415" y="5947410"/>
            <a:ext cx="541020" cy="541020"/>
          </a:xfrm>
          <a:prstGeom prst="rect">
            <a:avLst/>
          </a:prstGeom>
        </p:spPr>
      </p:pic>
      <p:grpSp>
        <p:nvGrpSpPr>
          <p:cNvPr id="282" name="组合 281"/>
          <p:cNvGrpSpPr/>
          <p:nvPr/>
        </p:nvGrpSpPr>
        <p:grpSpPr>
          <a:xfrm>
            <a:off x="3314622" y="2255187"/>
            <a:ext cx="3386523" cy="3522030"/>
            <a:chOff x="8814" y="11723"/>
            <a:chExt cx="1120" cy="1146"/>
          </a:xfrm>
        </p:grpSpPr>
        <p:sp>
          <p:nvSpPr>
            <p:cNvPr id="276" name="Freeform 435"/>
            <p:cNvSpPr/>
            <p:nvPr/>
          </p:nvSpPr>
          <p:spPr bwMode="auto">
            <a:xfrm>
              <a:off x="9200" y="12291"/>
              <a:ext cx="357" cy="578"/>
            </a:xfrm>
            <a:custGeom>
              <a:avLst/>
              <a:gdLst>
                <a:gd name="T0" fmla="*/ 0 w 294"/>
                <a:gd name="T1" fmla="*/ 8 h 498"/>
                <a:gd name="T2" fmla="*/ 1 w 294"/>
                <a:gd name="T3" fmla="*/ 6 h 498"/>
                <a:gd name="T4" fmla="*/ 3 w 294"/>
                <a:gd name="T5" fmla="*/ 6 h 498"/>
                <a:gd name="T6" fmla="*/ 4 w 294"/>
                <a:gd name="T7" fmla="*/ 2 h 498"/>
                <a:gd name="T8" fmla="*/ 5 w 294"/>
                <a:gd name="T9" fmla="*/ 1 h 498"/>
                <a:gd name="T10" fmla="*/ 5 w 294"/>
                <a:gd name="T11" fmla="*/ 0 h 498"/>
                <a:gd name="T12" fmla="*/ 5 w 294"/>
                <a:gd name="T13" fmla="*/ 0 h 498"/>
                <a:gd name="T14" fmla="*/ 6 w 294"/>
                <a:gd name="T15" fmla="*/ 3 h 498"/>
                <a:gd name="T16" fmla="*/ 5 w 294"/>
                <a:gd name="T17" fmla="*/ 3 h 498"/>
                <a:gd name="T18" fmla="*/ 6 w 294"/>
                <a:gd name="T19" fmla="*/ 5 h 498"/>
                <a:gd name="T20" fmla="*/ 5 w 294"/>
                <a:gd name="T21" fmla="*/ 8 h 498"/>
                <a:gd name="T22" fmla="*/ 6 w 294"/>
                <a:gd name="T23" fmla="*/ 10 h 498"/>
                <a:gd name="T24" fmla="*/ 6 w 294"/>
                <a:gd name="T25" fmla="*/ 11 h 498"/>
                <a:gd name="T26" fmla="*/ 4 w 294"/>
                <a:gd name="T27" fmla="*/ 11 h 498"/>
                <a:gd name="T28" fmla="*/ 2 w 294"/>
                <a:gd name="T29" fmla="*/ 11 h 498"/>
                <a:gd name="T30" fmla="*/ 1 w 294"/>
                <a:gd name="T31" fmla="*/ 11 h 498"/>
                <a:gd name="T32" fmla="*/ 1 w 294"/>
                <a:gd name="T33" fmla="*/ 9 h 498"/>
                <a:gd name="T34" fmla="*/ 0 w 294"/>
                <a:gd name="T35" fmla="*/ 8 h 4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94"/>
                <a:gd name="T55" fmla="*/ 0 h 498"/>
                <a:gd name="T56" fmla="*/ 294 w 294"/>
                <a:gd name="T57" fmla="*/ 498 h 49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94" h="498">
                  <a:moveTo>
                    <a:pt x="0" y="355"/>
                  </a:moveTo>
                  <a:lnTo>
                    <a:pt x="38" y="263"/>
                  </a:lnTo>
                  <a:lnTo>
                    <a:pt x="109" y="275"/>
                  </a:lnTo>
                  <a:lnTo>
                    <a:pt x="192" y="81"/>
                  </a:lnTo>
                  <a:lnTo>
                    <a:pt x="231" y="46"/>
                  </a:lnTo>
                  <a:lnTo>
                    <a:pt x="214" y="8"/>
                  </a:lnTo>
                  <a:lnTo>
                    <a:pt x="235" y="0"/>
                  </a:lnTo>
                  <a:lnTo>
                    <a:pt x="260" y="123"/>
                  </a:lnTo>
                  <a:lnTo>
                    <a:pt x="214" y="142"/>
                  </a:lnTo>
                  <a:lnTo>
                    <a:pt x="265" y="238"/>
                  </a:lnTo>
                  <a:lnTo>
                    <a:pt x="235" y="352"/>
                  </a:lnTo>
                  <a:lnTo>
                    <a:pt x="294" y="437"/>
                  </a:lnTo>
                  <a:lnTo>
                    <a:pt x="287" y="498"/>
                  </a:lnTo>
                  <a:lnTo>
                    <a:pt x="185" y="471"/>
                  </a:lnTo>
                  <a:lnTo>
                    <a:pt x="107" y="470"/>
                  </a:lnTo>
                  <a:lnTo>
                    <a:pt x="45" y="471"/>
                  </a:lnTo>
                  <a:lnTo>
                    <a:pt x="44" y="388"/>
                  </a:lnTo>
                  <a:lnTo>
                    <a:pt x="0" y="35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喀麦隆</a:t>
              </a: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7" name="Freeform 437"/>
            <p:cNvSpPr/>
            <p:nvPr/>
          </p:nvSpPr>
          <p:spPr bwMode="auto">
            <a:xfrm>
              <a:off x="9434" y="11726"/>
              <a:ext cx="500" cy="837"/>
            </a:xfrm>
            <a:custGeom>
              <a:avLst/>
              <a:gdLst>
                <a:gd name="T0" fmla="*/ 0 w 409"/>
                <a:gd name="T1" fmla="*/ 10 h 725"/>
                <a:gd name="T2" fmla="*/ 1 w 409"/>
                <a:gd name="T3" fmla="*/ 10 h 725"/>
                <a:gd name="T4" fmla="*/ 1 w 409"/>
                <a:gd name="T5" fmla="*/ 11 h 725"/>
                <a:gd name="T6" fmla="*/ 2 w 409"/>
                <a:gd name="T7" fmla="*/ 14 h 725"/>
                <a:gd name="T8" fmla="*/ 1 w 409"/>
                <a:gd name="T9" fmla="*/ 14 h 725"/>
                <a:gd name="T10" fmla="*/ 2 w 409"/>
                <a:gd name="T11" fmla="*/ 17 h 725"/>
                <a:gd name="T12" fmla="*/ 5 w 409"/>
                <a:gd name="T13" fmla="*/ 16 h 725"/>
                <a:gd name="T14" fmla="*/ 5 w 409"/>
                <a:gd name="T15" fmla="*/ 15 h 725"/>
                <a:gd name="T16" fmla="*/ 6 w 409"/>
                <a:gd name="T17" fmla="*/ 15 h 725"/>
                <a:gd name="T18" fmla="*/ 8 w 409"/>
                <a:gd name="T19" fmla="*/ 13 h 725"/>
                <a:gd name="T20" fmla="*/ 7 w 409"/>
                <a:gd name="T21" fmla="*/ 11 h 725"/>
                <a:gd name="T22" fmla="*/ 8 w 409"/>
                <a:gd name="T23" fmla="*/ 8 h 725"/>
                <a:gd name="T24" fmla="*/ 9 w 409"/>
                <a:gd name="T25" fmla="*/ 8 h 725"/>
                <a:gd name="T26" fmla="*/ 9 w 409"/>
                <a:gd name="T27" fmla="*/ 4 h 725"/>
                <a:gd name="T28" fmla="*/ 2 w 409"/>
                <a:gd name="T29" fmla="*/ 0 h 725"/>
                <a:gd name="T30" fmla="*/ 1 w 409"/>
                <a:gd name="T31" fmla="*/ 1 h 725"/>
                <a:gd name="T32" fmla="*/ 1 w 409"/>
                <a:gd name="T33" fmla="*/ 2 h 725"/>
                <a:gd name="T34" fmla="*/ 2 w 409"/>
                <a:gd name="T35" fmla="*/ 3 h 725"/>
                <a:gd name="T36" fmla="*/ 2 w 409"/>
                <a:gd name="T37" fmla="*/ 7 h 725"/>
                <a:gd name="T38" fmla="*/ 0 w 409"/>
                <a:gd name="T39" fmla="*/ 10 h 72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09"/>
                <a:gd name="T61" fmla="*/ 0 h 725"/>
                <a:gd name="T62" fmla="*/ 409 w 409"/>
                <a:gd name="T63" fmla="*/ 725 h 72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09" h="725">
                  <a:moveTo>
                    <a:pt x="0" y="416"/>
                  </a:moveTo>
                  <a:lnTo>
                    <a:pt x="60" y="451"/>
                  </a:lnTo>
                  <a:lnTo>
                    <a:pt x="45" y="487"/>
                  </a:lnTo>
                  <a:lnTo>
                    <a:pt x="70" y="610"/>
                  </a:lnTo>
                  <a:lnTo>
                    <a:pt x="24" y="629"/>
                  </a:lnTo>
                  <a:lnTo>
                    <a:pt x="75" y="725"/>
                  </a:lnTo>
                  <a:lnTo>
                    <a:pt x="202" y="697"/>
                  </a:lnTo>
                  <a:lnTo>
                    <a:pt x="214" y="660"/>
                  </a:lnTo>
                  <a:lnTo>
                    <a:pt x="271" y="647"/>
                  </a:lnTo>
                  <a:lnTo>
                    <a:pt x="356" y="567"/>
                  </a:lnTo>
                  <a:lnTo>
                    <a:pt x="326" y="478"/>
                  </a:lnTo>
                  <a:lnTo>
                    <a:pt x="368" y="361"/>
                  </a:lnTo>
                  <a:lnTo>
                    <a:pt x="408" y="352"/>
                  </a:lnTo>
                  <a:lnTo>
                    <a:pt x="409" y="184"/>
                  </a:lnTo>
                  <a:lnTo>
                    <a:pt x="103" y="0"/>
                  </a:lnTo>
                  <a:lnTo>
                    <a:pt x="64" y="21"/>
                  </a:lnTo>
                  <a:lnTo>
                    <a:pt x="64" y="90"/>
                  </a:lnTo>
                  <a:lnTo>
                    <a:pt x="103" y="140"/>
                  </a:lnTo>
                  <a:lnTo>
                    <a:pt x="75" y="298"/>
                  </a:lnTo>
                  <a:lnTo>
                    <a:pt x="0" y="41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   乍得</a:t>
              </a: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8" name="Freeform 441"/>
            <p:cNvSpPr/>
            <p:nvPr/>
          </p:nvSpPr>
          <p:spPr bwMode="auto">
            <a:xfrm>
              <a:off x="8848" y="12307"/>
              <a:ext cx="125" cy="316"/>
            </a:xfrm>
            <a:custGeom>
              <a:avLst/>
              <a:gdLst>
                <a:gd name="T0" fmla="*/ 0 w 102"/>
                <a:gd name="T1" fmla="*/ 1 h 274"/>
                <a:gd name="T2" fmla="*/ 1 w 102"/>
                <a:gd name="T3" fmla="*/ 6 h 274"/>
                <a:gd name="T4" fmla="*/ 2 w 102"/>
                <a:gd name="T5" fmla="*/ 6 h 274"/>
                <a:gd name="T6" fmla="*/ 2 w 102"/>
                <a:gd name="T7" fmla="*/ 1 h 274"/>
                <a:gd name="T8" fmla="*/ 2 w 102"/>
                <a:gd name="T9" fmla="*/ 0 h 274"/>
                <a:gd name="T10" fmla="*/ 1 w 102"/>
                <a:gd name="T11" fmla="*/ 0 h 274"/>
                <a:gd name="T12" fmla="*/ 0 w 102"/>
                <a:gd name="T13" fmla="*/ 1 h 2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2"/>
                <a:gd name="T22" fmla="*/ 0 h 274"/>
                <a:gd name="T23" fmla="*/ 102 w 102"/>
                <a:gd name="T24" fmla="*/ 274 h 27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2" h="274">
                  <a:moveTo>
                    <a:pt x="0" y="65"/>
                  </a:moveTo>
                  <a:lnTo>
                    <a:pt x="41" y="274"/>
                  </a:lnTo>
                  <a:lnTo>
                    <a:pt x="73" y="270"/>
                  </a:lnTo>
                  <a:lnTo>
                    <a:pt x="102" y="30"/>
                  </a:lnTo>
                  <a:lnTo>
                    <a:pt x="73" y="0"/>
                  </a:lnTo>
                  <a:lnTo>
                    <a:pt x="52" y="19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贝宁</a:t>
              </a: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9" name="Freeform 464"/>
            <p:cNvSpPr/>
            <p:nvPr/>
          </p:nvSpPr>
          <p:spPr bwMode="auto">
            <a:xfrm>
              <a:off x="8814" y="11726"/>
              <a:ext cx="745" cy="618"/>
            </a:xfrm>
            <a:custGeom>
              <a:avLst/>
              <a:gdLst>
                <a:gd name="T0" fmla="*/ 0 w 607"/>
                <a:gd name="T1" fmla="*/ 9 h 535"/>
                <a:gd name="T2" fmla="*/ 0 w 607"/>
                <a:gd name="T3" fmla="*/ 10 h 535"/>
                <a:gd name="T4" fmla="*/ 2 w 607"/>
                <a:gd name="T5" fmla="*/ 12 h 535"/>
                <a:gd name="T6" fmla="*/ 2 w 607"/>
                <a:gd name="T7" fmla="*/ 12 h 535"/>
                <a:gd name="T8" fmla="*/ 3 w 607"/>
                <a:gd name="T9" fmla="*/ 12 h 535"/>
                <a:gd name="T10" fmla="*/ 4 w 607"/>
                <a:gd name="T11" fmla="*/ 10 h 535"/>
                <a:gd name="T12" fmla="*/ 8 w 607"/>
                <a:gd name="T13" fmla="*/ 11 h 535"/>
                <a:gd name="T14" fmla="*/ 11 w 607"/>
                <a:gd name="T15" fmla="*/ 10 h 535"/>
                <a:gd name="T16" fmla="*/ 12 w 607"/>
                <a:gd name="T17" fmla="*/ 10 h 535"/>
                <a:gd name="T18" fmla="*/ 13 w 607"/>
                <a:gd name="T19" fmla="*/ 7 h 535"/>
                <a:gd name="T20" fmla="*/ 14 w 607"/>
                <a:gd name="T21" fmla="*/ 3 h 535"/>
                <a:gd name="T22" fmla="*/ 13 w 607"/>
                <a:gd name="T23" fmla="*/ 2 h 535"/>
                <a:gd name="T24" fmla="*/ 13 w 607"/>
                <a:gd name="T25" fmla="*/ 1 h 535"/>
                <a:gd name="T26" fmla="*/ 10 w 607"/>
                <a:gd name="T27" fmla="*/ 0 h 535"/>
                <a:gd name="T28" fmla="*/ 5 w 607"/>
                <a:gd name="T29" fmla="*/ 4 h 535"/>
                <a:gd name="T30" fmla="*/ 3 w 607"/>
                <a:gd name="T31" fmla="*/ 5 h 535"/>
                <a:gd name="T32" fmla="*/ 3 w 607"/>
                <a:gd name="T33" fmla="*/ 8 h 535"/>
                <a:gd name="T34" fmla="*/ 3 w 607"/>
                <a:gd name="T35" fmla="*/ 9 h 535"/>
                <a:gd name="T36" fmla="*/ 0 w 607"/>
                <a:gd name="T37" fmla="*/ 9 h 53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535"/>
                <a:gd name="T59" fmla="*/ 607 w 607"/>
                <a:gd name="T60" fmla="*/ 535 h 53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535">
                  <a:moveTo>
                    <a:pt x="0" y="389"/>
                  </a:moveTo>
                  <a:lnTo>
                    <a:pt x="8" y="431"/>
                  </a:lnTo>
                  <a:lnTo>
                    <a:pt x="79" y="524"/>
                  </a:lnTo>
                  <a:lnTo>
                    <a:pt x="100" y="505"/>
                  </a:lnTo>
                  <a:lnTo>
                    <a:pt x="129" y="535"/>
                  </a:lnTo>
                  <a:lnTo>
                    <a:pt x="178" y="442"/>
                  </a:lnTo>
                  <a:lnTo>
                    <a:pt x="349" y="489"/>
                  </a:lnTo>
                  <a:lnTo>
                    <a:pt x="498" y="440"/>
                  </a:lnTo>
                  <a:lnTo>
                    <a:pt x="504" y="418"/>
                  </a:lnTo>
                  <a:lnTo>
                    <a:pt x="579" y="300"/>
                  </a:lnTo>
                  <a:lnTo>
                    <a:pt x="607" y="142"/>
                  </a:lnTo>
                  <a:lnTo>
                    <a:pt x="568" y="92"/>
                  </a:lnTo>
                  <a:lnTo>
                    <a:pt x="568" y="23"/>
                  </a:lnTo>
                  <a:lnTo>
                    <a:pt x="438" y="0"/>
                  </a:lnTo>
                  <a:lnTo>
                    <a:pt x="209" y="185"/>
                  </a:lnTo>
                  <a:lnTo>
                    <a:pt x="150" y="202"/>
                  </a:lnTo>
                  <a:lnTo>
                    <a:pt x="151" y="340"/>
                  </a:lnTo>
                  <a:lnTo>
                    <a:pt x="124" y="370"/>
                  </a:lnTo>
                  <a:lnTo>
                    <a:pt x="0" y="38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Freeform 465"/>
            <p:cNvSpPr/>
            <p:nvPr/>
          </p:nvSpPr>
          <p:spPr bwMode="auto">
            <a:xfrm>
              <a:off x="8934" y="12229"/>
              <a:ext cx="547" cy="500"/>
            </a:xfrm>
            <a:custGeom>
              <a:avLst/>
              <a:gdLst>
                <a:gd name="T0" fmla="*/ 0 w 445"/>
                <a:gd name="T1" fmla="*/ 8 h 429"/>
                <a:gd name="T2" fmla="*/ 1 w 445"/>
                <a:gd name="T3" fmla="*/ 2 h 429"/>
                <a:gd name="T4" fmla="*/ 2 w 445"/>
                <a:gd name="T5" fmla="*/ 0 h 429"/>
                <a:gd name="T6" fmla="*/ 6 w 445"/>
                <a:gd name="T7" fmla="*/ 1 h 429"/>
                <a:gd name="T8" fmla="*/ 9 w 445"/>
                <a:gd name="T9" fmla="*/ 0 h 429"/>
                <a:gd name="T10" fmla="*/ 10 w 445"/>
                <a:gd name="T11" fmla="*/ 1 h 429"/>
                <a:gd name="T12" fmla="*/ 10 w 445"/>
                <a:gd name="T13" fmla="*/ 2 h 429"/>
                <a:gd name="T14" fmla="*/ 9 w 445"/>
                <a:gd name="T15" fmla="*/ 3 h 429"/>
                <a:gd name="T16" fmla="*/ 7 w 445"/>
                <a:gd name="T17" fmla="*/ 8 h 429"/>
                <a:gd name="T18" fmla="*/ 6 w 445"/>
                <a:gd name="T19" fmla="*/ 7 h 429"/>
                <a:gd name="T20" fmla="*/ 5 w 445"/>
                <a:gd name="T21" fmla="*/ 9 h 429"/>
                <a:gd name="T22" fmla="*/ 3 w 445"/>
                <a:gd name="T23" fmla="*/ 10 h 429"/>
                <a:gd name="T24" fmla="*/ 2 w 445"/>
                <a:gd name="T25" fmla="*/ 8 h 429"/>
                <a:gd name="T26" fmla="*/ 0 w 445"/>
                <a:gd name="T27" fmla="*/ 8 h 42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5"/>
                <a:gd name="T43" fmla="*/ 0 h 429"/>
                <a:gd name="T44" fmla="*/ 445 w 445"/>
                <a:gd name="T45" fmla="*/ 429 h 42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5" h="429">
                  <a:moveTo>
                    <a:pt x="0" y="335"/>
                  </a:moveTo>
                  <a:lnTo>
                    <a:pt x="29" y="95"/>
                  </a:lnTo>
                  <a:lnTo>
                    <a:pt x="78" y="2"/>
                  </a:lnTo>
                  <a:lnTo>
                    <a:pt x="249" y="49"/>
                  </a:lnTo>
                  <a:lnTo>
                    <a:pt x="398" y="0"/>
                  </a:lnTo>
                  <a:lnTo>
                    <a:pt x="428" y="57"/>
                  </a:lnTo>
                  <a:lnTo>
                    <a:pt x="445" y="95"/>
                  </a:lnTo>
                  <a:lnTo>
                    <a:pt x="406" y="130"/>
                  </a:lnTo>
                  <a:lnTo>
                    <a:pt x="323" y="324"/>
                  </a:lnTo>
                  <a:lnTo>
                    <a:pt x="252" y="312"/>
                  </a:lnTo>
                  <a:lnTo>
                    <a:pt x="214" y="404"/>
                  </a:lnTo>
                  <a:lnTo>
                    <a:pt x="128" y="429"/>
                  </a:lnTo>
                  <a:lnTo>
                    <a:pt x="78" y="347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chemeClr val="accent2"/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尼日利亚</a:t>
              </a: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81" name="Freeform 464"/>
            <p:cNvSpPr/>
            <p:nvPr/>
          </p:nvSpPr>
          <p:spPr bwMode="auto">
            <a:xfrm>
              <a:off x="8818" y="11723"/>
              <a:ext cx="745" cy="618"/>
            </a:xfrm>
            <a:custGeom>
              <a:avLst/>
              <a:gdLst>
                <a:gd name="T0" fmla="*/ 0 w 607"/>
                <a:gd name="T1" fmla="*/ 9 h 535"/>
                <a:gd name="T2" fmla="*/ 0 w 607"/>
                <a:gd name="T3" fmla="*/ 10 h 535"/>
                <a:gd name="T4" fmla="*/ 2 w 607"/>
                <a:gd name="T5" fmla="*/ 12 h 535"/>
                <a:gd name="T6" fmla="*/ 2 w 607"/>
                <a:gd name="T7" fmla="*/ 12 h 535"/>
                <a:gd name="T8" fmla="*/ 3 w 607"/>
                <a:gd name="T9" fmla="*/ 12 h 535"/>
                <a:gd name="T10" fmla="*/ 4 w 607"/>
                <a:gd name="T11" fmla="*/ 10 h 535"/>
                <a:gd name="T12" fmla="*/ 8 w 607"/>
                <a:gd name="T13" fmla="*/ 11 h 535"/>
                <a:gd name="T14" fmla="*/ 11 w 607"/>
                <a:gd name="T15" fmla="*/ 10 h 535"/>
                <a:gd name="T16" fmla="*/ 12 w 607"/>
                <a:gd name="T17" fmla="*/ 10 h 535"/>
                <a:gd name="T18" fmla="*/ 13 w 607"/>
                <a:gd name="T19" fmla="*/ 7 h 535"/>
                <a:gd name="T20" fmla="*/ 14 w 607"/>
                <a:gd name="T21" fmla="*/ 3 h 535"/>
                <a:gd name="T22" fmla="*/ 13 w 607"/>
                <a:gd name="T23" fmla="*/ 2 h 535"/>
                <a:gd name="T24" fmla="*/ 13 w 607"/>
                <a:gd name="T25" fmla="*/ 1 h 535"/>
                <a:gd name="T26" fmla="*/ 10 w 607"/>
                <a:gd name="T27" fmla="*/ 0 h 535"/>
                <a:gd name="T28" fmla="*/ 5 w 607"/>
                <a:gd name="T29" fmla="*/ 4 h 535"/>
                <a:gd name="T30" fmla="*/ 3 w 607"/>
                <a:gd name="T31" fmla="*/ 5 h 535"/>
                <a:gd name="T32" fmla="*/ 3 w 607"/>
                <a:gd name="T33" fmla="*/ 8 h 535"/>
                <a:gd name="T34" fmla="*/ 3 w 607"/>
                <a:gd name="T35" fmla="*/ 9 h 535"/>
                <a:gd name="T36" fmla="*/ 0 w 607"/>
                <a:gd name="T37" fmla="*/ 9 h 53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535"/>
                <a:gd name="T59" fmla="*/ 607 w 607"/>
                <a:gd name="T60" fmla="*/ 535 h 53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535">
                  <a:moveTo>
                    <a:pt x="0" y="389"/>
                  </a:moveTo>
                  <a:lnTo>
                    <a:pt x="8" y="431"/>
                  </a:lnTo>
                  <a:lnTo>
                    <a:pt x="79" y="524"/>
                  </a:lnTo>
                  <a:lnTo>
                    <a:pt x="100" y="505"/>
                  </a:lnTo>
                  <a:lnTo>
                    <a:pt x="129" y="535"/>
                  </a:lnTo>
                  <a:lnTo>
                    <a:pt x="178" y="442"/>
                  </a:lnTo>
                  <a:lnTo>
                    <a:pt x="349" y="489"/>
                  </a:lnTo>
                  <a:lnTo>
                    <a:pt x="498" y="440"/>
                  </a:lnTo>
                  <a:lnTo>
                    <a:pt x="504" y="418"/>
                  </a:lnTo>
                  <a:lnTo>
                    <a:pt x="579" y="300"/>
                  </a:lnTo>
                  <a:lnTo>
                    <a:pt x="607" y="142"/>
                  </a:lnTo>
                  <a:lnTo>
                    <a:pt x="568" y="92"/>
                  </a:lnTo>
                  <a:lnTo>
                    <a:pt x="568" y="23"/>
                  </a:lnTo>
                  <a:lnTo>
                    <a:pt x="438" y="0"/>
                  </a:lnTo>
                  <a:lnTo>
                    <a:pt x="209" y="185"/>
                  </a:lnTo>
                  <a:lnTo>
                    <a:pt x="150" y="202"/>
                  </a:lnTo>
                  <a:lnTo>
                    <a:pt x="151" y="340"/>
                  </a:lnTo>
                  <a:lnTo>
                    <a:pt x="124" y="370"/>
                  </a:lnTo>
                  <a:lnTo>
                    <a:pt x="0" y="38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mpd="sng">
              <a:solidFill>
                <a:schemeClr val="tx2">
                  <a:lumMod val="75000"/>
                </a:schemeClr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          尼日尔</a:t>
              </a: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283" name="曲线连接符 282"/>
          <p:cNvCxnSpPr/>
          <p:nvPr/>
        </p:nvCxnSpPr>
        <p:spPr>
          <a:xfrm flipV="1">
            <a:off x="2101850" y="3284855"/>
            <a:ext cx="1475740" cy="522605"/>
          </a:xfrm>
          <a:prstGeom prst="curvedConnector3">
            <a:avLst>
              <a:gd name="adj1" fmla="val 50043"/>
            </a:avLst>
          </a:prstGeom>
          <a:ln>
            <a:solidFill>
              <a:srgbClr val="C00000"/>
            </a:solidFill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4" grpId="0" animBg="1"/>
      <p:bldP spid="6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尼日利亚简介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NIGERI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http://photo-static-api.fotomore.com/creative/vcg/veer/400/new/VCG41N670815014.jpg" descr="templates\picture_hover\&amp;pky250_sjzg_VCG41N670815014&amp;2&amp;src_toppic_inpsrchzd1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855595" y="621030"/>
            <a:ext cx="6306185" cy="330390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1574165" y="4004945"/>
            <a:ext cx="9747986" cy="2639060"/>
            <a:chOff x="2705" y="6307"/>
            <a:chExt cx="14203" cy="4156"/>
          </a:xfrm>
        </p:grpSpPr>
        <p:sp>
          <p:nvSpPr>
            <p:cNvPr id="51" name="TextBox 23"/>
            <p:cNvSpPr txBox="1"/>
            <p:nvPr>
              <p:custDataLst>
                <p:tags r:id="rId2"/>
              </p:custDataLst>
            </p:nvPr>
          </p:nvSpPr>
          <p:spPr>
            <a:xfrm>
              <a:off x="3818" y="6307"/>
              <a:ext cx="13090" cy="41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pPr algn="l">
                <a:lnSpc>
                  <a:spcPct val="160000"/>
                </a:lnSpc>
              </a:pPr>
              <a:r>
                <a:rPr lang="en-US" altLang="zh-CN" sz="24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                 </a:t>
              </a:r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尼日利亚是</a:t>
              </a:r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非洲第一大经济体</a:t>
              </a:r>
              <a:endPara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  <a:p>
              <a:pPr algn="l">
                <a:lnSpc>
                  <a:spcPct val="160000"/>
                </a:lnSpc>
              </a:pP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 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第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1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名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  - 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连续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10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年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GDP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排名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非洲首位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algn="l">
                <a:lnSpc>
                  <a:spcPct val="160000"/>
                </a:lnSpc>
              </a:pP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第1名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- 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非洲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第一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大石油</a:t>
              </a:r>
              <a:r>
                <a:rPr lang="zh-CN" altLang="en-US" sz="24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生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产和出口大国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algn="l">
                <a:lnSpc>
                  <a:spcPct val="160000"/>
                </a:lnSpc>
              </a:pP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前十名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- 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被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兰德商业银行评为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2024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年非洲前十大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首选投资目的地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algn="l">
                <a:lnSpc>
                  <a:spcPct val="160000"/>
                </a:lnSpc>
              </a:pPr>
              <a:r>
                <a:rPr lang="en-US" altLang="zh-CN" sz="20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" name="图片 7" descr="templates\docerresourceshop\icons\\343435383136313b333637393432373bc8abc7f2beadbcc3"/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8" y="7327"/>
              <a:ext cx="717" cy="717"/>
            </a:xfrm>
            <a:prstGeom prst="rect">
              <a:avLst/>
            </a:prstGeom>
          </p:spPr>
        </p:pic>
        <p:pic>
          <p:nvPicPr>
            <p:cNvPr id="9" name="图片 8" descr="templates\docerresourceshop\icons\\32313536303935323b32313536303931323bcaafd3cdbfaab7a2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05" y="8235"/>
              <a:ext cx="803" cy="803"/>
            </a:xfrm>
            <a:prstGeom prst="rect">
              <a:avLst/>
            </a:prstGeom>
          </p:spPr>
        </p:pic>
        <p:pic>
          <p:nvPicPr>
            <p:cNvPr id="12" name="图片 11" descr="templates\docerresourceshop\icons\\32313535373932343b32313535373933313bcdb6d7ca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05" y="9256"/>
              <a:ext cx="850" cy="850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劳动力优势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NIGERI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组合 1"/>
          <p:cNvGrpSpPr/>
          <p:nvPr/>
        </p:nvGrpSpPr>
        <p:grpSpPr>
          <a:xfrm>
            <a:off x="1701800" y="4052570"/>
            <a:ext cx="11101705" cy="1753235"/>
            <a:chOff x="2454" y="6382"/>
            <a:chExt cx="17483" cy="2761"/>
          </a:xfrm>
        </p:grpSpPr>
        <p:sp>
          <p:nvSpPr>
            <p:cNvPr id="4" name="文本框 3"/>
            <p:cNvSpPr txBox="1"/>
            <p:nvPr/>
          </p:nvSpPr>
          <p:spPr>
            <a:xfrm>
              <a:off x="2454" y="6382"/>
              <a:ext cx="17483" cy="27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fontAlgn="auto">
                <a:lnSpc>
                  <a:spcPct val="150000"/>
                </a:lnSpc>
              </a:pP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           </a:t>
              </a:r>
              <a:r>
                <a:rPr lang="en-US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2.32</a:t>
              </a:r>
              <a:r>
                <a:rPr lang="zh-CN" altLang="en-US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亿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（20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24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年）：非洲人口最多的国家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fontAlgn="auto">
                <a:lnSpc>
                  <a:spcPct val="150000"/>
                </a:lnSpc>
              </a:pP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           失业率：</a:t>
              </a:r>
              <a:r>
                <a:rPr lang="en-US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33.3</a:t>
              </a:r>
              <a:r>
                <a:rPr lang="zh-CN" altLang="en-US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%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；15-64岁适龄劳动力人口约：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1.8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亿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fontAlgn="auto">
                <a:lnSpc>
                  <a:spcPct val="150000"/>
                </a:lnSpc>
              </a:pP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           合同工工资每月约为 </a:t>
              </a:r>
              <a:r>
                <a:rPr lang="en-US" altLang="zh-CN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300-500</a:t>
              </a:r>
              <a:r>
                <a:rPr lang="zh-CN" altLang="en-US" sz="2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元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人民币（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7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万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-11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万奈拉</a:t>
              </a:r>
              <a:r>
                <a:rPr lang="en-US" altLang="zh-CN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/</a:t>
              </a:r>
              <a:r>
                <a:rPr lang="zh-CN" altLang="en-US" sz="2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月）</a:t>
              </a:r>
              <a:endPara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3137" y="6649"/>
              <a:ext cx="573" cy="2197"/>
              <a:chOff x="2793" y="6649"/>
              <a:chExt cx="573" cy="2197"/>
            </a:xfrm>
          </p:grpSpPr>
          <p:pic>
            <p:nvPicPr>
              <p:cNvPr id="11" name="图片 10" descr="人"/>
              <p:cNvPicPr>
                <a:picLocks noChangeAspect="1"/>
              </p:cNvPicPr>
              <p:nvPr/>
            </p:nvPicPr>
            <p:blipFill>
              <a:blip r:embed="rId1"/>
              <a:stretch>
                <a:fillRect/>
              </a:stretch>
            </p:blipFill>
            <p:spPr>
              <a:xfrm>
                <a:off x="2793" y="6649"/>
                <a:ext cx="573" cy="573"/>
              </a:xfrm>
              <a:prstGeom prst="rect">
                <a:avLst/>
              </a:prstGeom>
            </p:spPr>
          </p:pic>
          <p:pic>
            <p:nvPicPr>
              <p:cNvPr id="12" name="图片 11" descr="民政信息-失业人员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793" y="7555"/>
                <a:ext cx="523" cy="523"/>
              </a:xfrm>
              <a:prstGeom prst="rect">
                <a:avLst/>
              </a:prstGeom>
            </p:spPr>
          </p:pic>
          <p:pic>
            <p:nvPicPr>
              <p:cNvPr id="26" name="图片 25" descr="工资单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793" y="8385"/>
                <a:ext cx="461" cy="461"/>
              </a:xfrm>
              <a:prstGeom prst="rect">
                <a:avLst/>
              </a:prstGeom>
            </p:spPr>
          </p:pic>
        </p:grpSp>
      </p:grpSp>
      <p:sp>
        <p:nvSpPr>
          <p:cNvPr id="9" name="文本框 8"/>
          <p:cNvSpPr txBox="1"/>
          <p:nvPr/>
        </p:nvSpPr>
        <p:spPr>
          <a:xfrm>
            <a:off x="984250" y="5733415"/>
            <a:ext cx="104089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尼日利亚拥有显著的劳动力成本优势，适合发展劳动密集型产业</a:t>
            </a:r>
            <a:endParaRPr lang="zh-CN" altLang="en-US" sz="2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13313" name="图片 6" descr="C:\Users\Jialu Chen\Desktop\1676941086025.jpg167694108602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/>
          <a:stretch>
            <a:fillRect/>
          </a:stretch>
        </p:blipFill>
        <p:spPr>
          <a:xfrm flipH="1">
            <a:off x="2856865" y="883285"/>
            <a:ext cx="5924550" cy="309308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出口产品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NIGERI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24"/>
          <p:cNvSpPr txBox="1"/>
          <p:nvPr/>
        </p:nvSpPr>
        <p:spPr>
          <a:xfrm>
            <a:off x="1163320" y="1360170"/>
            <a:ext cx="10132695" cy="584200"/>
          </a:xfrm>
          <a:prstGeom prst="rect">
            <a:avLst/>
          </a:prstGeom>
          <a:noFill/>
        </p:spPr>
        <p:txBody>
          <a:bodyPr wrap="none" rtlCol="0">
            <a:noAutofit/>
          </a:bodyPr>
          <a:p>
            <a:pPr algn="ctr"/>
            <a:r>
              <a:rPr lang="zh-CN" altLang="en-US" sz="2800" b="1" dirty="0">
                <a:solidFill>
                  <a:srgbClr val="E62A2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尼日利亚主要出口的非资源性产品：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棉花、橡胶、腰果、大豆等</a:t>
            </a:r>
            <a:endParaRPr lang="zh-CN" altLang="en-US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1275715" y="1988447"/>
            <a:ext cx="10188808" cy="4406638"/>
            <a:chOff x="3252" y="3173"/>
            <a:chExt cx="14144" cy="5797"/>
          </a:xfrm>
        </p:grpSpPr>
        <p:pic>
          <p:nvPicPr>
            <p:cNvPr id="50" name="Picture Placeholder 1" descr="C:\Users\Jialu Chen\Desktop\1676942784019.jpg1676942784019"/>
            <p:cNvPicPr>
              <a:picLocks noGrp="1" noChangeAspect="1"/>
            </p:cNvPicPr>
            <p:nvPr>
              <p:custDataLst>
                <p:tags r:id="rId1"/>
              </p:custDataLst>
            </p:nvPr>
          </p:nvPicPr>
          <p:blipFill>
            <a:blip r:embed="rId2"/>
            <a:srcRect/>
            <a:stretch>
              <a:fillRect/>
            </a:stretch>
          </p:blipFill>
          <p:spPr>
            <a:xfrm>
              <a:off x="6770" y="3173"/>
              <a:ext cx="3350" cy="4361"/>
            </a:xfrm>
            <a:prstGeom prst="rect">
              <a:avLst/>
            </a:prstGeom>
            <a:solidFill>
              <a:srgbClr val="EBEEF2"/>
            </a:solidFill>
            <a:ln w="19050">
              <a:noFill/>
            </a:ln>
            <a:effectLst/>
          </p:spPr>
        </p:pic>
        <p:pic>
          <p:nvPicPr>
            <p:cNvPr id="51" name="Picture Placeholder 2" descr="C:\Users\Jialu Chen\Desktop\1676942378535.jpg1676942378535"/>
            <p:cNvPicPr>
              <a:picLocks noGrp="1" noChangeAspect="1"/>
            </p:cNvPicPr>
            <p:nvPr>
              <p:custDataLst>
                <p:tags r:id="rId3"/>
              </p:custDataLst>
            </p:nvPr>
          </p:nvPicPr>
          <p:blipFill>
            <a:blip r:embed="rId4"/>
            <a:srcRect/>
            <a:stretch>
              <a:fillRect/>
            </a:stretch>
          </p:blipFill>
          <p:spPr>
            <a:xfrm>
              <a:off x="3261" y="3192"/>
              <a:ext cx="3329" cy="4398"/>
            </a:xfrm>
            <a:prstGeom prst="rect">
              <a:avLst/>
            </a:prstGeom>
            <a:solidFill>
              <a:srgbClr val="EBEEF2"/>
            </a:solidFill>
            <a:ln w="19050">
              <a:noFill/>
            </a:ln>
            <a:effectLst/>
          </p:spPr>
        </p:pic>
        <p:pic>
          <p:nvPicPr>
            <p:cNvPr id="52" name="Picture Placeholder 5" descr="C:\Users\Jialu Chen\Desktop\1676943114098.jpg1676943114098"/>
            <p:cNvPicPr>
              <a:picLocks noGrp="1" noChangeAspect="1"/>
            </p:cNvPicPr>
            <p:nvPr>
              <p:custDataLst>
                <p:tags r:id="rId5"/>
              </p:custDataLst>
            </p:nvPr>
          </p:nvPicPr>
          <p:blipFill>
            <a:blip r:embed="rId6"/>
            <a:srcRect/>
            <a:stretch>
              <a:fillRect/>
            </a:stretch>
          </p:blipFill>
          <p:spPr>
            <a:xfrm>
              <a:off x="10299" y="3174"/>
              <a:ext cx="3374" cy="4358"/>
            </a:xfrm>
            <a:prstGeom prst="rect">
              <a:avLst/>
            </a:prstGeom>
            <a:solidFill>
              <a:srgbClr val="EBEEF2"/>
            </a:solidFill>
            <a:ln w="19050">
              <a:noFill/>
            </a:ln>
            <a:effectLst/>
          </p:spPr>
        </p:pic>
        <p:pic>
          <p:nvPicPr>
            <p:cNvPr id="54" name="Picture Placeholder 6" descr="C:\Users\Jialu Chen\Desktop\1676943718987.png1676943718987"/>
            <p:cNvPicPr>
              <a:picLocks noGrp="1" noChangeAspect="1"/>
            </p:cNvPicPr>
            <p:nvPr>
              <p:custDataLst>
                <p:tags r:id="rId7"/>
              </p:custDataLst>
            </p:nvPr>
          </p:nvPicPr>
          <p:blipFill>
            <a:blip r:embed="rId8"/>
            <a:srcRect/>
            <a:stretch>
              <a:fillRect/>
            </a:stretch>
          </p:blipFill>
          <p:spPr>
            <a:xfrm>
              <a:off x="13864" y="3173"/>
              <a:ext cx="3513" cy="4358"/>
            </a:xfrm>
            <a:prstGeom prst="rect">
              <a:avLst/>
            </a:prstGeom>
            <a:solidFill>
              <a:srgbClr val="EBEEF2"/>
            </a:solidFill>
            <a:ln w="19050">
              <a:noFill/>
            </a:ln>
            <a:effectLst/>
          </p:spPr>
        </p:pic>
        <p:sp>
          <p:nvSpPr>
            <p:cNvPr id="55" name="Rectangle 43"/>
            <p:cNvSpPr/>
            <p:nvPr>
              <p:custDataLst>
                <p:tags r:id="rId9"/>
              </p:custDataLst>
            </p:nvPr>
          </p:nvSpPr>
          <p:spPr>
            <a:xfrm>
              <a:off x="3252" y="7719"/>
              <a:ext cx="3339" cy="1251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56" name="Rectangle 52"/>
            <p:cNvSpPr/>
            <p:nvPr>
              <p:custDataLst>
                <p:tags r:id="rId10"/>
              </p:custDataLst>
            </p:nvPr>
          </p:nvSpPr>
          <p:spPr>
            <a:xfrm>
              <a:off x="6791" y="7720"/>
              <a:ext cx="3347" cy="125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58" name="Rectangle 60"/>
            <p:cNvSpPr/>
            <p:nvPr>
              <p:custDataLst>
                <p:tags r:id="rId11"/>
              </p:custDataLst>
            </p:nvPr>
          </p:nvSpPr>
          <p:spPr>
            <a:xfrm>
              <a:off x="13874" y="7712"/>
              <a:ext cx="3522" cy="12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59" name="TextBox 24"/>
            <p:cNvSpPr txBox="1"/>
            <p:nvPr>
              <p:custDataLst>
                <p:tags r:id="rId12"/>
              </p:custDataLst>
            </p:nvPr>
          </p:nvSpPr>
          <p:spPr>
            <a:xfrm>
              <a:off x="7648" y="8005"/>
              <a:ext cx="1632" cy="7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p>
              <a:pPr algn="ctr"/>
              <a:r>
                <a:rPr lang="zh-CN" altLang="en-US" sz="2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木薯</a:t>
              </a:r>
              <a:endPara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0" name="组合 59"/>
            <p:cNvGrpSpPr/>
            <p:nvPr/>
          </p:nvGrpSpPr>
          <p:grpSpPr>
            <a:xfrm>
              <a:off x="10336" y="7712"/>
              <a:ext cx="3341" cy="1257"/>
              <a:chOff x="10336" y="7712"/>
              <a:chExt cx="3341" cy="1257"/>
            </a:xfrm>
          </p:grpSpPr>
          <p:sp>
            <p:nvSpPr>
              <p:cNvPr id="62" name="Rectangle 56"/>
              <p:cNvSpPr/>
              <p:nvPr>
                <p:custDataLst>
                  <p:tags r:id="rId13"/>
                </p:custDataLst>
              </p:nvPr>
            </p:nvSpPr>
            <p:spPr>
              <a:xfrm>
                <a:off x="10336" y="7712"/>
                <a:ext cx="3341" cy="125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 fontAlgn="auto"/>
                <a:endParaRPr lang="en-US" sz="2400" strike="noStrike" noProof="1"/>
              </a:p>
            </p:txBody>
          </p:sp>
          <p:sp>
            <p:nvSpPr>
              <p:cNvPr id="63" name="TextBox 24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11446" y="8023"/>
                <a:ext cx="1248" cy="6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algn="ctr"/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棕榈</a:t>
                </a:r>
                <a:endParaRPr lang="zh-CN" altLang="en-US" sz="2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4" name="TextBox 24"/>
            <p:cNvSpPr txBox="1"/>
            <p:nvPr>
              <p:custDataLst>
                <p:tags r:id="rId15"/>
              </p:custDataLst>
            </p:nvPr>
          </p:nvSpPr>
          <p:spPr>
            <a:xfrm>
              <a:off x="4237" y="8004"/>
              <a:ext cx="1248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可</a:t>
              </a:r>
              <a:endPara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5" name="TextBox 24"/>
          <p:cNvSpPr txBox="1"/>
          <p:nvPr>
            <p:custDataLst>
              <p:tags r:id="rId16"/>
            </p:custDataLst>
          </p:nvPr>
        </p:nvSpPr>
        <p:spPr>
          <a:xfrm>
            <a:off x="9842500" y="5661660"/>
            <a:ext cx="842010" cy="514985"/>
          </a:xfrm>
          <a:prstGeom prst="rect">
            <a:avLst/>
          </a:prstGeom>
          <a:noFill/>
        </p:spPr>
        <p:txBody>
          <a:bodyPr wrap="none" rtlCol="0">
            <a:noAutofit/>
          </a:bodyPr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芝麻</a:t>
            </a:r>
            <a:endParaRPr lang="zh-CN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2" name="Picture Placeholder 6" descr="C:\Users\Jialu Chen\Desktop\1677138449453.png1677138449453"/>
          <p:cNvPicPr>
            <a:picLocks noGrp="1"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8921115" y="1986915"/>
            <a:ext cx="2524125" cy="3343275"/>
          </a:xfrm>
          <a:prstGeom prst="rect">
            <a:avLst/>
          </a:prstGeom>
          <a:solidFill>
            <a:srgbClr val="EBEEF2"/>
          </a:solidFill>
          <a:ln w="19050">
            <a:noFill/>
          </a:ln>
          <a:effectLst/>
        </p:spPr>
      </p:pic>
      <p:pic>
        <p:nvPicPr>
          <p:cNvPr id="4101" name="Picture Placeholder 5" descr="C:\Users\Jialu Chen\Desktop\1677138109694.png1677138109694"/>
          <p:cNvPicPr>
            <a:picLocks noGrp="1" noChangeAspect="1"/>
          </p:cNvPicPr>
          <p:nvPr>
            <p:custDataLst>
              <p:tags r:id="rId3"/>
            </p:custDataLst>
          </p:nvPr>
        </p:nvPicPr>
        <p:blipFill>
          <a:blip r:embed="rId4"/>
          <a:srcRect/>
          <a:stretch>
            <a:fillRect/>
          </a:stretch>
        </p:blipFill>
        <p:spPr>
          <a:xfrm>
            <a:off x="6334125" y="1976755"/>
            <a:ext cx="2444750" cy="3351530"/>
          </a:xfrm>
          <a:prstGeom prst="rect">
            <a:avLst/>
          </a:prstGeom>
          <a:solidFill>
            <a:srgbClr val="EBEEF2"/>
          </a:solidFill>
          <a:ln w="19050">
            <a:noFill/>
          </a:ln>
          <a:effectLst/>
        </p:spPr>
      </p:pic>
      <p:pic>
        <p:nvPicPr>
          <p:cNvPr id="4100" name="Picture Placeholder 2" descr="C:\Users\Jialu Chen\Desktop\1677137897804.png1677137897804"/>
          <p:cNvPicPr>
            <a:picLocks noGrp="1" noChangeAspect="1"/>
          </p:cNvPicPr>
          <p:nvPr>
            <p:custDataLst>
              <p:tags r:id="rId5"/>
            </p:custDataLst>
          </p:nvPr>
        </p:nvPicPr>
        <p:blipFill>
          <a:blip r:embed="rId6"/>
          <a:srcRect/>
          <a:stretch>
            <a:fillRect/>
          </a:stretch>
        </p:blipFill>
        <p:spPr>
          <a:xfrm>
            <a:off x="3796665" y="1979930"/>
            <a:ext cx="2440305" cy="3375025"/>
          </a:xfrm>
          <a:prstGeom prst="rect">
            <a:avLst/>
          </a:prstGeom>
          <a:solidFill>
            <a:srgbClr val="EBEEF2"/>
          </a:solidFill>
          <a:ln w="19050">
            <a:noFill/>
          </a:ln>
          <a:effectLst/>
        </p:spPr>
      </p:pic>
      <p:pic>
        <p:nvPicPr>
          <p:cNvPr id="4099" name="Picture Placeholder 1" descr="C:\Users\Jialu Chen\Desktop\1677137767156.png1677137767156"/>
          <p:cNvPicPr>
            <a:picLocks noGrp="1" noChangeAspect="1"/>
          </p:cNvPicPr>
          <p:nvPr>
            <p:custDataLst>
              <p:tags r:id="rId7"/>
            </p:custDataLst>
          </p:nvPr>
        </p:nvPicPr>
        <p:blipFill>
          <a:blip r:embed="rId8"/>
          <a:srcRect/>
          <a:stretch>
            <a:fillRect/>
          </a:stretch>
        </p:blipFill>
        <p:spPr>
          <a:xfrm>
            <a:off x="1273810" y="2002790"/>
            <a:ext cx="2431415" cy="3328035"/>
          </a:xfrm>
          <a:prstGeom prst="rect">
            <a:avLst/>
          </a:prstGeom>
          <a:solidFill>
            <a:srgbClr val="EBEEF2"/>
          </a:solidFill>
          <a:ln w="19050">
            <a:noFill/>
          </a:ln>
          <a:effectLst/>
        </p:spPr>
      </p:pic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出口产品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NIGERI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24"/>
          <p:cNvSpPr txBox="1"/>
          <p:nvPr/>
        </p:nvSpPr>
        <p:spPr>
          <a:xfrm>
            <a:off x="1633349" y="1341406"/>
            <a:ext cx="91744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800" b="1" dirty="0">
                <a:solidFill>
                  <a:srgbClr val="E62A2A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尼日利亚主要出口的资源性产品：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矿物燃料、化肥、锌、铝等</a:t>
            </a:r>
            <a:endParaRPr lang="zh-CN" altLang="en-US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1275715" y="5438806"/>
            <a:ext cx="10188808" cy="956279"/>
            <a:chOff x="3252" y="7712"/>
            <a:chExt cx="14144" cy="1258"/>
          </a:xfrm>
        </p:grpSpPr>
        <p:sp>
          <p:nvSpPr>
            <p:cNvPr id="55" name="Rectangle 43"/>
            <p:cNvSpPr/>
            <p:nvPr>
              <p:custDataLst>
                <p:tags r:id="rId9"/>
              </p:custDataLst>
            </p:nvPr>
          </p:nvSpPr>
          <p:spPr>
            <a:xfrm>
              <a:off x="3252" y="7719"/>
              <a:ext cx="3339" cy="1251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56" name="Rectangle 52"/>
            <p:cNvSpPr/>
            <p:nvPr>
              <p:custDataLst>
                <p:tags r:id="rId10"/>
              </p:custDataLst>
            </p:nvPr>
          </p:nvSpPr>
          <p:spPr>
            <a:xfrm>
              <a:off x="6791" y="7720"/>
              <a:ext cx="3347" cy="125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58" name="Rectangle 60"/>
            <p:cNvSpPr/>
            <p:nvPr>
              <p:custDataLst>
                <p:tags r:id="rId11"/>
              </p:custDataLst>
            </p:nvPr>
          </p:nvSpPr>
          <p:spPr>
            <a:xfrm>
              <a:off x="13874" y="7712"/>
              <a:ext cx="3522" cy="12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en-US" sz="2400">
                <a:sym typeface="+mn-ea"/>
              </a:endParaRPr>
            </a:p>
          </p:txBody>
        </p:sp>
        <p:sp>
          <p:nvSpPr>
            <p:cNvPr id="62" name="Rectangle 56"/>
            <p:cNvSpPr/>
            <p:nvPr>
              <p:custDataLst>
                <p:tags r:id="rId12"/>
              </p:custDataLst>
            </p:nvPr>
          </p:nvSpPr>
          <p:spPr>
            <a:xfrm>
              <a:off x="10336" y="7712"/>
              <a:ext cx="3341" cy="12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 fontAlgn="auto"/>
              <a:endParaRPr lang="en-US" sz="2400" strike="noStrike" noProof="1"/>
            </a:p>
          </p:txBody>
        </p:sp>
      </p:grpSp>
      <p:sp>
        <p:nvSpPr>
          <p:cNvPr id="7" name="TextBox 24"/>
          <p:cNvSpPr txBox="1"/>
          <p:nvPr>
            <p:custDataLst>
              <p:tags r:id="rId13"/>
            </p:custDataLst>
          </p:nvPr>
        </p:nvSpPr>
        <p:spPr>
          <a:xfrm>
            <a:off x="4661664" y="5675281"/>
            <a:ext cx="792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石油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24"/>
          <p:cNvSpPr txBox="1"/>
          <p:nvPr>
            <p:custDataLst>
              <p:tags r:id="rId14"/>
            </p:custDataLst>
          </p:nvPr>
        </p:nvSpPr>
        <p:spPr>
          <a:xfrm>
            <a:off x="7249924" y="5661311"/>
            <a:ext cx="792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矿石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24"/>
          <p:cNvSpPr txBox="1"/>
          <p:nvPr>
            <p:custDataLst>
              <p:tags r:id="rId15"/>
            </p:custDataLst>
          </p:nvPr>
        </p:nvSpPr>
        <p:spPr>
          <a:xfrm>
            <a:off x="2065784" y="5675281"/>
            <a:ext cx="792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煤炭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24"/>
          <p:cNvSpPr txBox="1"/>
          <p:nvPr>
            <p:custDataLst>
              <p:tags r:id="rId16"/>
            </p:custDataLst>
          </p:nvPr>
        </p:nvSpPr>
        <p:spPr>
          <a:xfrm>
            <a:off x="9698484" y="5661311"/>
            <a:ext cx="1097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然气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椭圆 29"/>
          <p:cNvSpPr/>
          <p:nvPr/>
        </p:nvSpPr>
        <p:spPr>
          <a:xfrm>
            <a:off x="4892558" y="972607"/>
            <a:ext cx="2448272" cy="244827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标题 4"/>
          <p:cNvSpPr txBox="1"/>
          <p:nvPr/>
        </p:nvSpPr>
        <p:spPr>
          <a:xfrm>
            <a:off x="4945459" y="3819612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园区优势及服务</a:t>
            </a:r>
            <a:endParaRPr lang="zh-CN" altLang="en-US" sz="24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椭圆 53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椭圆 54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56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椭圆 58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椭圆 59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标题 4"/>
          <p:cNvSpPr txBox="1"/>
          <p:nvPr/>
        </p:nvSpPr>
        <p:spPr>
          <a:xfrm>
            <a:off x="4945459" y="2780928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章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椭圆 64"/>
          <p:cNvSpPr/>
          <p:nvPr/>
        </p:nvSpPr>
        <p:spPr>
          <a:xfrm>
            <a:off x="4996314" y="1076363"/>
            <a:ext cx="2240761" cy="2240761"/>
          </a:xfrm>
          <a:prstGeom prst="ellipse">
            <a:avLst/>
          </a:prstGeom>
          <a:noFill/>
          <a:ln w="31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6" name="直接连接符 65"/>
          <p:cNvCxnSpPr/>
          <p:nvPr/>
        </p:nvCxnSpPr>
        <p:spPr>
          <a:xfrm>
            <a:off x="4808413" y="4293096"/>
            <a:ext cx="2477306" cy="0"/>
          </a:xfrm>
          <a:prstGeom prst="line">
            <a:avLst/>
          </a:prstGeom>
          <a:ln>
            <a:solidFill>
              <a:srgbClr val="2C363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3" name="KSO_Shape"/>
          <p:cNvSpPr/>
          <p:nvPr/>
        </p:nvSpPr>
        <p:spPr bwMode="auto">
          <a:xfrm>
            <a:off x="5399290" y="1412776"/>
            <a:ext cx="1327945" cy="1274829"/>
          </a:xfrm>
          <a:custGeom>
            <a:avLst/>
            <a:gdLst>
              <a:gd name="T0" fmla="*/ 1618108 w 3816350"/>
              <a:gd name="T1" fmla="*/ 3491708 h 3665538"/>
              <a:gd name="T2" fmla="*/ 3711914 w 3816350"/>
              <a:gd name="T3" fmla="*/ 3515947 h 3665538"/>
              <a:gd name="T4" fmla="*/ 1938033 w 3816350"/>
              <a:gd name="T5" fmla="*/ 3320852 h 3665538"/>
              <a:gd name="T6" fmla="*/ 2466975 w 3816350"/>
              <a:gd name="T7" fmla="*/ 3464378 h 3665538"/>
              <a:gd name="T8" fmla="*/ 1420823 w 3816350"/>
              <a:gd name="T9" fmla="*/ 3514907 h 3665538"/>
              <a:gd name="T10" fmla="*/ 1072366 w 3816350"/>
              <a:gd name="T11" fmla="*/ 3448171 h 3665538"/>
              <a:gd name="T12" fmla="*/ 350995 w 3816350"/>
              <a:gd name="T13" fmla="*/ 3613421 h 3665538"/>
              <a:gd name="T14" fmla="*/ 2826009 w 3816350"/>
              <a:gd name="T15" fmla="*/ 3416327 h 3665538"/>
              <a:gd name="T16" fmla="*/ 3710327 w 3816350"/>
              <a:gd name="T17" fmla="*/ 3553504 h 3665538"/>
              <a:gd name="T18" fmla="*/ 1625482 w 3816350"/>
              <a:gd name="T19" fmla="*/ 3379536 h 3665538"/>
              <a:gd name="T20" fmla="*/ 2426374 w 3816350"/>
              <a:gd name="T21" fmla="*/ 3213000 h 3665538"/>
              <a:gd name="T22" fmla="*/ 771525 w 3816350"/>
              <a:gd name="T23" fmla="*/ 3205163 h 3665538"/>
              <a:gd name="T24" fmla="*/ 1067953 w 3816350"/>
              <a:gd name="T25" fmla="*/ 3277053 h 3665538"/>
              <a:gd name="T26" fmla="*/ 784892 w 3816350"/>
              <a:gd name="T27" fmla="*/ 3451540 h 3665538"/>
              <a:gd name="T28" fmla="*/ 2490788 w 3816350"/>
              <a:gd name="T29" fmla="*/ 3116568 h 3665538"/>
              <a:gd name="T30" fmla="*/ 1449375 w 3816350"/>
              <a:gd name="T31" fmla="*/ 3307847 h 3665538"/>
              <a:gd name="T32" fmla="*/ 2434307 w 3816350"/>
              <a:gd name="T33" fmla="*/ 3163198 h 3665538"/>
              <a:gd name="T34" fmla="*/ 3783974 w 3816350"/>
              <a:gd name="T35" fmla="*/ 3278823 h 3665538"/>
              <a:gd name="T36" fmla="*/ 2635250 w 3816350"/>
              <a:gd name="T37" fmla="*/ 3206432 h 3665538"/>
              <a:gd name="T38" fmla="*/ 3815080 w 3816350"/>
              <a:gd name="T39" fmla="*/ 3040062 h 3665538"/>
              <a:gd name="T40" fmla="*/ 2866956 w 3816350"/>
              <a:gd name="T41" fmla="*/ 3006725 h 3665538"/>
              <a:gd name="T42" fmla="*/ 657993 w 3816350"/>
              <a:gd name="T43" fmla="*/ 3196983 h 3665538"/>
              <a:gd name="T44" fmla="*/ 872062 w 3816350"/>
              <a:gd name="T45" fmla="*/ 3214746 h 3665538"/>
              <a:gd name="T46" fmla="*/ 825374 w 3816350"/>
              <a:gd name="T47" fmla="*/ 2994614 h 3665538"/>
              <a:gd name="T48" fmla="*/ 1190307 w 3816350"/>
              <a:gd name="T49" fmla="*/ 3120223 h 3665538"/>
              <a:gd name="T50" fmla="*/ 273368 w 3816350"/>
              <a:gd name="T51" fmla="*/ 3120223 h 3665538"/>
              <a:gd name="T52" fmla="*/ 1472924 w 3816350"/>
              <a:gd name="T53" fmla="*/ 2958852 h 3665538"/>
              <a:gd name="T54" fmla="*/ 2445690 w 3816350"/>
              <a:gd name="T55" fmla="*/ 3096148 h 3665538"/>
              <a:gd name="T56" fmla="*/ 1403350 w 3816350"/>
              <a:gd name="T57" fmla="*/ 2909186 h 3665538"/>
              <a:gd name="T58" fmla="*/ 3767144 w 3816350"/>
              <a:gd name="T59" fmla="*/ 2880042 h 3665538"/>
              <a:gd name="T60" fmla="*/ 2660954 w 3816350"/>
              <a:gd name="T61" fmla="*/ 3062923 h 3665538"/>
              <a:gd name="T62" fmla="*/ 2077078 w 3816350"/>
              <a:gd name="T63" fmla="*/ 2755988 h 3665538"/>
              <a:gd name="T64" fmla="*/ 2064323 w 3816350"/>
              <a:gd name="T65" fmla="*/ 3023556 h 3665538"/>
              <a:gd name="T66" fmla="*/ 1553136 w 3816350"/>
              <a:gd name="T67" fmla="*/ 2926811 h 3665538"/>
              <a:gd name="T68" fmla="*/ 2489519 w 3816350"/>
              <a:gd name="T69" fmla="*/ 2707310 h 3665538"/>
              <a:gd name="T70" fmla="*/ 1846579 w 3816350"/>
              <a:gd name="T71" fmla="*/ 2621224 h 3665538"/>
              <a:gd name="T72" fmla="*/ 3411957 w 3816350"/>
              <a:gd name="T73" fmla="*/ 2738921 h 3665538"/>
              <a:gd name="T74" fmla="*/ 3080259 w 3816350"/>
              <a:gd name="T75" fmla="*/ 2936880 h 3665538"/>
              <a:gd name="T76" fmla="*/ 1829436 w 3816350"/>
              <a:gd name="T77" fmla="*/ 2582778 h 3665538"/>
              <a:gd name="T78" fmla="*/ 1856740 w 3816350"/>
              <a:gd name="T79" fmla="*/ 2801747 h 3665538"/>
              <a:gd name="T80" fmla="*/ 2088516 w 3816350"/>
              <a:gd name="T81" fmla="*/ 2619751 h 3665538"/>
              <a:gd name="T82" fmla="*/ 2403793 w 3816350"/>
              <a:gd name="T83" fmla="*/ 2645568 h 3665538"/>
              <a:gd name="T84" fmla="*/ 1545273 w 3816350"/>
              <a:gd name="T85" fmla="*/ 2758080 h 3665538"/>
              <a:gd name="T86" fmla="*/ 2737140 w 3816350"/>
              <a:gd name="T87" fmla="*/ 2576196 h 3665538"/>
              <a:gd name="T88" fmla="*/ 3655103 w 3816350"/>
              <a:gd name="T89" fmla="*/ 2636838 h 3665538"/>
              <a:gd name="T90" fmla="*/ 2771738 w 3816350"/>
              <a:gd name="T91" fmla="*/ 2448243 h 3665538"/>
              <a:gd name="T92" fmla="*/ 2989478 w 3816350"/>
              <a:gd name="T93" fmla="*/ 2307907 h 3665538"/>
              <a:gd name="T94" fmla="*/ 2867591 w 3816350"/>
              <a:gd name="T95" fmla="*/ 2234247 h 3665538"/>
              <a:gd name="T96" fmla="*/ 3696043 w 3816350"/>
              <a:gd name="T97" fmla="*/ 2367598 h 3665538"/>
              <a:gd name="T98" fmla="*/ 3314856 w 3816350"/>
              <a:gd name="T99" fmla="*/ 1892183 h 3665538"/>
              <a:gd name="T100" fmla="*/ 2974884 w 3816350"/>
              <a:gd name="T101" fmla="*/ 2068371 h 3665538"/>
              <a:gd name="T102" fmla="*/ 3799844 w 3816350"/>
              <a:gd name="T103" fmla="*/ 2062969 h 3665538"/>
              <a:gd name="T104" fmla="*/ 2637789 w 3816350"/>
              <a:gd name="T105" fmla="*/ 2027696 h 3665538"/>
              <a:gd name="T106" fmla="*/ 3189458 w 3816350"/>
              <a:gd name="T107" fmla="*/ 1697313 h 3665538"/>
              <a:gd name="T108" fmla="*/ 3015840 w 3816350"/>
              <a:gd name="T109" fmla="*/ 1948969 h 3665538"/>
              <a:gd name="T110" fmla="*/ 3354189 w 3816350"/>
              <a:gd name="T111" fmla="*/ 1860541 h 3665538"/>
              <a:gd name="T112" fmla="*/ 3468771 w 3816350"/>
              <a:gd name="T113" fmla="*/ 1695411 h 3665538"/>
              <a:gd name="T114" fmla="*/ 3173905 w 3816350"/>
              <a:gd name="T115" fmla="*/ 2035495 h 3665538"/>
              <a:gd name="T116" fmla="*/ 3074241 w 3816350"/>
              <a:gd name="T117" fmla="*/ 1681466 h 3665538"/>
              <a:gd name="T118" fmla="*/ 3386120 w 3816350"/>
              <a:gd name="T119" fmla="*/ 1131189 h 3665538"/>
              <a:gd name="T120" fmla="*/ 254975 w 3816350"/>
              <a:gd name="T121" fmla="*/ 2785759 h 3665538"/>
              <a:gd name="T122" fmla="*/ 1131353 w 3816350"/>
              <a:gd name="T123" fmla="*/ 1377803 h 3665538"/>
              <a:gd name="T124" fmla="*/ 2508155 w 3816350"/>
              <a:gd name="T125" fmla="*/ 314537 h 3665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816350" h="3665538">
                <a:moveTo>
                  <a:pt x="1892592" y="3532067"/>
                </a:moveTo>
                <a:lnTo>
                  <a:pt x="1892592" y="3635348"/>
                </a:lnTo>
                <a:lnTo>
                  <a:pt x="1913877" y="3636302"/>
                </a:lnTo>
                <a:lnTo>
                  <a:pt x="1935480" y="3636302"/>
                </a:lnTo>
                <a:lnTo>
                  <a:pt x="1965343" y="3635666"/>
                </a:lnTo>
                <a:lnTo>
                  <a:pt x="1965343" y="3532385"/>
                </a:lnTo>
                <a:lnTo>
                  <a:pt x="1935480" y="3532703"/>
                </a:lnTo>
                <a:lnTo>
                  <a:pt x="1913877" y="3532703"/>
                </a:lnTo>
                <a:lnTo>
                  <a:pt x="1892592" y="3532067"/>
                </a:lnTo>
                <a:close/>
                <a:moveTo>
                  <a:pt x="665284" y="3532067"/>
                </a:moveTo>
                <a:lnTo>
                  <a:pt x="665284" y="3635348"/>
                </a:lnTo>
                <a:lnTo>
                  <a:pt x="686575" y="3636302"/>
                </a:lnTo>
                <a:lnTo>
                  <a:pt x="708185" y="3636302"/>
                </a:lnTo>
                <a:lnTo>
                  <a:pt x="738374" y="3635666"/>
                </a:lnTo>
                <a:lnTo>
                  <a:pt x="738374" y="3532385"/>
                </a:lnTo>
                <a:lnTo>
                  <a:pt x="708185" y="3532703"/>
                </a:lnTo>
                <a:lnTo>
                  <a:pt x="686575" y="3532703"/>
                </a:lnTo>
                <a:lnTo>
                  <a:pt x="665284" y="3532067"/>
                </a:lnTo>
                <a:close/>
                <a:moveTo>
                  <a:pt x="1746773" y="3519356"/>
                </a:moveTo>
                <a:lnTo>
                  <a:pt x="1746773" y="3623272"/>
                </a:lnTo>
                <a:lnTo>
                  <a:pt x="1764563" y="3625497"/>
                </a:lnTo>
                <a:lnTo>
                  <a:pt x="1782671" y="3628039"/>
                </a:lnTo>
                <a:lnTo>
                  <a:pt x="1800780" y="3629628"/>
                </a:lnTo>
                <a:lnTo>
                  <a:pt x="1819841" y="3631535"/>
                </a:lnTo>
                <a:lnTo>
                  <a:pt x="1819841" y="3527618"/>
                </a:lnTo>
                <a:lnTo>
                  <a:pt x="1800780" y="3526029"/>
                </a:lnTo>
                <a:lnTo>
                  <a:pt x="1782671" y="3524123"/>
                </a:lnTo>
                <a:lnTo>
                  <a:pt x="1764563" y="3521580"/>
                </a:lnTo>
                <a:lnTo>
                  <a:pt x="1746773" y="3519356"/>
                </a:lnTo>
                <a:close/>
                <a:moveTo>
                  <a:pt x="519421" y="3519356"/>
                </a:moveTo>
                <a:lnTo>
                  <a:pt x="519421" y="3623272"/>
                </a:lnTo>
                <a:lnTo>
                  <a:pt x="537217" y="3625497"/>
                </a:lnTo>
                <a:lnTo>
                  <a:pt x="555330" y="3628039"/>
                </a:lnTo>
                <a:lnTo>
                  <a:pt x="573762" y="3629946"/>
                </a:lnTo>
                <a:lnTo>
                  <a:pt x="592511" y="3631535"/>
                </a:lnTo>
                <a:lnTo>
                  <a:pt x="592511" y="3527618"/>
                </a:lnTo>
                <a:lnTo>
                  <a:pt x="573762" y="3526029"/>
                </a:lnTo>
                <a:lnTo>
                  <a:pt x="555330" y="3524123"/>
                </a:lnTo>
                <a:lnTo>
                  <a:pt x="537217" y="3521580"/>
                </a:lnTo>
                <a:lnTo>
                  <a:pt x="519421" y="3519356"/>
                </a:lnTo>
                <a:close/>
                <a:moveTo>
                  <a:pt x="3151360" y="3517220"/>
                </a:moveTo>
                <a:lnTo>
                  <a:pt x="3151360" y="3632118"/>
                </a:lnTo>
                <a:lnTo>
                  <a:pt x="3174848" y="3632755"/>
                </a:lnTo>
                <a:lnTo>
                  <a:pt x="3198972" y="3633073"/>
                </a:lnTo>
                <a:lnTo>
                  <a:pt x="3231983" y="3632755"/>
                </a:lnTo>
                <a:lnTo>
                  <a:pt x="3231983" y="3517539"/>
                </a:lnTo>
                <a:lnTo>
                  <a:pt x="3198972" y="3517857"/>
                </a:lnTo>
                <a:lnTo>
                  <a:pt x="3174848" y="3517539"/>
                </a:lnTo>
                <a:lnTo>
                  <a:pt x="3151360" y="3517220"/>
                </a:lnTo>
                <a:close/>
                <a:moveTo>
                  <a:pt x="2989478" y="3502580"/>
                </a:moveTo>
                <a:lnTo>
                  <a:pt x="2989478" y="3618432"/>
                </a:lnTo>
                <a:lnTo>
                  <a:pt x="3009158" y="3620979"/>
                </a:lnTo>
                <a:lnTo>
                  <a:pt x="3029472" y="3623525"/>
                </a:lnTo>
                <a:lnTo>
                  <a:pt x="3049469" y="3625753"/>
                </a:lnTo>
                <a:lnTo>
                  <a:pt x="3070419" y="3627344"/>
                </a:lnTo>
                <a:lnTo>
                  <a:pt x="3070419" y="3512446"/>
                </a:lnTo>
                <a:lnTo>
                  <a:pt x="3049469" y="3510537"/>
                </a:lnTo>
                <a:lnTo>
                  <a:pt x="3029472" y="3507990"/>
                </a:lnTo>
                <a:lnTo>
                  <a:pt x="3009158" y="3505763"/>
                </a:lnTo>
                <a:lnTo>
                  <a:pt x="2989478" y="3502580"/>
                </a:lnTo>
                <a:close/>
                <a:moveTo>
                  <a:pt x="1600953" y="3486306"/>
                </a:moveTo>
                <a:lnTo>
                  <a:pt x="1600953" y="3591494"/>
                </a:lnTo>
                <a:lnTo>
                  <a:pt x="1618744" y="3596578"/>
                </a:lnTo>
                <a:lnTo>
                  <a:pt x="1636217" y="3601345"/>
                </a:lnTo>
                <a:lnTo>
                  <a:pt x="1654960" y="3606112"/>
                </a:lnTo>
                <a:lnTo>
                  <a:pt x="1673704" y="3610243"/>
                </a:lnTo>
                <a:lnTo>
                  <a:pt x="1673704" y="3506009"/>
                </a:lnTo>
                <a:lnTo>
                  <a:pt x="1654960" y="3501242"/>
                </a:lnTo>
                <a:lnTo>
                  <a:pt x="1636217" y="3496475"/>
                </a:lnTo>
                <a:lnTo>
                  <a:pt x="1618108" y="3491708"/>
                </a:lnTo>
                <a:lnTo>
                  <a:pt x="1600953" y="3486306"/>
                </a:lnTo>
                <a:close/>
                <a:moveTo>
                  <a:pt x="373875" y="3486306"/>
                </a:moveTo>
                <a:lnTo>
                  <a:pt x="373875" y="3591494"/>
                </a:lnTo>
                <a:lnTo>
                  <a:pt x="391353" y="3596578"/>
                </a:lnTo>
                <a:lnTo>
                  <a:pt x="409149" y="3601345"/>
                </a:lnTo>
                <a:lnTo>
                  <a:pt x="427581" y="3606112"/>
                </a:lnTo>
                <a:lnTo>
                  <a:pt x="446648" y="3610243"/>
                </a:lnTo>
                <a:lnTo>
                  <a:pt x="446648" y="3506009"/>
                </a:lnTo>
                <a:lnTo>
                  <a:pt x="427581" y="3501242"/>
                </a:lnTo>
                <a:lnTo>
                  <a:pt x="409149" y="3496475"/>
                </a:lnTo>
                <a:lnTo>
                  <a:pt x="390718" y="3491708"/>
                </a:lnTo>
                <a:lnTo>
                  <a:pt x="373875" y="3486306"/>
                </a:lnTo>
                <a:close/>
                <a:moveTo>
                  <a:pt x="2827597" y="3465978"/>
                </a:moveTo>
                <a:lnTo>
                  <a:pt x="2827597" y="3583104"/>
                </a:lnTo>
                <a:lnTo>
                  <a:pt x="2846959" y="3589151"/>
                </a:lnTo>
                <a:lnTo>
                  <a:pt x="2866956" y="3594243"/>
                </a:lnTo>
                <a:lnTo>
                  <a:pt x="2887588" y="3599336"/>
                </a:lnTo>
                <a:lnTo>
                  <a:pt x="2908220" y="3604110"/>
                </a:lnTo>
                <a:lnTo>
                  <a:pt x="2908220" y="3487939"/>
                </a:lnTo>
                <a:lnTo>
                  <a:pt x="2887588" y="3482847"/>
                </a:lnTo>
                <a:lnTo>
                  <a:pt x="2866956" y="3477436"/>
                </a:lnTo>
                <a:lnTo>
                  <a:pt x="2846959" y="3472025"/>
                </a:lnTo>
                <a:lnTo>
                  <a:pt x="2827597" y="3465978"/>
                </a:lnTo>
                <a:close/>
                <a:moveTo>
                  <a:pt x="2402802" y="3447218"/>
                </a:moveTo>
                <a:lnTo>
                  <a:pt x="2397719" y="3450714"/>
                </a:lnTo>
                <a:lnTo>
                  <a:pt x="2391365" y="3453891"/>
                </a:lnTo>
                <a:lnTo>
                  <a:pt x="2383740" y="3457387"/>
                </a:lnTo>
                <a:lnTo>
                  <a:pt x="2376433" y="3460565"/>
                </a:lnTo>
                <a:lnTo>
                  <a:pt x="2347841" y="3472005"/>
                </a:lnTo>
                <a:lnTo>
                  <a:pt x="2347841" y="3562893"/>
                </a:lnTo>
                <a:lnTo>
                  <a:pt x="2355784" y="3558761"/>
                </a:lnTo>
                <a:lnTo>
                  <a:pt x="2363408" y="3554630"/>
                </a:lnTo>
                <a:lnTo>
                  <a:pt x="2371033" y="3550181"/>
                </a:lnTo>
                <a:lnTo>
                  <a:pt x="2378340" y="3545414"/>
                </a:lnTo>
                <a:lnTo>
                  <a:pt x="2385329" y="3540648"/>
                </a:lnTo>
                <a:lnTo>
                  <a:pt x="2391683" y="3535881"/>
                </a:lnTo>
                <a:lnTo>
                  <a:pt x="2397719" y="3531114"/>
                </a:lnTo>
                <a:lnTo>
                  <a:pt x="2402802" y="3526983"/>
                </a:lnTo>
                <a:lnTo>
                  <a:pt x="2402802" y="3447218"/>
                </a:lnTo>
                <a:close/>
                <a:moveTo>
                  <a:pt x="1175646" y="3447218"/>
                </a:moveTo>
                <a:lnTo>
                  <a:pt x="1170561" y="3450714"/>
                </a:lnTo>
                <a:lnTo>
                  <a:pt x="1164205" y="3453891"/>
                </a:lnTo>
                <a:lnTo>
                  <a:pt x="1156578" y="3457387"/>
                </a:lnTo>
                <a:lnTo>
                  <a:pt x="1149269" y="3460565"/>
                </a:lnTo>
                <a:lnTo>
                  <a:pt x="1120669" y="3472005"/>
                </a:lnTo>
                <a:lnTo>
                  <a:pt x="1120669" y="3562893"/>
                </a:lnTo>
                <a:lnTo>
                  <a:pt x="1128613" y="3558761"/>
                </a:lnTo>
                <a:lnTo>
                  <a:pt x="1136240" y="3554630"/>
                </a:lnTo>
                <a:lnTo>
                  <a:pt x="1144185" y="3550181"/>
                </a:lnTo>
                <a:lnTo>
                  <a:pt x="1151176" y="3545414"/>
                </a:lnTo>
                <a:lnTo>
                  <a:pt x="1158167" y="3540648"/>
                </a:lnTo>
                <a:lnTo>
                  <a:pt x="1164523" y="3535881"/>
                </a:lnTo>
                <a:lnTo>
                  <a:pt x="1170561" y="3531114"/>
                </a:lnTo>
                <a:lnTo>
                  <a:pt x="1175646" y="3526347"/>
                </a:lnTo>
                <a:lnTo>
                  <a:pt x="1175646" y="3447218"/>
                </a:lnTo>
                <a:close/>
                <a:moveTo>
                  <a:pt x="3717945" y="3422692"/>
                </a:moveTo>
                <a:lnTo>
                  <a:pt x="3711914" y="3426193"/>
                </a:lnTo>
                <a:lnTo>
                  <a:pt x="3704931" y="3430013"/>
                </a:lnTo>
                <a:lnTo>
                  <a:pt x="3696678" y="3433832"/>
                </a:lnTo>
                <a:lnTo>
                  <a:pt x="3688425" y="3437651"/>
                </a:lnTo>
                <a:lnTo>
                  <a:pt x="3671285" y="3444335"/>
                </a:lnTo>
                <a:lnTo>
                  <a:pt x="3656684" y="3450064"/>
                </a:lnTo>
                <a:lnTo>
                  <a:pt x="3656684" y="3551276"/>
                </a:lnTo>
                <a:lnTo>
                  <a:pt x="3665254" y="3546820"/>
                </a:lnTo>
                <a:lnTo>
                  <a:pt x="3674142" y="3542046"/>
                </a:lnTo>
                <a:lnTo>
                  <a:pt x="3682394" y="3537272"/>
                </a:lnTo>
                <a:lnTo>
                  <a:pt x="3690647" y="3532179"/>
                </a:lnTo>
                <a:lnTo>
                  <a:pt x="3698582" y="3526769"/>
                </a:lnTo>
                <a:lnTo>
                  <a:pt x="3705566" y="3521358"/>
                </a:lnTo>
                <a:lnTo>
                  <a:pt x="3711914" y="3515947"/>
                </a:lnTo>
                <a:lnTo>
                  <a:pt x="3717945" y="3510855"/>
                </a:lnTo>
                <a:lnTo>
                  <a:pt x="3717945" y="3422692"/>
                </a:lnTo>
                <a:close/>
                <a:moveTo>
                  <a:pt x="1455133" y="3410672"/>
                </a:moveTo>
                <a:lnTo>
                  <a:pt x="1455133" y="3516813"/>
                </a:lnTo>
                <a:lnTo>
                  <a:pt x="1457675" y="3519674"/>
                </a:lnTo>
                <a:lnTo>
                  <a:pt x="1460216" y="3522534"/>
                </a:lnTo>
                <a:lnTo>
                  <a:pt x="1466888" y="3528572"/>
                </a:lnTo>
                <a:lnTo>
                  <a:pt x="1475466" y="3534610"/>
                </a:lnTo>
                <a:lnTo>
                  <a:pt x="1484679" y="3540965"/>
                </a:lnTo>
                <a:lnTo>
                  <a:pt x="1495162" y="3547639"/>
                </a:lnTo>
                <a:lnTo>
                  <a:pt x="1505964" y="3553677"/>
                </a:lnTo>
                <a:lnTo>
                  <a:pt x="1517083" y="3559715"/>
                </a:lnTo>
                <a:lnTo>
                  <a:pt x="1528202" y="3564799"/>
                </a:lnTo>
                <a:lnTo>
                  <a:pt x="1528202" y="3457387"/>
                </a:lnTo>
                <a:lnTo>
                  <a:pt x="1517083" y="3452302"/>
                </a:lnTo>
                <a:lnTo>
                  <a:pt x="1506917" y="3446582"/>
                </a:lnTo>
                <a:lnTo>
                  <a:pt x="1497068" y="3441180"/>
                </a:lnTo>
                <a:lnTo>
                  <a:pt x="1487538" y="3435142"/>
                </a:lnTo>
                <a:lnTo>
                  <a:pt x="1478960" y="3429422"/>
                </a:lnTo>
                <a:lnTo>
                  <a:pt x="1470700" y="3423384"/>
                </a:lnTo>
                <a:lnTo>
                  <a:pt x="1462758" y="3417028"/>
                </a:lnTo>
                <a:lnTo>
                  <a:pt x="1455133" y="3410672"/>
                </a:lnTo>
                <a:close/>
                <a:moveTo>
                  <a:pt x="227694" y="3410672"/>
                </a:moveTo>
                <a:lnTo>
                  <a:pt x="227694" y="3516813"/>
                </a:lnTo>
                <a:lnTo>
                  <a:pt x="230237" y="3519674"/>
                </a:lnTo>
                <a:lnTo>
                  <a:pt x="233097" y="3522534"/>
                </a:lnTo>
                <a:lnTo>
                  <a:pt x="239770" y="3528572"/>
                </a:lnTo>
                <a:lnTo>
                  <a:pt x="248033" y="3534610"/>
                </a:lnTo>
                <a:lnTo>
                  <a:pt x="257566" y="3540965"/>
                </a:lnTo>
                <a:lnTo>
                  <a:pt x="267735" y="3547639"/>
                </a:lnTo>
                <a:lnTo>
                  <a:pt x="278858" y="3553677"/>
                </a:lnTo>
                <a:lnTo>
                  <a:pt x="289662" y="3559715"/>
                </a:lnTo>
                <a:lnTo>
                  <a:pt x="300785" y="3564799"/>
                </a:lnTo>
                <a:lnTo>
                  <a:pt x="300785" y="3457387"/>
                </a:lnTo>
                <a:lnTo>
                  <a:pt x="289662" y="3452302"/>
                </a:lnTo>
                <a:lnTo>
                  <a:pt x="279493" y="3446582"/>
                </a:lnTo>
                <a:lnTo>
                  <a:pt x="269642" y="3441180"/>
                </a:lnTo>
                <a:lnTo>
                  <a:pt x="260108" y="3435142"/>
                </a:lnTo>
                <a:lnTo>
                  <a:pt x="251528" y="3429422"/>
                </a:lnTo>
                <a:lnTo>
                  <a:pt x="243266" y="3423384"/>
                </a:lnTo>
                <a:lnTo>
                  <a:pt x="235321" y="3417028"/>
                </a:lnTo>
                <a:lnTo>
                  <a:pt x="227694" y="3410672"/>
                </a:lnTo>
                <a:close/>
                <a:moveTo>
                  <a:pt x="2665715" y="3381953"/>
                </a:moveTo>
                <a:lnTo>
                  <a:pt x="2665715" y="3500670"/>
                </a:lnTo>
                <a:lnTo>
                  <a:pt x="2668254" y="3503216"/>
                </a:lnTo>
                <a:lnTo>
                  <a:pt x="2671429" y="3506399"/>
                </a:lnTo>
                <a:lnTo>
                  <a:pt x="2678729" y="3512765"/>
                </a:lnTo>
                <a:lnTo>
                  <a:pt x="2687934" y="3519767"/>
                </a:lnTo>
                <a:lnTo>
                  <a:pt x="2698726" y="3527087"/>
                </a:lnTo>
                <a:lnTo>
                  <a:pt x="2710153" y="3534089"/>
                </a:lnTo>
                <a:lnTo>
                  <a:pt x="2722215" y="3541409"/>
                </a:lnTo>
                <a:lnTo>
                  <a:pt x="2734594" y="3547457"/>
                </a:lnTo>
                <a:lnTo>
                  <a:pt x="2746656" y="3553504"/>
                </a:lnTo>
                <a:lnTo>
                  <a:pt x="2746656" y="3434150"/>
                </a:lnTo>
                <a:lnTo>
                  <a:pt x="2734594" y="3428103"/>
                </a:lnTo>
                <a:lnTo>
                  <a:pt x="2723167" y="3422374"/>
                </a:lnTo>
                <a:lnTo>
                  <a:pt x="2712058" y="3416009"/>
                </a:lnTo>
                <a:lnTo>
                  <a:pt x="2701583" y="3409325"/>
                </a:lnTo>
                <a:lnTo>
                  <a:pt x="2691743" y="3402959"/>
                </a:lnTo>
                <a:lnTo>
                  <a:pt x="2682538" y="3396276"/>
                </a:lnTo>
                <a:lnTo>
                  <a:pt x="2673650" y="3388955"/>
                </a:lnTo>
                <a:lnTo>
                  <a:pt x="2665715" y="3381953"/>
                </a:lnTo>
                <a:close/>
                <a:moveTo>
                  <a:pt x="1916773" y="3320218"/>
                </a:moveTo>
                <a:lnTo>
                  <a:pt x="1916773" y="3423312"/>
                </a:lnTo>
                <a:lnTo>
                  <a:pt x="1938033" y="3423629"/>
                </a:lnTo>
                <a:lnTo>
                  <a:pt x="1959928" y="3424263"/>
                </a:lnTo>
                <a:lnTo>
                  <a:pt x="1989755" y="3423629"/>
                </a:lnTo>
                <a:lnTo>
                  <a:pt x="1989755" y="3320535"/>
                </a:lnTo>
                <a:lnTo>
                  <a:pt x="1959293" y="3320852"/>
                </a:lnTo>
                <a:lnTo>
                  <a:pt x="1938033" y="3320852"/>
                </a:lnTo>
                <a:lnTo>
                  <a:pt x="1916773" y="3320218"/>
                </a:lnTo>
                <a:close/>
                <a:moveTo>
                  <a:pt x="1404938" y="3314700"/>
                </a:moveTo>
                <a:lnTo>
                  <a:pt x="1408115" y="3320420"/>
                </a:lnTo>
                <a:lnTo>
                  <a:pt x="1411928" y="3325505"/>
                </a:lnTo>
                <a:lnTo>
                  <a:pt x="1415740" y="3330590"/>
                </a:lnTo>
                <a:lnTo>
                  <a:pt x="1419552" y="3335992"/>
                </a:lnTo>
                <a:lnTo>
                  <a:pt x="1424000" y="3340759"/>
                </a:lnTo>
                <a:lnTo>
                  <a:pt x="1428447" y="3346161"/>
                </a:lnTo>
                <a:lnTo>
                  <a:pt x="1438296" y="3356013"/>
                </a:lnTo>
                <a:lnTo>
                  <a:pt x="1448780" y="3365229"/>
                </a:lnTo>
                <a:lnTo>
                  <a:pt x="1460852" y="3374444"/>
                </a:lnTo>
                <a:lnTo>
                  <a:pt x="1472924" y="3383025"/>
                </a:lnTo>
                <a:lnTo>
                  <a:pt x="1486267" y="3391287"/>
                </a:lnTo>
                <a:lnTo>
                  <a:pt x="1500563" y="3399550"/>
                </a:lnTo>
                <a:lnTo>
                  <a:pt x="1515494" y="3407494"/>
                </a:lnTo>
                <a:lnTo>
                  <a:pt x="1531061" y="3415121"/>
                </a:lnTo>
                <a:lnTo>
                  <a:pt x="1547263" y="3422113"/>
                </a:lnTo>
                <a:lnTo>
                  <a:pt x="1564101" y="3428786"/>
                </a:lnTo>
                <a:lnTo>
                  <a:pt x="1581574" y="3435142"/>
                </a:lnTo>
                <a:lnTo>
                  <a:pt x="1599682" y="3441498"/>
                </a:lnTo>
                <a:lnTo>
                  <a:pt x="1618108" y="3447218"/>
                </a:lnTo>
                <a:lnTo>
                  <a:pt x="1637170" y="3452620"/>
                </a:lnTo>
                <a:lnTo>
                  <a:pt x="1656866" y="3457705"/>
                </a:lnTo>
                <a:lnTo>
                  <a:pt x="1676881" y="3462472"/>
                </a:lnTo>
                <a:lnTo>
                  <a:pt x="1697213" y="3466921"/>
                </a:lnTo>
                <a:lnTo>
                  <a:pt x="1718180" y="3471052"/>
                </a:lnTo>
                <a:lnTo>
                  <a:pt x="1738830" y="3474865"/>
                </a:lnTo>
                <a:lnTo>
                  <a:pt x="1760116" y="3478361"/>
                </a:lnTo>
                <a:lnTo>
                  <a:pt x="1782036" y="3480903"/>
                </a:lnTo>
                <a:lnTo>
                  <a:pt x="1803639" y="3483763"/>
                </a:lnTo>
                <a:lnTo>
                  <a:pt x="1825877" y="3486306"/>
                </a:lnTo>
                <a:lnTo>
                  <a:pt x="1847798" y="3488213"/>
                </a:lnTo>
                <a:lnTo>
                  <a:pt x="1870036" y="3489801"/>
                </a:lnTo>
                <a:lnTo>
                  <a:pt x="1891957" y="3490755"/>
                </a:lnTo>
                <a:lnTo>
                  <a:pt x="1914513" y="3492026"/>
                </a:lnTo>
                <a:lnTo>
                  <a:pt x="1936751" y="3492344"/>
                </a:lnTo>
                <a:lnTo>
                  <a:pt x="1959307" y="3492979"/>
                </a:lnTo>
                <a:lnTo>
                  <a:pt x="1978051" y="3492344"/>
                </a:lnTo>
                <a:lnTo>
                  <a:pt x="1996794" y="3492026"/>
                </a:lnTo>
                <a:lnTo>
                  <a:pt x="2015538" y="3491708"/>
                </a:lnTo>
                <a:lnTo>
                  <a:pt x="2034599" y="3490437"/>
                </a:lnTo>
                <a:lnTo>
                  <a:pt x="2053025" y="3489801"/>
                </a:lnTo>
                <a:lnTo>
                  <a:pt x="2071769" y="3488213"/>
                </a:lnTo>
                <a:lnTo>
                  <a:pt x="2090513" y="3486624"/>
                </a:lnTo>
                <a:lnTo>
                  <a:pt x="2108621" y="3484717"/>
                </a:lnTo>
                <a:lnTo>
                  <a:pt x="2127365" y="3482492"/>
                </a:lnTo>
                <a:lnTo>
                  <a:pt x="2145473" y="3480268"/>
                </a:lnTo>
                <a:lnTo>
                  <a:pt x="2163581" y="3477408"/>
                </a:lnTo>
                <a:lnTo>
                  <a:pt x="2181372" y="3474865"/>
                </a:lnTo>
                <a:lnTo>
                  <a:pt x="2199163" y="3471688"/>
                </a:lnTo>
                <a:lnTo>
                  <a:pt x="2216318" y="3468510"/>
                </a:lnTo>
                <a:lnTo>
                  <a:pt x="2233473" y="3464696"/>
                </a:lnTo>
                <a:lnTo>
                  <a:pt x="2250311" y="3460883"/>
                </a:lnTo>
                <a:lnTo>
                  <a:pt x="2266830" y="3457069"/>
                </a:lnTo>
                <a:lnTo>
                  <a:pt x="2283668" y="3452620"/>
                </a:lnTo>
                <a:lnTo>
                  <a:pt x="2299235" y="3448171"/>
                </a:lnTo>
                <a:lnTo>
                  <a:pt x="2315119" y="3443404"/>
                </a:lnTo>
                <a:lnTo>
                  <a:pt x="2330051" y="3438320"/>
                </a:lnTo>
                <a:lnTo>
                  <a:pt x="2344982" y="3432917"/>
                </a:lnTo>
                <a:lnTo>
                  <a:pt x="2359278" y="3427833"/>
                </a:lnTo>
                <a:lnTo>
                  <a:pt x="2373574" y="3421795"/>
                </a:lnTo>
                <a:lnTo>
                  <a:pt x="2386917" y="3415757"/>
                </a:lnTo>
                <a:lnTo>
                  <a:pt x="2399942" y="3409719"/>
                </a:lnTo>
                <a:lnTo>
                  <a:pt x="2412650" y="3403363"/>
                </a:lnTo>
                <a:lnTo>
                  <a:pt x="2424722" y="3396690"/>
                </a:lnTo>
                <a:lnTo>
                  <a:pt x="2436159" y="3389380"/>
                </a:lnTo>
                <a:lnTo>
                  <a:pt x="2446961" y="3382389"/>
                </a:lnTo>
                <a:lnTo>
                  <a:pt x="2457444" y="3375080"/>
                </a:lnTo>
                <a:lnTo>
                  <a:pt x="2466975" y="3367453"/>
                </a:lnTo>
                <a:lnTo>
                  <a:pt x="2466975" y="3464378"/>
                </a:lnTo>
                <a:lnTo>
                  <a:pt x="2466657" y="3464696"/>
                </a:lnTo>
                <a:lnTo>
                  <a:pt x="2466340" y="3472641"/>
                </a:lnTo>
                <a:lnTo>
                  <a:pt x="2466022" y="3477408"/>
                </a:lnTo>
                <a:lnTo>
                  <a:pt x="2464751" y="3482492"/>
                </a:lnTo>
                <a:lnTo>
                  <a:pt x="2463480" y="3487895"/>
                </a:lnTo>
                <a:lnTo>
                  <a:pt x="2461892" y="3492344"/>
                </a:lnTo>
                <a:lnTo>
                  <a:pt x="2459986" y="3497111"/>
                </a:lnTo>
                <a:lnTo>
                  <a:pt x="2457444" y="3501877"/>
                </a:lnTo>
                <a:lnTo>
                  <a:pt x="2455220" y="3506962"/>
                </a:lnTo>
                <a:lnTo>
                  <a:pt x="2452361" y="3511729"/>
                </a:lnTo>
                <a:lnTo>
                  <a:pt x="2449184" y="3516178"/>
                </a:lnTo>
                <a:lnTo>
                  <a:pt x="2445690" y="3520945"/>
                </a:lnTo>
                <a:lnTo>
                  <a:pt x="2441878" y="3525712"/>
                </a:lnTo>
                <a:lnTo>
                  <a:pt x="2437748" y="3529843"/>
                </a:lnTo>
                <a:lnTo>
                  <a:pt x="2429170" y="3539059"/>
                </a:lnTo>
                <a:lnTo>
                  <a:pt x="2419322" y="3547639"/>
                </a:lnTo>
                <a:lnTo>
                  <a:pt x="2408202" y="3556537"/>
                </a:lnTo>
                <a:lnTo>
                  <a:pt x="2396130" y="3564799"/>
                </a:lnTo>
                <a:lnTo>
                  <a:pt x="2383423" y="3572744"/>
                </a:lnTo>
                <a:lnTo>
                  <a:pt x="2369127" y="3580689"/>
                </a:lnTo>
                <a:lnTo>
                  <a:pt x="2354195" y="3587998"/>
                </a:lnTo>
                <a:lnTo>
                  <a:pt x="2338311" y="3595625"/>
                </a:lnTo>
                <a:lnTo>
                  <a:pt x="2321791" y="3602298"/>
                </a:lnTo>
                <a:lnTo>
                  <a:pt x="2304636" y="3608972"/>
                </a:lnTo>
                <a:lnTo>
                  <a:pt x="2285892" y="3615328"/>
                </a:lnTo>
                <a:lnTo>
                  <a:pt x="2266830" y="3621683"/>
                </a:lnTo>
                <a:lnTo>
                  <a:pt x="2247134" y="3627086"/>
                </a:lnTo>
                <a:lnTo>
                  <a:pt x="2226802" y="3632806"/>
                </a:lnTo>
                <a:lnTo>
                  <a:pt x="2205516" y="3637255"/>
                </a:lnTo>
                <a:lnTo>
                  <a:pt x="2183278" y="3642022"/>
                </a:lnTo>
                <a:lnTo>
                  <a:pt x="2160722" y="3646471"/>
                </a:lnTo>
                <a:lnTo>
                  <a:pt x="2137848" y="3649967"/>
                </a:lnTo>
                <a:lnTo>
                  <a:pt x="2114340" y="3653462"/>
                </a:lnTo>
                <a:lnTo>
                  <a:pt x="2089877" y="3656640"/>
                </a:lnTo>
                <a:lnTo>
                  <a:pt x="2065415" y="3659182"/>
                </a:lnTo>
                <a:lnTo>
                  <a:pt x="2040000" y="3661407"/>
                </a:lnTo>
                <a:lnTo>
                  <a:pt x="2014267" y="3662996"/>
                </a:lnTo>
                <a:lnTo>
                  <a:pt x="1988217" y="3664267"/>
                </a:lnTo>
                <a:lnTo>
                  <a:pt x="1962166" y="3664903"/>
                </a:lnTo>
                <a:lnTo>
                  <a:pt x="1935480" y="3665538"/>
                </a:lnTo>
                <a:lnTo>
                  <a:pt x="1908159" y="3664903"/>
                </a:lnTo>
                <a:lnTo>
                  <a:pt x="1881155" y="3664267"/>
                </a:lnTo>
                <a:lnTo>
                  <a:pt x="1854469" y="3662996"/>
                </a:lnTo>
                <a:lnTo>
                  <a:pt x="1828419" y="3661089"/>
                </a:lnTo>
                <a:lnTo>
                  <a:pt x="1803004" y="3659182"/>
                </a:lnTo>
                <a:lnTo>
                  <a:pt x="1777588" y="3656322"/>
                </a:lnTo>
                <a:lnTo>
                  <a:pt x="1752809" y="3653145"/>
                </a:lnTo>
                <a:lnTo>
                  <a:pt x="1728664" y="3649649"/>
                </a:lnTo>
                <a:lnTo>
                  <a:pt x="1705155" y="3645835"/>
                </a:lnTo>
                <a:lnTo>
                  <a:pt x="1682282" y="3641069"/>
                </a:lnTo>
                <a:lnTo>
                  <a:pt x="1660043" y="3636302"/>
                </a:lnTo>
                <a:lnTo>
                  <a:pt x="1638440" y="3631217"/>
                </a:lnTo>
                <a:lnTo>
                  <a:pt x="1617791" y="3625497"/>
                </a:lnTo>
                <a:lnTo>
                  <a:pt x="1597776" y="3619777"/>
                </a:lnTo>
                <a:lnTo>
                  <a:pt x="1578397" y="3613421"/>
                </a:lnTo>
                <a:lnTo>
                  <a:pt x="1559653" y="3606747"/>
                </a:lnTo>
                <a:lnTo>
                  <a:pt x="1542498" y="3599438"/>
                </a:lnTo>
                <a:lnTo>
                  <a:pt x="1525343" y="3592447"/>
                </a:lnTo>
                <a:lnTo>
                  <a:pt x="1509776" y="3584820"/>
                </a:lnTo>
                <a:lnTo>
                  <a:pt x="1495162" y="3576875"/>
                </a:lnTo>
                <a:lnTo>
                  <a:pt x="1481184" y="3568613"/>
                </a:lnTo>
                <a:lnTo>
                  <a:pt x="1468159" y="3560350"/>
                </a:lnTo>
                <a:lnTo>
                  <a:pt x="1456404" y="3551770"/>
                </a:lnTo>
                <a:lnTo>
                  <a:pt x="1445603" y="3542554"/>
                </a:lnTo>
                <a:lnTo>
                  <a:pt x="1440837" y="3538423"/>
                </a:lnTo>
                <a:lnTo>
                  <a:pt x="1436390" y="3533656"/>
                </a:lnTo>
                <a:lnTo>
                  <a:pt x="1431942" y="3529207"/>
                </a:lnTo>
                <a:lnTo>
                  <a:pt x="1428130" y="3524440"/>
                </a:lnTo>
                <a:lnTo>
                  <a:pt x="1424318" y="3519674"/>
                </a:lnTo>
                <a:lnTo>
                  <a:pt x="1420823" y="3514907"/>
                </a:lnTo>
                <a:lnTo>
                  <a:pt x="1417646" y="3510140"/>
                </a:lnTo>
                <a:lnTo>
                  <a:pt x="1415105" y="3505055"/>
                </a:lnTo>
                <a:lnTo>
                  <a:pt x="1412563" y="3500288"/>
                </a:lnTo>
                <a:lnTo>
                  <a:pt x="1410339" y="3495204"/>
                </a:lnTo>
                <a:lnTo>
                  <a:pt x="1408115" y="3490437"/>
                </a:lnTo>
                <a:lnTo>
                  <a:pt x="1407162" y="3485352"/>
                </a:lnTo>
                <a:lnTo>
                  <a:pt x="1405892" y="3480268"/>
                </a:lnTo>
                <a:lnTo>
                  <a:pt x="1404621" y="3475183"/>
                </a:lnTo>
                <a:lnTo>
                  <a:pt x="1404303" y="3470099"/>
                </a:lnTo>
                <a:lnTo>
                  <a:pt x="1404303" y="3464696"/>
                </a:lnTo>
                <a:lnTo>
                  <a:pt x="1403350" y="3464696"/>
                </a:lnTo>
                <a:lnTo>
                  <a:pt x="1403350" y="3333132"/>
                </a:lnTo>
                <a:lnTo>
                  <a:pt x="1403350" y="3329318"/>
                </a:lnTo>
                <a:lnTo>
                  <a:pt x="1403985" y="3322327"/>
                </a:lnTo>
                <a:lnTo>
                  <a:pt x="1404938" y="3314700"/>
                </a:lnTo>
                <a:close/>
                <a:moveTo>
                  <a:pt x="177802" y="3314700"/>
                </a:moveTo>
                <a:lnTo>
                  <a:pt x="180980" y="3320420"/>
                </a:lnTo>
                <a:lnTo>
                  <a:pt x="184476" y="3325505"/>
                </a:lnTo>
                <a:lnTo>
                  <a:pt x="188289" y="3330590"/>
                </a:lnTo>
                <a:lnTo>
                  <a:pt x="192420" y="3335992"/>
                </a:lnTo>
                <a:lnTo>
                  <a:pt x="196551" y="3340759"/>
                </a:lnTo>
                <a:lnTo>
                  <a:pt x="201000" y="3346161"/>
                </a:lnTo>
                <a:lnTo>
                  <a:pt x="210852" y="3356013"/>
                </a:lnTo>
                <a:lnTo>
                  <a:pt x="221656" y="3365229"/>
                </a:lnTo>
                <a:lnTo>
                  <a:pt x="233414" y="3374444"/>
                </a:lnTo>
                <a:lnTo>
                  <a:pt x="245490" y="3383025"/>
                </a:lnTo>
                <a:lnTo>
                  <a:pt x="259155" y="3391287"/>
                </a:lnTo>
                <a:lnTo>
                  <a:pt x="273138" y="3399550"/>
                </a:lnTo>
                <a:lnTo>
                  <a:pt x="288073" y="3407494"/>
                </a:lnTo>
                <a:lnTo>
                  <a:pt x="303645" y="3415121"/>
                </a:lnTo>
                <a:lnTo>
                  <a:pt x="319852" y="3422113"/>
                </a:lnTo>
                <a:lnTo>
                  <a:pt x="336694" y="3428786"/>
                </a:lnTo>
                <a:lnTo>
                  <a:pt x="354173" y="3435142"/>
                </a:lnTo>
                <a:lnTo>
                  <a:pt x="372286" y="3441498"/>
                </a:lnTo>
                <a:lnTo>
                  <a:pt x="390718" y="3447218"/>
                </a:lnTo>
                <a:lnTo>
                  <a:pt x="409785" y="3452620"/>
                </a:lnTo>
                <a:lnTo>
                  <a:pt x="429488" y="3457705"/>
                </a:lnTo>
                <a:lnTo>
                  <a:pt x="449826" y="3462472"/>
                </a:lnTo>
                <a:lnTo>
                  <a:pt x="469846" y="3466921"/>
                </a:lnTo>
                <a:lnTo>
                  <a:pt x="490820" y="3471052"/>
                </a:lnTo>
                <a:lnTo>
                  <a:pt x="511794" y="3474865"/>
                </a:lnTo>
                <a:lnTo>
                  <a:pt x="533085" y="3478361"/>
                </a:lnTo>
                <a:lnTo>
                  <a:pt x="554695" y="3480903"/>
                </a:lnTo>
                <a:lnTo>
                  <a:pt x="576304" y="3483763"/>
                </a:lnTo>
                <a:lnTo>
                  <a:pt x="598549" y="3486306"/>
                </a:lnTo>
                <a:lnTo>
                  <a:pt x="620476" y="3488213"/>
                </a:lnTo>
                <a:lnTo>
                  <a:pt x="642721" y="3489801"/>
                </a:lnTo>
                <a:lnTo>
                  <a:pt x="664966" y="3490755"/>
                </a:lnTo>
                <a:lnTo>
                  <a:pt x="687211" y="3492026"/>
                </a:lnTo>
                <a:lnTo>
                  <a:pt x="709456" y="3492344"/>
                </a:lnTo>
                <a:lnTo>
                  <a:pt x="732018" y="3492344"/>
                </a:lnTo>
                <a:lnTo>
                  <a:pt x="750768" y="3492344"/>
                </a:lnTo>
                <a:lnTo>
                  <a:pt x="769517" y="3492026"/>
                </a:lnTo>
                <a:lnTo>
                  <a:pt x="788266" y="3491708"/>
                </a:lnTo>
                <a:lnTo>
                  <a:pt x="807333" y="3490437"/>
                </a:lnTo>
                <a:lnTo>
                  <a:pt x="825765" y="3489801"/>
                </a:lnTo>
                <a:lnTo>
                  <a:pt x="844832" y="3488213"/>
                </a:lnTo>
                <a:lnTo>
                  <a:pt x="863263" y="3486624"/>
                </a:lnTo>
                <a:lnTo>
                  <a:pt x="881695" y="3484717"/>
                </a:lnTo>
                <a:lnTo>
                  <a:pt x="900126" y="3482492"/>
                </a:lnTo>
                <a:lnTo>
                  <a:pt x="918240" y="3480268"/>
                </a:lnTo>
                <a:lnTo>
                  <a:pt x="936354" y="3477408"/>
                </a:lnTo>
                <a:lnTo>
                  <a:pt x="954150" y="3474865"/>
                </a:lnTo>
                <a:lnTo>
                  <a:pt x="971946" y="3471688"/>
                </a:lnTo>
                <a:lnTo>
                  <a:pt x="989424" y="3468510"/>
                </a:lnTo>
                <a:lnTo>
                  <a:pt x="1006266" y="3464696"/>
                </a:lnTo>
                <a:lnTo>
                  <a:pt x="1023109" y="3460883"/>
                </a:lnTo>
                <a:lnTo>
                  <a:pt x="1039952" y="3457069"/>
                </a:lnTo>
                <a:lnTo>
                  <a:pt x="1056476" y="3452620"/>
                </a:lnTo>
                <a:lnTo>
                  <a:pt x="1072366" y="3448171"/>
                </a:lnTo>
                <a:lnTo>
                  <a:pt x="1087937" y="3443087"/>
                </a:lnTo>
                <a:lnTo>
                  <a:pt x="1102873" y="3438320"/>
                </a:lnTo>
                <a:lnTo>
                  <a:pt x="1118126" y="3432917"/>
                </a:lnTo>
                <a:lnTo>
                  <a:pt x="1132109" y="3427833"/>
                </a:lnTo>
                <a:lnTo>
                  <a:pt x="1146409" y="3421795"/>
                </a:lnTo>
                <a:lnTo>
                  <a:pt x="1159756" y="3415757"/>
                </a:lnTo>
                <a:lnTo>
                  <a:pt x="1172785" y="3409719"/>
                </a:lnTo>
                <a:lnTo>
                  <a:pt x="1185497" y="3403363"/>
                </a:lnTo>
                <a:lnTo>
                  <a:pt x="1197890" y="3396690"/>
                </a:lnTo>
                <a:lnTo>
                  <a:pt x="1209331" y="3389380"/>
                </a:lnTo>
                <a:lnTo>
                  <a:pt x="1219818" y="3382389"/>
                </a:lnTo>
                <a:lnTo>
                  <a:pt x="1230622" y="3375080"/>
                </a:lnTo>
                <a:lnTo>
                  <a:pt x="1239838" y="3367453"/>
                </a:lnTo>
                <a:lnTo>
                  <a:pt x="1239838" y="3464378"/>
                </a:lnTo>
                <a:lnTo>
                  <a:pt x="1239838" y="3464696"/>
                </a:lnTo>
                <a:lnTo>
                  <a:pt x="1239520" y="3468827"/>
                </a:lnTo>
                <a:lnTo>
                  <a:pt x="1239202" y="3472641"/>
                </a:lnTo>
                <a:lnTo>
                  <a:pt x="1238885" y="3477408"/>
                </a:lnTo>
                <a:lnTo>
                  <a:pt x="1237614" y="3482492"/>
                </a:lnTo>
                <a:lnTo>
                  <a:pt x="1236342" y="3487895"/>
                </a:lnTo>
                <a:lnTo>
                  <a:pt x="1234754" y="3492344"/>
                </a:lnTo>
                <a:lnTo>
                  <a:pt x="1232847" y="3497111"/>
                </a:lnTo>
                <a:lnTo>
                  <a:pt x="1230622" y="3501877"/>
                </a:lnTo>
                <a:lnTo>
                  <a:pt x="1228080" y="3506962"/>
                </a:lnTo>
                <a:lnTo>
                  <a:pt x="1225538" y="3511729"/>
                </a:lnTo>
                <a:lnTo>
                  <a:pt x="1222360" y="3516178"/>
                </a:lnTo>
                <a:lnTo>
                  <a:pt x="1218546" y="3520945"/>
                </a:lnTo>
                <a:lnTo>
                  <a:pt x="1214733" y="3525712"/>
                </a:lnTo>
                <a:lnTo>
                  <a:pt x="1210920" y="3529843"/>
                </a:lnTo>
                <a:lnTo>
                  <a:pt x="1202022" y="3539059"/>
                </a:lnTo>
                <a:lnTo>
                  <a:pt x="1192170" y="3547639"/>
                </a:lnTo>
                <a:lnTo>
                  <a:pt x="1181048" y="3556537"/>
                </a:lnTo>
                <a:lnTo>
                  <a:pt x="1169290" y="3564799"/>
                </a:lnTo>
                <a:lnTo>
                  <a:pt x="1156261" y="3572744"/>
                </a:lnTo>
                <a:lnTo>
                  <a:pt x="1141960" y="3580689"/>
                </a:lnTo>
                <a:lnTo>
                  <a:pt x="1127024" y="3587998"/>
                </a:lnTo>
                <a:lnTo>
                  <a:pt x="1111453" y="3595625"/>
                </a:lnTo>
                <a:lnTo>
                  <a:pt x="1094610" y="3602298"/>
                </a:lnTo>
                <a:lnTo>
                  <a:pt x="1077450" y="3608972"/>
                </a:lnTo>
                <a:lnTo>
                  <a:pt x="1058701" y="3615328"/>
                </a:lnTo>
                <a:lnTo>
                  <a:pt x="1039952" y="3621683"/>
                </a:lnTo>
                <a:lnTo>
                  <a:pt x="1020249" y="3627086"/>
                </a:lnTo>
                <a:lnTo>
                  <a:pt x="999593" y="3632806"/>
                </a:lnTo>
                <a:lnTo>
                  <a:pt x="978301" y="3637255"/>
                </a:lnTo>
                <a:lnTo>
                  <a:pt x="956056" y="3642022"/>
                </a:lnTo>
                <a:lnTo>
                  <a:pt x="933494" y="3646471"/>
                </a:lnTo>
                <a:lnTo>
                  <a:pt x="910613" y="3649967"/>
                </a:lnTo>
                <a:lnTo>
                  <a:pt x="887097" y="3653462"/>
                </a:lnTo>
                <a:lnTo>
                  <a:pt x="862946" y="3656640"/>
                </a:lnTo>
                <a:lnTo>
                  <a:pt x="838158" y="3659182"/>
                </a:lnTo>
                <a:lnTo>
                  <a:pt x="812736" y="3661407"/>
                </a:lnTo>
                <a:lnTo>
                  <a:pt x="787313" y="3662996"/>
                </a:lnTo>
                <a:lnTo>
                  <a:pt x="761572" y="3664267"/>
                </a:lnTo>
                <a:lnTo>
                  <a:pt x="735196" y="3664903"/>
                </a:lnTo>
                <a:lnTo>
                  <a:pt x="708185" y="3665538"/>
                </a:lnTo>
                <a:lnTo>
                  <a:pt x="680855" y="3664903"/>
                </a:lnTo>
                <a:lnTo>
                  <a:pt x="654161" y="3664267"/>
                </a:lnTo>
                <a:lnTo>
                  <a:pt x="627467" y="3662996"/>
                </a:lnTo>
                <a:lnTo>
                  <a:pt x="601409" y="3661089"/>
                </a:lnTo>
                <a:lnTo>
                  <a:pt x="575668" y="3659182"/>
                </a:lnTo>
                <a:lnTo>
                  <a:pt x="550246" y="3656322"/>
                </a:lnTo>
                <a:lnTo>
                  <a:pt x="525458" y="3653145"/>
                </a:lnTo>
                <a:lnTo>
                  <a:pt x="501307" y="3649649"/>
                </a:lnTo>
                <a:lnTo>
                  <a:pt x="478109" y="3645835"/>
                </a:lnTo>
                <a:lnTo>
                  <a:pt x="455228" y="3641069"/>
                </a:lnTo>
                <a:lnTo>
                  <a:pt x="432665" y="3636302"/>
                </a:lnTo>
                <a:lnTo>
                  <a:pt x="411374" y="3631217"/>
                </a:lnTo>
                <a:lnTo>
                  <a:pt x="390400" y="3625497"/>
                </a:lnTo>
                <a:lnTo>
                  <a:pt x="370380" y="3619777"/>
                </a:lnTo>
                <a:lnTo>
                  <a:pt x="350995" y="3613421"/>
                </a:lnTo>
                <a:lnTo>
                  <a:pt x="332563" y="3606747"/>
                </a:lnTo>
                <a:lnTo>
                  <a:pt x="315085" y="3599438"/>
                </a:lnTo>
                <a:lnTo>
                  <a:pt x="297925" y="3592447"/>
                </a:lnTo>
                <a:lnTo>
                  <a:pt x="282353" y="3584820"/>
                </a:lnTo>
                <a:lnTo>
                  <a:pt x="267735" y="3576875"/>
                </a:lnTo>
                <a:lnTo>
                  <a:pt x="253753" y="3568613"/>
                </a:lnTo>
                <a:lnTo>
                  <a:pt x="240724" y="3560350"/>
                </a:lnTo>
                <a:lnTo>
                  <a:pt x="229283" y="3551770"/>
                </a:lnTo>
                <a:lnTo>
                  <a:pt x="218796" y="3542872"/>
                </a:lnTo>
                <a:lnTo>
                  <a:pt x="213712" y="3538423"/>
                </a:lnTo>
                <a:lnTo>
                  <a:pt x="208945" y="3533656"/>
                </a:lnTo>
                <a:lnTo>
                  <a:pt x="204814" y="3529207"/>
                </a:lnTo>
                <a:lnTo>
                  <a:pt x="200683" y="3524440"/>
                </a:lnTo>
                <a:lnTo>
                  <a:pt x="196869" y="3519674"/>
                </a:lnTo>
                <a:lnTo>
                  <a:pt x="193374" y="3514907"/>
                </a:lnTo>
                <a:lnTo>
                  <a:pt x="190196" y="3510140"/>
                </a:lnTo>
                <a:lnTo>
                  <a:pt x="187653" y="3505055"/>
                </a:lnTo>
                <a:lnTo>
                  <a:pt x="185111" y="3500288"/>
                </a:lnTo>
                <a:lnTo>
                  <a:pt x="182887" y="3495204"/>
                </a:lnTo>
                <a:lnTo>
                  <a:pt x="181298" y="3490437"/>
                </a:lnTo>
                <a:lnTo>
                  <a:pt x="179709" y="3485352"/>
                </a:lnTo>
                <a:lnTo>
                  <a:pt x="178438" y="3480268"/>
                </a:lnTo>
                <a:lnTo>
                  <a:pt x="177802" y="3475183"/>
                </a:lnTo>
                <a:lnTo>
                  <a:pt x="176849" y="3470099"/>
                </a:lnTo>
                <a:lnTo>
                  <a:pt x="176849" y="3464696"/>
                </a:lnTo>
                <a:lnTo>
                  <a:pt x="176531" y="3464696"/>
                </a:lnTo>
                <a:lnTo>
                  <a:pt x="176531" y="3333132"/>
                </a:lnTo>
                <a:lnTo>
                  <a:pt x="176213" y="3329318"/>
                </a:lnTo>
                <a:lnTo>
                  <a:pt x="176531" y="3322327"/>
                </a:lnTo>
                <a:lnTo>
                  <a:pt x="177802" y="3314700"/>
                </a:lnTo>
                <a:close/>
                <a:moveTo>
                  <a:pt x="1771445" y="3307529"/>
                </a:moveTo>
                <a:lnTo>
                  <a:pt x="1771445" y="3411258"/>
                </a:lnTo>
                <a:lnTo>
                  <a:pt x="1789215" y="3413478"/>
                </a:lnTo>
                <a:lnTo>
                  <a:pt x="1807301" y="3415698"/>
                </a:lnTo>
                <a:lnTo>
                  <a:pt x="1825388" y="3417285"/>
                </a:lnTo>
                <a:lnTo>
                  <a:pt x="1843792" y="3419505"/>
                </a:lnTo>
                <a:lnTo>
                  <a:pt x="1843792" y="3315777"/>
                </a:lnTo>
                <a:lnTo>
                  <a:pt x="1825388" y="3314191"/>
                </a:lnTo>
                <a:lnTo>
                  <a:pt x="1807301" y="3312287"/>
                </a:lnTo>
                <a:lnTo>
                  <a:pt x="1789215" y="3309750"/>
                </a:lnTo>
                <a:lnTo>
                  <a:pt x="1771445" y="3307529"/>
                </a:lnTo>
                <a:close/>
                <a:moveTo>
                  <a:pt x="3178346" y="3281045"/>
                </a:moveTo>
                <a:lnTo>
                  <a:pt x="3178346" y="3395980"/>
                </a:lnTo>
                <a:lnTo>
                  <a:pt x="3201835" y="3396298"/>
                </a:lnTo>
                <a:lnTo>
                  <a:pt x="3225959" y="3396615"/>
                </a:lnTo>
                <a:lnTo>
                  <a:pt x="3258970" y="3396298"/>
                </a:lnTo>
                <a:lnTo>
                  <a:pt x="3258970" y="3281363"/>
                </a:lnTo>
                <a:lnTo>
                  <a:pt x="3225641" y="3281680"/>
                </a:lnTo>
                <a:lnTo>
                  <a:pt x="3201835" y="3281363"/>
                </a:lnTo>
                <a:lnTo>
                  <a:pt x="3178346" y="3281045"/>
                </a:lnTo>
                <a:close/>
                <a:moveTo>
                  <a:pt x="2609850" y="3275012"/>
                </a:moveTo>
                <a:lnTo>
                  <a:pt x="2613342" y="3281059"/>
                </a:lnTo>
                <a:lnTo>
                  <a:pt x="2617468" y="3287107"/>
                </a:lnTo>
                <a:lnTo>
                  <a:pt x="2621594" y="3292836"/>
                </a:lnTo>
                <a:lnTo>
                  <a:pt x="2626038" y="3298883"/>
                </a:lnTo>
                <a:lnTo>
                  <a:pt x="2631117" y="3304294"/>
                </a:lnTo>
                <a:lnTo>
                  <a:pt x="2635878" y="3310023"/>
                </a:lnTo>
                <a:lnTo>
                  <a:pt x="2641274" y="3315433"/>
                </a:lnTo>
                <a:lnTo>
                  <a:pt x="2646988" y="3320844"/>
                </a:lnTo>
                <a:lnTo>
                  <a:pt x="2658732" y="3331347"/>
                </a:lnTo>
                <a:lnTo>
                  <a:pt x="2671746" y="3341532"/>
                </a:lnTo>
                <a:lnTo>
                  <a:pt x="2685712" y="3351080"/>
                </a:lnTo>
                <a:lnTo>
                  <a:pt x="2700631" y="3360629"/>
                </a:lnTo>
                <a:lnTo>
                  <a:pt x="2715867" y="3369540"/>
                </a:lnTo>
                <a:lnTo>
                  <a:pt x="2732372" y="3378452"/>
                </a:lnTo>
                <a:lnTo>
                  <a:pt x="2749830" y="3386727"/>
                </a:lnTo>
                <a:lnTo>
                  <a:pt x="2767923" y="3394684"/>
                </a:lnTo>
                <a:lnTo>
                  <a:pt x="2786650" y="3402004"/>
                </a:lnTo>
                <a:lnTo>
                  <a:pt x="2805695" y="3409325"/>
                </a:lnTo>
                <a:lnTo>
                  <a:pt x="2826009" y="3416327"/>
                </a:lnTo>
                <a:lnTo>
                  <a:pt x="2846959" y="3422692"/>
                </a:lnTo>
                <a:lnTo>
                  <a:pt x="2867591" y="3428421"/>
                </a:lnTo>
                <a:lnTo>
                  <a:pt x="2889492" y="3434469"/>
                </a:lnTo>
                <a:lnTo>
                  <a:pt x="2912029" y="3439561"/>
                </a:lnTo>
                <a:lnTo>
                  <a:pt x="2934248" y="3444654"/>
                </a:lnTo>
                <a:lnTo>
                  <a:pt x="2957102" y="3449109"/>
                </a:lnTo>
                <a:lnTo>
                  <a:pt x="2980908" y="3453565"/>
                </a:lnTo>
                <a:lnTo>
                  <a:pt x="3004396" y="3457066"/>
                </a:lnTo>
                <a:lnTo>
                  <a:pt x="3028203" y="3460567"/>
                </a:lnTo>
                <a:lnTo>
                  <a:pt x="3052644" y="3463432"/>
                </a:lnTo>
                <a:lnTo>
                  <a:pt x="3077084" y="3465978"/>
                </a:lnTo>
                <a:lnTo>
                  <a:pt x="3101525" y="3468206"/>
                </a:lnTo>
                <a:lnTo>
                  <a:pt x="3125966" y="3470116"/>
                </a:lnTo>
                <a:lnTo>
                  <a:pt x="3150725" y="3471389"/>
                </a:lnTo>
                <a:lnTo>
                  <a:pt x="3175800" y="3472344"/>
                </a:lnTo>
                <a:lnTo>
                  <a:pt x="3200559" y="3472980"/>
                </a:lnTo>
                <a:lnTo>
                  <a:pt x="3225317" y="3473298"/>
                </a:lnTo>
                <a:lnTo>
                  <a:pt x="3246266" y="3473298"/>
                </a:lnTo>
                <a:lnTo>
                  <a:pt x="3267216" y="3472344"/>
                </a:lnTo>
                <a:lnTo>
                  <a:pt x="3288165" y="3472025"/>
                </a:lnTo>
                <a:lnTo>
                  <a:pt x="3308797" y="3470752"/>
                </a:lnTo>
                <a:lnTo>
                  <a:pt x="3329429" y="3469797"/>
                </a:lnTo>
                <a:lnTo>
                  <a:pt x="3350378" y="3468206"/>
                </a:lnTo>
                <a:lnTo>
                  <a:pt x="3371010" y="3466615"/>
                </a:lnTo>
                <a:lnTo>
                  <a:pt x="3391325" y="3464068"/>
                </a:lnTo>
                <a:lnTo>
                  <a:pt x="3411957" y="3462159"/>
                </a:lnTo>
                <a:lnTo>
                  <a:pt x="3431954" y="3459294"/>
                </a:lnTo>
                <a:lnTo>
                  <a:pt x="3451951" y="3456748"/>
                </a:lnTo>
                <a:lnTo>
                  <a:pt x="3471948" y="3453565"/>
                </a:lnTo>
                <a:lnTo>
                  <a:pt x="3491628" y="3450064"/>
                </a:lnTo>
                <a:lnTo>
                  <a:pt x="3510990" y="3446245"/>
                </a:lnTo>
                <a:lnTo>
                  <a:pt x="3530035" y="3442107"/>
                </a:lnTo>
                <a:lnTo>
                  <a:pt x="3548763" y="3437970"/>
                </a:lnTo>
                <a:lnTo>
                  <a:pt x="3567173" y="3433196"/>
                </a:lnTo>
                <a:lnTo>
                  <a:pt x="3585265" y="3428421"/>
                </a:lnTo>
                <a:lnTo>
                  <a:pt x="3603041" y="3423329"/>
                </a:lnTo>
                <a:lnTo>
                  <a:pt x="3620498" y="3418237"/>
                </a:lnTo>
                <a:lnTo>
                  <a:pt x="3637004" y="3412826"/>
                </a:lnTo>
                <a:lnTo>
                  <a:pt x="3653510" y="3406779"/>
                </a:lnTo>
                <a:lnTo>
                  <a:pt x="3669698" y="3400731"/>
                </a:lnTo>
                <a:lnTo>
                  <a:pt x="3685251" y="3394048"/>
                </a:lnTo>
                <a:lnTo>
                  <a:pt x="3700170" y="3387682"/>
                </a:lnTo>
                <a:lnTo>
                  <a:pt x="3714770" y="3380680"/>
                </a:lnTo>
                <a:lnTo>
                  <a:pt x="3728419" y="3373678"/>
                </a:lnTo>
                <a:lnTo>
                  <a:pt x="3741751" y="3366039"/>
                </a:lnTo>
                <a:lnTo>
                  <a:pt x="3754765" y="3358719"/>
                </a:lnTo>
                <a:lnTo>
                  <a:pt x="3767144" y="3350762"/>
                </a:lnTo>
                <a:lnTo>
                  <a:pt x="3778571" y="3342487"/>
                </a:lnTo>
                <a:lnTo>
                  <a:pt x="3789363" y="3333575"/>
                </a:lnTo>
                <a:lnTo>
                  <a:pt x="3789363" y="3441471"/>
                </a:lnTo>
                <a:lnTo>
                  <a:pt x="3788728" y="3442107"/>
                </a:lnTo>
                <a:lnTo>
                  <a:pt x="3788411" y="3451019"/>
                </a:lnTo>
                <a:lnTo>
                  <a:pt x="3787776" y="3456748"/>
                </a:lnTo>
                <a:lnTo>
                  <a:pt x="3786506" y="3462159"/>
                </a:lnTo>
                <a:lnTo>
                  <a:pt x="3785237" y="3467569"/>
                </a:lnTo>
                <a:lnTo>
                  <a:pt x="3783332" y="3472980"/>
                </a:lnTo>
                <a:lnTo>
                  <a:pt x="3781428" y="3478391"/>
                </a:lnTo>
                <a:lnTo>
                  <a:pt x="3778571" y="3483801"/>
                </a:lnTo>
                <a:lnTo>
                  <a:pt x="3775714" y="3489212"/>
                </a:lnTo>
                <a:lnTo>
                  <a:pt x="3772540" y="3494305"/>
                </a:lnTo>
                <a:lnTo>
                  <a:pt x="3769048" y="3499715"/>
                </a:lnTo>
                <a:lnTo>
                  <a:pt x="3765557" y="3504808"/>
                </a:lnTo>
                <a:lnTo>
                  <a:pt x="3761113" y="3509900"/>
                </a:lnTo>
                <a:lnTo>
                  <a:pt x="3756987" y="3514674"/>
                </a:lnTo>
                <a:lnTo>
                  <a:pt x="3752226" y="3519767"/>
                </a:lnTo>
                <a:lnTo>
                  <a:pt x="3747147" y="3525177"/>
                </a:lnTo>
                <a:lnTo>
                  <a:pt x="3741433" y="3529633"/>
                </a:lnTo>
                <a:lnTo>
                  <a:pt x="3736037" y="3534407"/>
                </a:lnTo>
                <a:lnTo>
                  <a:pt x="3723658" y="3543956"/>
                </a:lnTo>
                <a:lnTo>
                  <a:pt x="3710327" y="3553504"/>
                </a:lnTo>
                <a:lnTo>
                  <a:pt x="3696043" y="3562097"/>
                </a:lnTo>
                <a:lnTo>
                  <a:pt x="3680490" y="3571009"/>
                </a:lnTo>
                <a:lnTo>
                  <a:pt x="3663667" y="3579603"/>
                </a:lnTo>
                <a:lnTo>
                  <a:pt x="3646526" y="3587560"/>
                </a:lnTo>
                <a:lnTo>
                  <a:pt x="3627799" y="3595516"/>
                </a:lnTo>
                <a:lnTo>
                  <a:pt x="3608754" y="3602837"/>
                </a:lnTo>
                <a:lnTo>
                  <a:pt x="3588122" y="3609521"/>
                </a:lnTo>
                <a:lnTo>
                  <a:pt x="3566855" y="3616523"/>
                </a:lnTo>
                <a:lnTo>
                  <a:pt x="3544636" y="3622570"/>
                </a:lnTo>
                <a:lnTo>
                  <a:pt x="3522417" y="3628935"/>
                </a:lnTo>
                <a:lnTo>
                  <a:pt x="3498611" y="3634664"/>
                </a:lnTo>
                <a:lnTo>
                  <a:pt x="3474170" y="3639757"/>
                </a:lnTo>
                <a:lnTo>
                  <a:pt x="3449412" y="3644213"/>
                </a:lnTo>
                <a:lnTo>
                  <a:pt x="3423701" y="3648350"/>
                </a:lnTo>
                <a:lnTo>
                  <a:pt x="3397356" y="3652488"/>
                </a:lnTo>
                <a:lnTo>
                  <a:pt x="3370376" y="3655671"/>
                </a:lnTo>
                <a:lnTo>
                  <a:pt x="3343395" y="3658853"/>
                </a:lnTo>
                <a:lnTo>
                  <a:pt x="3315146" y="3661081"/>
                </a:lnTo>
                <a:lnTo>
                  <a:pt x="3286896" y="3662673"/>
                </a:lnTo>
                <a:lnTo>
                  <a:pt x="3258011" y="3664264"/>
                </a:lnTo>
                <a:lnTo>
                  <a:pt x="3228491" y="3664901"/>
                </a:lnTo>
                <a:lnTo>
                  <a:pt x="3198972" y="3665537"/>
                </a:lnTo>
                <a:lnTo>
                  <a:pt x="3168500" y="3664901"/>
                </a:lnTo>
                <a:lnTo>
                  <a:pt x="3138663" y="3664264"/>
                </a:lnTo>
                <a:lnTo>
                  <a:pt x="3109143" y="3662673"/>
                </a:lnTo>
                <a:lnTo>
                  <a:pt x="3080259" y="3660763"/>
                </a:lnTo>
                <a:lnTo>
                  <a:pt x="3051374" y="3658217"/>
                </a:lnTo>
                <a:lnTo>
                  <a:pt x="3023441" y="3655034"/>
                </a:lnTo>
                <a:lnTo>
                  <a:pt x="2996144" y="3651533"/>
                </a:lnTo>
                <a:lnTo>
                  <a:pt x="2969481" y="3647714"/>
                </a:lnTo>
                <a:lnTo>
                  <a:pt x="2943453" y="3643258"/>
                </a:lnTo>
                <a:lnTo>
                  <a:pt x="2917742" y="3638165"/>
                </a:lnTo>
                <a:lnTo>
                  <a:pt x="2892984" y="3633073"/>
                </a:lnTo>
                <a:lnTo>
                  <a:pt x="2869178" y="3627026"/>
                </a:lnTo>
                <a:lnTo>
                  <a:pt x="2846007" y="3620660"/>
                </a:lnTo>
                <a:lnTo>
                  <a:pt x="2823470" y="3614295"/>
                </a:lnTo>
                <a:lnTo>
                  <a:pt x="2802203" y="3607293"/>
                </a:lnTo>
                <a:lnTo>
                  <a:pt x="2781889" y="3599654"/>
                </a:lnTo>
                <a:lnTo>
                  <a:pt x="2762527" y="3592334"/>
                </a:lnTo>
                <a:lnTo>
                  <a:pt x="2743799" y="3584059"/>
                </a:lnTo>
                <a:lnTo>
                  <a:pt x="2726024" y="3575783"/>
                </a:lnTo>
                <a:lnTo>
                  <a:pt x="2709518" y="3566872"/>
                </a:lnTo>
                <a:lnTo>
                  <a:pt x="2694600" y="3557960"/>
                </a:lnTo>
                <a:lnTo>
                  <a:pt x="2679999" y="3548412"/>
                </a:lnTo>
                <a:lnTo>
                  <a:pt x="2666985" y="3538863"/>
                </a:lnTo>
                <a:lnTo>
                  <a:pt x="2660954" y="3533771"/>
                </a:lnTo>
                <a:lnTo>
                  <a:pt x="2655240" y="3528997"/>
                </a:lnTo>
                <a:lnTo>
                  <a:pt x="2650162" y="3523904"/>
                </a:lnTo>
                <a:lnTo>
                  <a:pt x="2645083" y="3518812"/>
                </a:lnTo>
                <a:lnTo>
                  <a:pt x="2639687" y="3513719"/>
                </a:lnTo>
                <a:lnTo>
                  <a:pt x="2635561" y="3508309"/>
                </a:lnTo>
                <a:lnTo>
                  <a:pt x="2631434" y="3503216"/>
                </a:lnTo>
                <a:lnTo>
                  <a:pt x="2627625" y="3497806"/>
                </a:lnTo>
                <a:lnTo>
                  <a:pt x="2624134" y="3492713"/>
                </a:lnTo>
                <a:lnTo>
                  <a:pt x="2620960" y="3486984"/>
                </a:lnTo>
                <a:lnTo>
                  <a:pt x="2618103" y="3481574"/>
                </a:lnTo>
                <a:lnTo>
                  <a:pt x="2615881" y="3476163"/>
                </a:lnTo>
                <a:lnTo>
                  <a:pt x="2613659" y="3470434"/>
                </a:lnTo>
                <a:lnTo>
                  <a:pt x="2612072" y="3465023"/>
                </a:lnTo>
                <a:lnTo>
                  <a:pt x="2610485" y="3459294"/>
                </a:lnTo>
                <a:lnTo>
                  <a:pt x="2609850" y="3453565"/>
                </a:lnTo>
                <a:lnTo>
                  <a:pt x="2609215" y="3447836"/>
                </a:lnTo>
                <a:lnTo>
                  <a:pt x="2609215" y="3442107"/>
                </a:lnTo>
                <a:lnTo>
                  <a:pt x="2608580" y="3442426"/>
                </a:lnTo>
                <a:lnTo>
                  <a:pt x="2608580" y="3295700"/>
                </a:lnTo>
                <a:lnTo>
                  <a:pt x="2608263" y="3291881"/>
                </a:lnTo>
                <a:lnTo>
                  <a:pt x="2608580" y="3283287"/>
                </a:lnTo>
                <a:lnTo>
                  <a:pt x="2609850" y="3275012"/>
                </a:lnTo>
                <a:close/>
                <a:moveTo>
                  <a:pt x="1625482" y="3274222"/>
                </a:moveTo>
                <a:lnTo>
                  <a:pt x="1625482" y="3379536"/>
                </a:lnTo>
                <a:lnTo>
                  <a:pt x="1642935" y="3384612"/>
                </a:lnTo>
                <a:lnTo>
                  <a:pt x="1661021" y="3389370"/>
                </a:lnTo>
                <a:lnTo>
                  <a:pt x="1679425" y="3394128"/>
                </a:lnTo>
                <a:lnTo>
                  <a:pt x="1698464" y="3398252"/>
                </a:lnTo>
                <a:lnTo>
                  <a:pt x="1698464" y="3294206"/>
                </a:lnTo>
                <a:lnTo>
                  <a:pt x="1679425" y="3289448"/>
                </a:lnTo>
                <a:lnTo>
                  <a:pt x="1661021" y="3284690"/>
                </a:lnTo>
                <a:lnTo>
                  <a:pt x="1642935" y="3279932"/>
                </a:lnTo>
                <a:lnTo>
                  <a:pt x="1625482" y="3274222"/>
                </a:lnTo>
                <a:close/>
                <a:moveTo>
                  <a:pt x="3016148" y="3266758"/>
                </a:moveTo>
                <a:lnTo>
                  <a:pt x="3016148" y="3382010"/>
                </a:lnTo>
                <a:lnTo>
                  <a:pt x="3035827" y="3384868"/>
                </a:lnTo>
                <a:lnTo>
                  <a:pt x="3056142" y="3387090"/>
                </a:lnTo>
                <a:lnTo>
                  <a:pt x="3076456" y="3389630"/>
                </a:lnTo>
                <a:lnTo>
                  <a:pt x="3097406" y="3391535"/>
                </a:lnTo>
                <a:lnTo>
                  <a:pt x="3097406" y="3276283"/>
                </a:lnTo>
                <a:lnTo>
                  <a:pt x="3076456" y="3274378"/>
                </a:lnTo>
                <a:lnTo>
                  <a:pt x="3056142" y="3271838"/>
                </a:lnTo>
                <a:lnTo>
                  <a:pt x="3035827" y="3269615"/>
                </a:lnTo>
                <a:lnTo>
                  <a:pt x="3016148" y="3266758"/>
                </a:lnTo>
                <a:close/>
                <a:moveTo>
                  <a:pt x="2854584" y="3230245"/>
                </a:moveTo>
                <a:lnTo>
                  <a:pt x="2854584" y="3347403"/>
                </a:lnTo>
                <a:lnTo>
                  <a:pt x="2873946" y="3352800"/>
                </a:lnTo>
                <a:lnTo>
                  <a:pt x="2893626" y="3357880"/>
                </a:lnTo>
                <a:lnTo>
                  <a:pt x="2914258" y="3362960"/>
                </a:lnTo>
                <a:lnTo>
                  <a:pt x="2935524" y="3367723"/>
                </a:lnTo>
                <a:lnTo>
                  <a:pt x="2935524" y="3251835"/>
                </a:lnTo>
                <a:lnTo>
                  <a:pt x="2914258" y="3246755"/>
                </a:lnTo>
                <a:lnTo>
                  <a:pt x="2893626" y="3241675"/>
                </a:lnTo>
                <a:lnTo>
                  <a:pt x="2873946" y="3235960"/>
                </a:lnTo>
                <a:lnTo>
                  <a:pt x="2854584" y="3230245"/>
                </a:lnTo>
                <a:close/>
                <a:moveTo>
                  <a:pt x="1480154" y="3217441"/>
                </a:moveTo>
                <a:lnTo>
                  <a:pt x="1480154" y="3305626"/>
                </a:lnTo>
                <a:lnTo>
                  <a:pt x="1482375" y="3307847"/>
                </a:lnTo>
                <a:lnTo>
                  <a:pt x="1484914" y="3310701"/>
                </a:lnTo>
                <a:lnTo>
                  <a:pt x="1491895" y="3316411"/>
                </a:lnTo>
                <a:lnTo>
                  <a:pt x="1500145" y="3322755"/>
                </a:lnTo>
                <a:lnTo>
                  <a:pt x="1509664" y="3329100"/>
                </a:lnTo>
                <a:lnTo>
                  <a:pt x="1519818" y="3335444"/>
                </a:lnTo>
                <a:lnTo>
                  <a:pt x="1530924" y="3341788"/>
                </a:lnTo>
                <a:lnTo>
                  <a:pt x="1542030" y="3347498"/>
                </a:lnTo>
                <a:lnTo>
                  <a:pt x="1553136" y="3352891"/>
                </a:lnTo>
                <a:lnTo>
                  <a:pt x="1553136" y="3255189"/>
                </a:lnTo>
                <a:lnTo>
                  <a:pt x="1539174" y="3249797"/>
                </a:lnTo>
                <a:lnTo>
                  <a:pt x="1527116" y="3244721"/>
                </a:lnTo>
                <a:lnTo>
                  <a:pt x="1516010" y="3239646"/>
                </a:lnTo>
                <a:lnTo>
                  <a:pt x="1506174" y="3234888"/>
                </a:lnTo>
                <a:lnTo>
                  <a:pt x="1497924" y="3230130"/>
                </a:lnTo>
                <a:lnTo>
                  <a:pt x="1490626" y="3226006"/>
                </a:lnTo>
                <a:lnTo>
                  <a:pt x="1484914" y="3221565"/>
                </a:lnTo>
                <a:lnTo>
                  <a:pt x="1480154" y="3217441"/>
                </a:lnTo>
                <a:close/>
                <a:moveTo>
                  <a:pt x="2426374" y="3213000"/>
                </a:moveTo>
                <a:lnTo>
                  <a:pt x="2420662" y="3217124"/>
                </a:lnTo>
                <a:lnTo>
                  <a:pt x="2413999" y="3221565"/>
                </a:lnTo>
                <a:lnTo>
                  <a:pt x="2406701" y="3226323"/>
                </a:lnTo>
                <a:lnTo>
                  <a:pt x="2399720" y="3230130"/>
                </a:lnTo>
                <a:lnTo>
                  <a:pt x="2392739" y="3234253"/>
                </a:lnTo>
                <a:lnTo>
                  <a:pt x="2385124" y="3237743"/>
                </a:lnTo>
                <a:lnTo>
                  <a:pt x="2378460" y="3240915"/>
                </a:lnTo>
                <a:lnTo>
                  <a:pt x="2371797" y="3243135"/>
                </a:lnTo>
                <a:lnTo>
                  <a:pt x="2371797" y="3350353"/>
                </a:lnTo>
                <a:lnTo>
                  <a:pt x="2379729" y="3346864"/>
                </a:lnTo>
                <a:lnTo>
                  <a:pt x="2387028" y="3342423"/>
                </a:lnTo>
                <a:lnTo>
                  <a:pt x="2394643" y="3338299"/>
                </a:lnTo>
                <a:lnTo>
                  <a:pt x="2401941" y="3333541"/>
                </a:lnTo>
                <a:lnTo>
                  <a:pt x="2409239" y="3328782"/>
                </a:lnTo>
                <a:lnTo>
                  <a:pt x="2415585" y="3324024"/>
                </a:lnTo>
                <a:lnTo>
                  <a:pt x="2421297" y="3319266"/>
                </a:lnTo>
                <a:lnTo>
                  <a:pt x="2426374" y="3314508"/>
                </a:lnTo>
                <a:lnTo>
                  <a:pt x="2426374" y="3213000"/>
                </a:lnTo>
                <a:close/>
                <a:moveTo>
                  <a:pt x="2692385" y="3167062"/>
                </a:moveTo>
                <a:lnTo>
                  <a:pt x="2692385" y="3264535"/>
                </a:lnTo>
                <a:lnTo>
                  <a:pt x="2695241" y="3267393"/>
                </a:lnTo>
                <a:lnTo>
                  <a:pt x="2698098" y="3270250"/>
                </a:lnTo>
                <a:lnTo>
                  <a:pt x="2705399" y="3276600"/>
                </a:lnTo>
                <a:lnTo>
                  <a:pt x="2714921" y="3283903"/>
                </a:lnTo>
                <a:lnTo>
                  <a:pt x="2725078" y="3290888"/>
                </a:lnTo>
                <a:lnTo>
                  <a:pt x="2737140" y="3297873"/>
                </a:lnTo>
                <a:lnTo>
                  <a:pt x="2748884" y="3305175"/>
                </a:lnTo>
                <a:lnTo>
                  <a:pt x="2761581" y="3311525"/>
                </a:lnTo>
                <a:lnTo>
                  <a:pt x="2773325" y="3317240"/>
                </a:lnTo>
                <a:lnTo>
                  <a:pt x="2773325" y="3208337"/>
                </a:lnTo>
                <a:lnTo>
                  <a:pt x="2758407" y="3202940"/>
                </a:lnTo>
                <a:lnTo>
                  <a:pt x="2744441" y="3196907"/>
                </a:lnTo>
                <a:lnTo>
                  <a:pt x="2732379" y="3191510"/>
                </a:lnTo>
                <a:lnTo>
                  <a:pt x="2721269" y="3186430"/>
                </a:lnTo>
                <a:lnTo>
                  <a:pt x="2712064" y="3180715"/>
                </a:lnTo>
                <a:lnTo>
                  <a:pt x="2704446" y="3176270"/>
                </a:lnTo>
                <a:lnTo>
                  <a:pt x="2697781" y="3171507"/>
                </a:lnTo>
                <a:lnTo>
                  <a:pt x="2692385" y="3167062"/>
                </a:lnTo>
                <a:close/>
                <a:moveTo>
                  <a:pt x="3744614" y="3161665"/>
                </a:moveTo>
                <a:lnTo>
                  <a:pt x="3737949" y="3166745"/>
                </a:lnTo>
                <a:lnTo>
                  <a:pt x="3730648" y="3171507"/>
                </a:lnTo>
                <a:lnTo>
                  <a:pt x="3722713" y="3176587"/>
                </a:lnTo>
                <a:lnTo>
                  <a:pt x="3715095" y="3180715"/>
                </a:lnTo>
                <a:lnTo>
                  <a:pt x="3706524" y="3185160"/>
                </a:lnTo>
                <a:lnTo>
                  <a:pt x="3698907" y="3189287"/>
                </a:lnTo>
                <a:lnTo>
                  <a:pt x="3691289" y="3192780"/>
                </a:lnTo>
                <a:lnTo>
                  <a:pt x="3683671" y="3195320"/>
                </a:lnTo>
                <a:lnTo>
                  <a:pt x="3683671" y="3315018"/>
                </a:lnTo>
                <a:lnTo>
                  <a:pt x="3692558" y="3310573"/>
                </a:lnTo>
                <a:lnTo>
                  <a:pt x="3701128" y="3305810"/>
                </a:lnTo>
                <a:lnTo>
                  <a:pt x="3709381" y="3301048"/>
                </a:lnTo>
                <a:lnTo>
                  <a:pt x="3717634" y="3295968"/>
                </a:lnTo>
                <a:lnTo>
                  <a:pt x="3725252" y="3290570"/>
                </a:lnTo>
                <a:lnTo>
                  <a:pt x="3732235" y="3285490"/>
                </a:lnTo>
                <a:lnTo>
                  <a:pt x="3738901" y="3279775"/>
                </a:lnTo>
                <a:lnTo>
                  <a:pt x="3744614" y="3275013"/>
                </a:lnTo>
                <a:lnTo>
                  <a:pt x="3744614" y="3161665"/>
                </a:lnTo>
                <a:close/>
                <a:moveTo>
                  <a:pt x="771525" y="3136900"/>
                </a:moveTo>
                <a:lnTo>
                  <a:pt x="805634" y="3143476"/>
                </a:lnTo>
                <a:lnTo>
                  <a:pt x="812009" y="3145042"/>
                </a:lnTo>
                <a:lnTo>
                  <a:pt x="818066" y="3146921"/>
                </a:lnTo>
                <a:lnTo>
                  <a:pt x="823167" y="3148486"/>
                </a:lnTo>
                <a:lnTo>
                  <a:pt x="827311" y="3150365"/>
                </a:lnTo>
                <a:lnTo>
                  <a:pt x="831455" y="3152557"/>
                </a:lnTo>
                <a:lnTo>
                  <a:pt x="835280" y="3155062"/>
                </a:lnTo>
                <a:lnTo>
                  <a:pt x="842612" y="3160072"/>
                </a:lnTo>
                <a:lnTo>
                  <a:pt x="845162" y="3162890"/>
                </a:lnTo>
                <a:lnTo>
                  <a:pt x="847075" y="3165082"/>
                </a:lnTo>
                <a:lnTo>
                  <a:pt x="848669" y="3167587"/>
                </a:lnTo>
                <a:lnTo>
                  <a:pt x="849944" y="3170092"/>
                </a:lnTo>
                <a:lnTo>
                  <a:pt x="850900" y="3172597"/>
                </a:lnTo>
                <a:lnTo>
                  <a:pt x="850900" y="3175416"/>
                </a:lnTo>
                <a:lnTo>
                  <a:pt x="850262" y="3177608"/>
                </a:lnTo>
                <a:lnTo>
                  <a:pt x="849625" y="3180426"/>
                </a:lnTo>
                <a:lnTo>
                  <a:pt x="848031" y="3182618"/>
                </a:lnTo>
                <a:lnTo>
                  <a:pt x="846437" y="3185123"/>
                </a:lnTo>
                <a:lnTo>
                  <a:pt x="844206" y="3187315"/>
                </a:lnTo>
                <a:lnTo>
                  <a:pt x="841656" y="3189820"/>
                </a:lnTo>
                <a:lnTo>
                  <a:pt x="838468" y="3191699"/>
                </a:lnTo>
                <a:lnTo>
                  <a:pt x="834961" y="3193577"/>
                </a:lnTo>
                <a:lnTo>
                  <a:pt x="831136" y="3195143"/>
                </a:lnTo>
                <a:lnTo>
                  <a:pt x="826992" y="3197022"/>
                </a:lnTo>
                <a:lnTo>
                  <a:pt x="820935" y="3198587"/>
                </a:lnTo>
                <a:lnTo>
                  <a:pt x="815197" y="3200153"/>
                </a:lnTo>
                <a:lnTo>
                  <a:pt x="808503" y="3201719"/>
                </a:lnTo>
                <a:lnTo>
                  <a:pt x="801171" y="3202971"/>
                </a:lnTo>
                <a:lnTo>
                  <a:pt x="787145" y="3204537"/>
                </a:lnTo>
                <a:lnTo>
                  <a:pt x="771525" y="3205163"/>
                </a:lnTo>
                <a:lnTo>
                  <a:pt x="771525" y="3136900"/>
                </a:lnTo>
                <a:close/>
                <a:moveTo>
                  <a:pt x="200025" y="3117850"/>
                </a:moveTo>
                <a:lnTo>
                  <a:pt x="200343" y="3123582"/>
                </a:lnTo>
                <a:lnTo>
                  <a:pt x="201296" y="3129631"/>
                </a:lnTo>
                <a:lnTo>
                  <a:pt x="202567" y="3135044"/>
                </a:lnTo>
                <a:lnTo>
                  <a:pt x="204155" y="3141094"/>
                </a:lnTo>
                <a:lnTo>
                  <a:pt x="206061" y="3146507"/>
                </a:lnTo>
                <a:lnTo>
                  <a:pt x="208285" y="3152238"/>
                </a:lnTo>
                <a:lnTo>
                  <a:pt x="211144" y="3157651"/>
                </a:lnTo>
                <a:lnTo>
                  <a:pt x="214321" y="3163064"/>
                </a:lnTo>
                <a:lnTo>
                  <a:pt x="217816" y="3168795"/>
                </a:lnTo>
                <a:lnTo>
                  <a:pt x="221310" y="3173890"/>
                </a:lnTo>
                <a:lnTo>
                  <a:pt x="225758" y="3179303"/>
                </a:lnTo>
                <a:lnTo>
                  <a:pt x="230206" y="3184715"/>
                </a:lnTo>
                <a:lnTo>
                  <a:pt x="235289" y="3189810"/>
                </a:lnTo>
                <a:lnTo>
                  <a:pt x="240372" y="3194904"/>
                </a:lnTo>
                <a:lnTo>
                  <a:pt x="245773" y="3199999"/>
                </a:lnTo>
                <a:lnTo>
                  <a:pt x="251809" y="3205093"/>
                </a:lnTo>
                <a:lnTo>
                  <a:pt x="251809" y="3304436"/>
                </a:lnTo>
                <a:lnTo>
                  <a:pt x="254032" y="3306983"/>
                </a:lnTo>
                <a:lnTo>
                  <a:pt x="256574" y="3309531"/>
                </a:lnTo>
                <a:lnTo>
                  <a:pt x="263563" y="3315580"/>
                </a:lnTo>
                <a:lnTo>
                  <a:pt x="271823" y="3321948"/>
                </a:lnTo>
                <a:lnTo>
                  <a:pt x="281354" y="3328317"/>
                </a:lnTo>
                <a:lnTo>
                  <a:pt x="291520" y="3335003"/>
                </a:lnTo>
                <a:lnTo>
                  <a:pt x="302639" y="3340734"/>
                </a:lnTo>
                <a:lnTo>
                  <a:pt x="313758" y="3346784"/>
                </a:lnTo>
                <a:lnTo>
                  <a:pt x="324877" y="3351879"/>
                </a:lnTo>
                <a:lnTo>
                  <a:pt x="324877" y="3249352"/>
                </a:lnTo>
                <a:lnTo>
                  <a:pt x="341715" y="3256994"/>
                </a:lnTo>
                <a:lnTo>
                  <a:pt x="359505" y="3263999"/>
                </a:lnTo>
                <a:lnTo>
                  <a:pt x="377931" y="3270685"/>
                </a:lnTo>
                <a:lnTo>
                  <a:pt x="397311" y="3277053"/>
                </a:lnTo>
                <a:lnTo>
                  <a:pt x="397311" y="3378943"/>
                </a:lnTo>
                <a:lnTo>
                  <a:pt x="414783" y="3384038"/>
                </a:lnTo>
                <a:lnTo>
                  <a:pt x="432892" y="3388814"/>
                </a:lnTo>
                <a:lnTo>
                  <a:pt x="451318" y="3393590"/>
                </a:lnTo>
                <a:lnTo>
                  <a:pt x="470379" y="3397729"/>
                </a:lnTo>
                <a:lnTo>
                  <a:pt x="470379" y="3296476"/>
                </a:lnTo>
                <a:lnTo>
                  <a:pt x="488170" y="3300615"/>
                </a:lnTo>
                <a:lnTo>
                  <a:pt x="506278" y="3303799"/>
                </a:lnTo>
                <a:lnTo>
                  <a:pt x="524386" y="3306983"/>
                </a:lnTo>
                <a:lnTo>
                  <a:pt x="543448" y="3309849"/>
                </a:lnTo>
                <a:lnTo>
                  <a:pt x="543448" y="3410465"/>
                </a:lnTo>
                <a:lnTo>
                  <a:pt x="561238" y="3412694"/>
                </a:lnTo>
                <a:lnTo>
                  <a:pt x="579347" y="3415241"/>
                </a:lnTo>
                <a:lnTo>
                  <a:pt x="597455" y="3417152"/>
                </a:lnTo>
                <a:lnTo>
                  <a:pt x="615881" y="3418744"/>
                </a:lnTo>
                <a:lnTo>
                  <a:pt x="615881" y="3318446"/>
                </a:lnTo>
                <a:lnTo>
                  <a:pt x="634307" y="3320038"/>
                </a:lnTo>
                <a:lnTo>
                  <a:pt x="652415" y="3320993"/>
                </a:lnTo>
                <a:lnTo>
                  <a:pt x="670524" y="3321948"/>
                </a:lnTo>
                <a:lnTo>
                  <a:pt x="688950" y="3322585"/>
                </a:lnTo>
                <a:lnTo>
                  <a:pt x="688950" y="3422883"/>
                </a:lnTo>
                <a:lnTo>
                  <a:pt x="710235" y="3423520"/>
                </a:lnTo>
                <a:lnTo>
                  <a:pt x="732155" y="3423520"/>
                </a:lnTo>
                <a:lnTo>
                  <a:pt x="762018" y="3423201"/>
                </a:lnTo>
                <a:lnTo>
                  <a:pt x="762018" y="3322904"/>
                </a:lnTo>
                <a:lnTo>
                  <a:pt x="790928" y="3321948"/>
                </a:lnTo>
                <a:lnTo>
                  <a:pt x="818884" y="3320675"/>
                </a:lnTo>
                <a:lnTo>
                  <a:pt x="846524" y="3318446"/>
                </a:lnTo>
                <a:lnTo>
                  <a:pt x="873845" y="3315899"/>
                </a:lnTo>
                <a:lnTo>
                  <a:pt x="900531" y="3312715"/>
                </a:lnTo>
                <a:lnTo>
                  <a:pt x="926581" y="3309212"/>
                </a:lnTo>
                <a:lnTo>
                  <a:pt x="951996" y="3304755"/>
                </a:lnTo>
                <a:lnTo>
                  <a:pt x="976776" y="3299978"/>
                </a:lnTo>
                <a:lnTo>
                  <a:pt x="1000921" y="3294884"/>
                </a:lnTo>
                <a:lnTo>
                  <a:pt x="1023794" y="3289471"/>
                </a:lnTo>
                <a:lnTo>
                  <a:pt x="1046350" y="3283421"/>
                </a:lnTo>
                <a:lnTo>
                  <a:pt x="1067953" y="3277053"/>
                </a:lnTo>
                <a:lnTo>
                  <a:pt x="1088285" y="3270048"/>
                </a:lnTo>
                <a:lnTo>
                  <a:pt x="1108300" y="3263043"/>
                </a:lnTo>
                <a:lnTo>
                  <a:pt x="1126726" y="3255083"/>
                </a:lnTo>
                <a:lnTo>
                  <a:pt x="1144516" y="3247123"/>
                </a:lnTo>
                <a:lnTo>
                  <a:pt x="1144516" y="3349968"/>
                </a:lnTo>
                <a:lnTo>
                  <a:pt x="1152459" y="3346147"/>
                </a:lnTo>
                <a:lnTo>
                  <a:pt x="1159766" y="3342008"/>
                </a:lnTo>
                <a:lnTo>
                  <a:pt x="1167390" y="3337232"/>
                </a:lnTo>
                <a:lnTo>
                  <a:pt x="1175015" y="3332456"/>
                </a:lnTo>
                <a:lnTo>
                  <a:pt x="1182004" y="3327680"/>
                </a:lnTo>
                <a:lnTo>
                  <a:pt x="1188358" y="3322904"/>
                </a:lnTo>
                <a:lnTo>
                  <a:pt x="1194076" y="3318446"/>
                </a:lnTo>
                <a:lnTo>
                  <a:pt x="1199477" y="3313988"/>
                </a:lnTo>
                <a:lnTo>
                  <a:pt x="1199477" y="3215601"/>
                </a:lnTo>
                <a:lnTo>
                  <a:pt x="1206784" y="3209870"/>
                </a:lnTo>
                <a:lnTo>
                  <a:pt x="1213455" y="3204457"/>
                </a:lnTo>
                <a:lnTo>
                  <a:pt x="1220126" y="3198725"/>
                </a:lnTo>
                <a:lnTo>
                  <a:pt x="1226163" y="3192994"/>
                </a:lnTo>
                <a:lnTo>
                  <a:pt x="1232199" y="3186944"/>
                </a:lnTo>
                <a:lnTo>
                  <a:pt x="1237282" y="3181531"/>
                </a:lnTo>
                <a:lnTo>
                  <a:pt x="1242047" y="3175163"/>
                </a:lnTo>
                <a:lnTo>
                  <a:pt x="1246177" y="3169114"/>
                </a:lnTo>
                <a:lnTo>
                  <a:pt x="1250307" y="3162745"/>
                </a:lnTo>
                <a:lnTo>
                  <a:pt x="1253802" y="3157014"/>
                </a:lnTo>
                <a:lnTo>
                  <a:pt x="1256661" y="3150646"/>
                </a:lnTo>
                <a:lnTo>
                  <a:pt x="1258885" y="3144278"/>
                </a:lnTo>
                <a:lnTo>
                  <a:pt x="1260791" y="3137910"/>
                </a:lnTo>
                <a:lnTo>
                  <a:pt x="1262379" y="3131223"/>
                </a:lnTo>
                <a:lnTo>
                  <a:pt x="1263332" y="3124855"/>
                </a:lnTo>
                <a:lnTo>
                  <a:pt x="1263650" y="3118169"/>
                </a:lnTo>
                <a:lnTo>
                  <a:pt x="1263650" y="3251581"/>
                </a:lnTo>
                <a:lnTo>
                  <a:pt x="1263332" y="3251899"/>
                </a:lnTo>
                <a:lnTo>
                  <a:pt x="1263332" y="3255720"/>
                </a:lnTo>
                <a:lnTo>
                  <a:pt x="1263015" y="3259859"/>
                </a:lnTo>
                <a:lnTo>
                  <a:pt x="1262379" y="3264635"/>
                </a:lnTo>
                <a:lnTo>
                  <a:pt x="1261426" y="3269730"/>
                </a:lnTo>
                <a:lnTo>
                  <a:pt x="1260155" y="3274506"/>
                </a:lnTo>
                <a:lnTo>
                  <a:pt x="1258567" y="3279600"/>
                </a:lnTo>
                <a:lnTo>
                  <a:pt x="1256661" y="3284377"/>
                </a:lnTo>
                <a:lnTo>
                  <a:pt x="1254119" y="3289153"/>
                </a:lnTo>
                <a:lnTo>
                  <a:pt x="1251896" y="3294247"/>
                </a:lnTo>
                <a:lnTo>
                  <a:pt x="1248719" y="3299023"/>
                </a:lnTo>
                <a:lnTo>
                  <a:pt x="1245542" y="3303162"/>
                </a:lnTo>
                <a:lnTo>
                  <a:pt x="1242365" y="3307939"/>
                </a:lnTo>
                <a:lnTo>
                  <a:pt x="1238552" y="3312715"/>
                </a:lnTo>
                <a:lnTo>
                  <a:pt x="1234423" y="3317172"/>
                </a:lnTo>
                <a:lnTo>
                  <a:pt x="1225845" y="3326088"/>
                </a:lnTo>
                <a:lnTo>
                  <a:pt x="1215997" y="3335003"/>
                </a:lnTo>
                <a:lnTo>
                  <a:pt x="1204877" y="3343600"/>
                </a:lnTo>
                <a:lnTo>
                  <a:pt x="1192488" y="3351879"/>
                </a:lnTo>
                <a:lnTo>
                  <a:pt x="1179462" y="3360157"/>
                </a:lnTo>
                <a:lnTo>
                  <a:pt x="1165802" y="3367799"/>
                </a:lnTo>
                <a:lnTo>
                  <a:pt x="1150870" y="3375122"/>
                </a:lnTo>
                <a:lnTo>
                  <a:pt x="1134986" y="3382764"/>
                </a:lnTo>
                <a:lnTo>
                  <a:pt x="1118466" y="3389769"/>
                </a:lnTo>
                <a:lnTo>
                  <a:pt x="1100993" y="3396137"/>
                </a:lnTo>
                <a:lnTo>
                  <a:pt x="1082567" y="3402824"/>
                </a:lnTo>
                <a:lnTo>
                  <a:pt x="1063506" y="3408873"/>
                </a:lnTo>
                <a:lnTo>
                  <a:pt x="1043491" y="3414286"/>
                </a:lnTo>
                <a:lnTo>
                  <a:pt x="1022841" y="3420017"/>
                </a:lnTo>
                <a:lnTo>
                  <a:pt x="1001874" y="3424794"/>
                </a:lnTo>
                <a:lnTo>
                  <a:pt x="979953" y="3429570"/>
                </a:lnTo>
                <a:lnTo>
                  <a:pt x="957397" y="3433709"/>
                </a:lnTo>
                <a:lnTo>
                  <a:pt x="934524" y="3437848"/>
                </a:lnTo>
                <a:lnTo>
                  <a:pt x="910697" y="3441032"/>
                </a:lnTo>
                <a:lnTo>
                  <a:pt x="886235" y="3444216"/>
                </a:lnTo>
                <a:lnTo>
                  <a:pt x="861773" y="3446764"/>
                </a:lnTo>
                <a:lnTo>
                  <a:pt x="836675" y="3448992"/>
                </a:lnTo>
                <a:lnTo>
                  <a:pt x="810942" y="3450584"/>
                </a:lnTo>
                <a:lnTo>
                  <a:pt x="784892" y="3451540"/>
                </a:lnTo>
                <a:lnTo>
                  <a:pt x="758841" y="3452495"/>
                </a:lnTo>
                <a:lnTo>
                  <a:pt x="732155" y="3452813"/>
                </a:lnTo>
                <a:lnTo>
                  <a:pt x="704834" y="3452495"/>
                </a:lnTo>
                <a:lnTo>
                  <a:pt x="677513" y="3451540"/>
                </a:lnTo>
                <a:lnTo>
                  <a:pt x="651145" y="3450584"/>
                </a:lnTo>
                <a:lnTo>
                  <a:pt x="625094" y="3448356"/>
                </a:lnTo>
                <a:lnTo>
                  <a:pt x="599361" y="3446445"/>
                </a:lnTo>
                <a:lnTo>
                  <a:pt x="574264" y="3443579"/>
                </a:lnTo>
                <a:lnTo>
                  <a:pt x="549484" y="3440395"/>
                </a:lnTo>
                <a:lnTo>
                  <a:pt x="525339" y="3436893"/>
                </a:lnTo>
                <a:lnTo>
                  <a:pt x="501513" y="3433072"/>
                </a:lnTo>
                <a:lnTo>
                  <a:pt x="478639" y="3428296"/>
                </a:lnTo>
                <a:lnTo>
                  <a:pt x="456718" y="3423520"/>
                </a:lnTo>
                <a:lnTo>
                  <a:pt x="434798" y="3418425"/>
                </a:lnTo>
                <a:lnTo>
                  <a:pt x="413830" y="3412694"/>
                </a:lnTo>
                <a:lnTo>
                  <a:pt x="394134" y="3406963"/>
                </a:lnTo>
                <a:lnTo>
                  <a:pt x="374755" y="3400595"/>
                </a:lnTo>
                <a:lnTo>
                  <a:pt x="356329" y="3393908"/>
                </a:lnTo>
                <a:lnTo>
                  <a:pt x="338538" y="3386585"/>
                </a:lnTo>
                <a:lnTo>
                  <a:pt x="322018" y="3379580"/>
                </a:lnTo>
                <a:lnTo>
                  <a:pt x="306134" y="3372257"/>
                </a:lnTo>
                <a:lnTo>
                  <a:pt x="291520" y="3364296"/>
                </a:lnTo>
                <a:lnTo>
                  <a:pt x="277542" y="3356018"/>
                </a:lnTo>
                <a:lnTo>
                  <a:pt x="264834" y="3347421"/>
                </a:lnTo>
                <a:lnTo>
                  <a:pt x="253079" y="3338824"/>
                </a:lnTo>
                <a:lnTo>
                  <a:pt x="242278" y="3330227"/>
                </a:lnTo>
                <a:lnTo>
                  <a:pt x="237513" y="3325451"/>
                </a:lnTo>
                <a:lnTo>
                  <a:pt x="232747" y="3320675"/>
                </a:lnTo>
                <a:lnTo>
                  <a:pt x="228617" y="3316217"/>
                </a:lnTo>
                <a:lnTo>
                  <a:pt x="224487" y="3311441"/>
                </a:lnTo>
                <a:lnTo>
                  <a:pt x="220993" y="3306983"/>
                </a:lnTo>
                <a:lnTo>
                  <a:pt x="217498" y="3302207"/>
                </a:lnTo>
                <a:lnTo>
                  <a:pt x="214321" y="3297431"/>
                </a:lnTo>
                <a:lnTo>
                  <a:pt x="211462" y="3292337"/>
                </a:lnTo>
                <a:lnTo>
                  <a:pt x="208921" y="3287561"/>
                </a:lnTo>
                <a:lnTo>
                  <a:pt x="206697" y="3282148"/>
                </a:lnTo>
                <a:lnTo>
                  <a:pt x="204791" y="3277690"/>
                </a:lnTo>
                <a:lnTo>
                  <a:pt x="203202" y="3272277"/>
                </a:lnTo>
                <a:lnTo>
                  <a:pt x="201931" y="3267183"/>
                </a:lnTo>
                <a:lnTo>
                  <a:pt x="201296" y="3262088"/>
                </a:lnTo>
                <a:lnTo>
                  <a:pt x="200978" y="3256994"/>
                </a:lnTo>
                <a:lnTo>
                  <a:pt x="200343" y="3251899"/>
                </a:lnTo>
                <a:lnTo>
                  <a:pt x="200025" y="3251899"/>
                </a:lnTo>
                <a:lnTo>
                  <a:pt x="200025" y="3117850"/>
                </a:lnTo>
                <a:close/>
                <a:moveTo>
                  <a:pt x="1263332" y="3111818"/>
                </a:moveTo>
                <a:lnTo>
                  <a:pt x="1263650" y="3117533"/>
                </a:lnTo>
                <a:lnTo>
                  <a:pt x="1263332" y="3119438"/>
                </a:lnTo>
                <a:lnTo>
                  <a:pt x="1263332" y="3116263"/>
                </a:lnTo>
                <a:lnTo>
                  <a:pt x="1263332" y="3111818"/>
                </a:lnTo>
                <a:close/>
                <a:moveTo>
                  <a:pt x="1263253" y="3110548"/>
                </a:moveTo>
                <a:lnTo>
                  <a:pt x="1263332" y="3111183"/>
                </a:lnTo>
                <a:lnTo>
                  <a:pt x="1263332" y="3111818"/>
                </a:lnTo>
                <a:lnTo>
                  <a:pt x="1263253" y="3110548"/>
                </a:lnTo>
                <a:close/>
                <a:moveTo>
                  <a:pt x="1892592" y="3107220"/>
                </a:moveTo>
                <a:lnTo>
                  <a:pt x="1892592" y="3210034"/>
                </a:lnTo>
                <a:lnTo>
                  <a:pt x="1913877" y="3210983"/>
                </a:lnTo>
                <a:lnTo>
                  <a:pt x="1935480" y="3210983"/>
                </a:lnTo>
                <a:lnTo>
                  <a:pt x="1965343" y="3210667"/>
                </a:lnTo>
                <a:lnTo>
                  <a:pt x="1965343" y="3107537"/>
                </a:lnTo>
                <a:lnTo>
                  <a:pt x="1935480" y="3107853"/>
                </a:lnTo>
                <a:lnTo>
                  <a:pt x="1913877" y="3107853"/>
                </a:lnTo>
                <a:lnTo>
                  <a:pt x="1892592" y="3107220"/>
                </a:lnTo>
                <a:close/>
                <a:moveTo>
                  <a:pt x="200819" y="3107046"/>
                </a:moveTo>
                <a:lnTo>
                  <a:pt x="200378" y="3110133"/>
                </a:lnTo>
                <a:lnTo>
                  <a:pt x="200025" y="3115072"/>
                </a:lnTo>
                <a:lnTo>
                  <a:pt x="200025" y="3110751"/>
                </a:lnTo>
                <a:lnTo>
                  <a:pt x="200819" y="3107046"/>
                </a:lnTo>
                <a:close/>
                <a:moveTo>
                  <a:pt x="2489519" y="3103562"/>
                </a:moveTo>
                <a:lnTo>
                  <a:pt x="2490471" y="3109906"/>
                </a:lnTo>
                <a:lnTo>
                  <a:pt x="2490788" y="3116568"/>
                </a:lnTo>
                <a:lnTo>
                  <a:pt x="2490788" y="3252652"/>
                </a:lnTo>
                <a:lnTo>
                  <a:pt x="2490471" y="3252969"/>
                </a:lnTo>
                <a:lnTo>
                  <a:pt x="2489836" y="3260899"/>
                </a:lnTo>
                <a:lnTo>
                  <a:pt x="2489519" y="3265657"/>
                </a:lnTo>
                <a:lnTo>
                  <a:pt x="2488250" y="3270733"/>
                </a:lnTo>
                <a:lnTo>
                  <a:pt x="2487298" y="3275491"/>
                </a:lnTo>
                <a:lnTo>
                  <a:pt x="2485711" y="3280566"/>
                </a:lnTo>
                <a:lnTo>
                  <a:pt x="2483490" y="3285325"/>
                </a:lnTo>
                <a:lnTo>
                  <a:pt x="2481269" y="3290083"/>
                </a:lnTo>
                <a:lnTo>
                  <a:pt x="2479048" y="3294841"/>
                </a:lnTo>
                <a:lnTo>
                  <a:pt x="2475874" y="3299599"/>
                </a:lnTo>
                <a:lnTo>
                  <a:pt x="2472701" y="3304357"/>
                </a:lnTo>
                <a:lnTo>
                  <a:pt x="2469528" y="3309115"/>
                </a:lnTo>
                <a:lnTo>
                  <a:pt x="2465403" y="3313874"/>
                </a:lnTo>
                <a:lnTo>
                  <a:pt x="2461595" y="3317997"/>
                </a:lnTo>
                <a:lnTo>
                  <a:pt x="2453028" y="3327196"/>
                </a:lnTo>
                <a:lnTo>
                  <a:pt x="2443191" y="3335761"/>
                </a:lnTo>
                <a:lnTo>
                  <a:pt x="2432086" y="3344643"/>
                </a:lnTo>
                <a:lnTo>
                  <a:pt x="2419710" y="3352891"/>
                </a:lnTo>
                <a:lnTo>
                  <a:pt x="2406701" y="3360504"/>
                </a:lnTo>
                <a:lnTo>
                  <a:pt x="2393056" y="3368434"/>
                </a:lnTo>
                <a:lnTo>
                  <a:pt x="2378143" y="3376047"/>
                </a:lnTo>
                <a:lnTo>
                  <a:pt x="2362277" y="3383660"/>
                </a:lnTo>
                <a:lnTo>
                  <a:pt x="2345777" y="3390322"/>
                </a:lnTo>
                <a:lnTo>
                  <a:pt x="2328325" y="3396983"/>
                </a:lnTo>
                <a:lnTo>
                  <a:pt x="2309921" y="3403327"/>
                </a:lnTo>
                <a:lnTo>
                  <a:pt x="2290882" y="3409671"/>
                </a:lnTo>
                <a:lnTo>
                  <a:pt x="2270892" y="3415064"/>
                </a:lnTo>
                <a:lnTo>
                  <a:pt x="2250267" y="3420139"/>
                </a:lnTo>
                <a:lnTo>
                  <a:pt x="2229324" y="3425215"/>
                </a:lnTo>
                <a:lnTo>
                  <a:pt x="2207430" y="3429973"/>
                </a:lnTo>
                <a:lnTo>
                  <a:pt x="2184901" y="3434414"/>
                </a:lnTo>
                <a:lnTo>
                  <a:pt x="2162054" y="3437903"/>
                </a:lnTo>
                <a:lnTo>
                  <a:pt x="2138256" y="3441393"/>
                </a:lnTo>
                <a:lnTo>
                  <a:pt x="2113823" y="3444565"/>
                </a:lnTo>
                <a:lnTo>
                  <a:pt x="2089390" y="3447102"/>
                </a:lnTo>
                <a:lnTo>
                  <a:pt x="2064323" y="3449006"/>
                </a:lnTo>
                <a:lnTo>
                  <a:pt x="2038621" y="3450909"/>
                </a:lnTo>
                <a:lnTo>
                  <a:pt x="2012601" y="3452178"/>
                </a:lnTo>
                <a:lnTo>
                  <a:pt x="1986582" y="3452812"/>
                </a:lnTo>
                <a:lnTo>
                  <a:pt x="1959928" y="3452812"/>
                </a:lnTo>
                <a:lnTo>
                  <a:pt x="1932639" y="3452812"/>
                </a:lnTo>
                <a:lnTo>
                  <a:pt x="1905350" y="3452178"/>
                </a:lnTo>
                <a:lnTo>
                  <a:pt x="1879014" y="3450592"/>
                </a:lnTo>
                <a:lnTo>
                  <a:pt x="1852994" y="3449006"/>
                </a:lnTo>
                <a:lnTo>
                  <a:pt x="1827292" y="3446468"/>
                </a:lnTo>
                <a:lnTo>
                  <a:pt x="1802224" y="3443930"/>
                </a:lnTo>
                <a:lnTo>
                  <a:pt x="1777157" y="3441075"/>
                </a:lnTo>
                <a:lnTo>
                  <a:pt x="1753359" y="3437269"/>
                </a:lnTo>
                <a:lnTo>
                  <a:pt x="1729560" y="3433145"/>
                </a:lnTo>
                <a:lnTo>
                  <a:pt x="1706714" y="3428704"/>
                </a:lnTo>
                <a:lnTo>
                  <a:pt x="1684502" y="3424263"/>
                </a:lnTo>
                <a:lnTo>
                  <a:pt x="1662925" y="3418871"/>
                </a:lnTo>
                <a:lnTo>
                  <a:pt x="1641983" y="3413478"/>
                </a:lnTo>
                <a:lnTo>
                  <a:pt x="1622309" y="3407134"/>
                </a:lnTo>
                <a:lnTo>
                  <a:pt x="1602953" y="3400790"/>
                </a:lnTo>
                <a:lnTo>
                  <a:pt x="1584549" y="3394445"/>
                </a:lnTo>
                <a:lnTo>
                  <a:pt x="1566780" y="3387467"/>
                </a:lnTo>
                <a:lnTo>
                  <a:pt x="1550280" y="3380488"/>
                </a:lnTo>
                <a:lnTo>
                  <a:pt x="1534414" y="3372558"/>
                </a:lnTo>
                <a:lnTo>
                  <a:pt x="1519501" y="3364945"/>
                </a:lnTo>
                <a:lnTo>
                  <a:pt x="1505539" y="3356697"/>
                </a:lnTo>
                <a:lnTo>
                  <a:pt x="1493164" y="3348450"/>
                </a:lnTo>
                <a:lnTo>
                  <a:pt x="1481106" y="3339885"/>
                </a:lnTo>
                <a:lnTo>
                  <a:pt x="1470635" y="3330686"/>
                </a:lnTo>
                <a:lnTo>
                  <a:pt x="1465875" y="3326245"/>
                </a:lnTo>
                <a:lnTo>
                  <a:pt x="1461116" y="3321487"/>
                </a:lnTo>
                <a:lnTo>
                  <a:pt x="1456673" y="3317363"/>
                </a:lnTo>
                <a:lnTo>
                  <a:pt x="1452866" y="3312605"/>
                </a:lnTo>
                <a:lnTo>
                  <a:pt x="1449375" y="3307847"/>
                </a:lnTo>
                <a:lnTo>
                  <a:pt x="1445885" y="3303088"/>
                </a:lnTo>
                <a:lnTo>
                  <a:pt x="1442712" y="3298013"/>
                </a:lnTo>
                <a:lnTo>
                  <a:pt x="1439856" y="3293255"/>
                </a:lnTo>
                <a:lnTo>
                  <a:pt x="1437000" y="3288497"/>
                </a:lnTo>
                <a:lnTo>
                  <a:pt x="1435096" y="3283421"/>
                </a:lnTo>
                <a:lnTo>
                  <a:pt x="1433192" y="3278346"/>
                </a:lnTo>
                <a:lnTo>
                  <a:pt x="1431606" y="3273588"/>
                </a:lnTo>
                <a:lnTo>
                  <a:pt x="1430337" y="3268512"/>
                </a:lnTo>
                <a:lnTo>
                  <a:pt x="1429702" y="3263437"/>
                </a:lnTo>
                <a:lnTo>
                  <a:pt x="1429385" y="3258044"/>
                </a:lnTo>
                <a:lnTo>
                  <a:pt x="1428750" y="3252969"/>
                </a:lnTo>
                <a:lnTo>
                  <a:pt x="1428750" y="3155268"/>
                </a:lnTo>
                <a:lnTo>
                  <a:pt x="1438269" y="3162881"/>
                </a:lnTo>
                <a:lnTo>
                  <a:pt x="1449058" y="3170177"/>
                </a:lnTo>
                <a:lnTo>
                  <a:pt x="1459846" y="3177473"/>
                </a:lnTo>
                <a:lnTo>
                  <a:pt x="1471270" y="3184134"/>
                </a:lnTo>
                <a:lnTo>
                  <a:pt x="1483645" y="3190795"/>
                </a:lnTo>
                <a:lnTo>
                  <a:pt x="1496337" y="3197140"/>
                </a:lnTo>
                <a:lnTo>
                  <a:pt x="1509347" y="3203484"/>
                </a:lnTo>
                <a:lnTo>
                  <a:pt x="1522674" y="3209194"/>
                </a:lnTo>
                <a:lnTo>
                  <a:pt x="1536953" y="3215221"/>
                </a:lnTo>
                <a:lnTo>
                  <a:pt x="1550915" y="3220613"/>
                </a:lnTo>
                <a:lnTo>
                  <a:pt x="1566145" y="3226006"/>
                </a:lnTo>
                <a:lnTo>
                  <a:pt x="1581376" y="3231081"/>
                </a:lnTo>
                <a:lnTo>
                  <a:pt x="1597242" y="3235839"/>
                </a:lnTo>
                <a:lnTo>
                  <a:pt x="1612790" y="3240598"/>
                </a:lnTo>
                <a:lnTo>
                  <a:pt x="1628973" y="3244721"/>
                </a:lnTo>
                <a:lnTo>
                  <a:pt x="1646108" y="3248845"/>
                </a:lnTo>
                <a:lnTo>
                  <a:pt x="1662608" y="3252652"/>
                </a:lnTo>
                <a:lnTo>
                  <a:pt x="1680060" y="3256141"/>
                </a:lnTo>
                <a:lnTo>
                  <a:pt x="1697195" y="3259313"/>
                </a:lnTo>
                <a:lnTo>
                  <a:pt x="1714964" y="3262485"/>
                </a:lnTo>
                <a:lnTo>
                  <a:pt x="1732733" y="3265657"/>
                </a:lnTo>
                <a:lnTo>
                  <a:pt x="1750820" y="3268195"/>
                </a:lnTo>
                <a:lnTo>
                  <a:pt x="1768907" y="3270416"/>
                </a:lnTo>
                <a:lnTo>
                  <a:pt x="1786993" y="3272636"/>
                </a:lnTo>
                <a:lnTo>
                  <a:pt x="1805715" y="3274857"/>
                </a:lnTo>
                <a:lnTo>
                  <a:pt x="1824119" y="3276443"/>
                </a:lnTo>
                <a:lnTo>
                  <a:pt x="1842840" y="3277394"/>
                </a:lnTo>
                <a:lnTo>
                  <a:pt x="1861561" y="3278663"/>
                </a:lnTo>
                <a:lnTo>
                  <a:pt x="1880283" y="3279615"/>
                </a:lnTo>
                <a:lnTo>
                  <a:pt x="1898687" y="3280249"/>
                </a:lnTo>
                <a:lnTo>
                  <a:pt x="1917725" y="3280566"/>
                </a:lnTo>
                <a:lnTo>
                  <a:pt x="1936129" y="3280566"/>
                </a:lnTo>
                <a:lnTo>
                  <a:pt x="1958658" y="3280566"/>
                </a:lnTo>
                <a:lnTo>
                  <a:pt x="1981187" y="3280249"/>
                </a:lnTo>
                <a:lnTo>
                  <a:pt x="2003399" y="3278980"/>
                </a:lnTo>
                <a:lnTo>
                  <a:pt x="2025928" y="3278029"/>
                </a:lnTo>
                <a:lnTo>
                  <a:pt x="2048140" y="3276443"/>
                </a:lnTo>
                <a:lnTo>
                  <a:pt x="2070034" y="3274222"/>
                </a:lnTo>
                <a:lnTo>
                  <a:pt x="2092246" y="3272002"/>
                </a:lnTo>
                <a:lnTo>
                  <a:pt x="2114458" y="3269464"/>
                </a:lnTo>
                <a:lnTo>
                  <a:pt x="2135718" y="3266609"/>
                </a:lnTo>
                <a:lnTo>
                  <a:pt x="2157295" y="3263437"/>
                </a:lnTo>
                <a:lnTo>
                  <a:pt x="2178237" y="3259313"/>
                </a:lnTo>
                <a:lnTo>
                  <a:pt x="2198545" y="3255507"/>
                </a:lnTo>
                <a:lnTo>
                  <a:pt x="2219170" y="3251066"/>
                </a:lnTo>
                <a:lnTo>
                  <a:pt x="2239161" y="3246307"/>
                </a:lnTo>
                <a:lnTo>
                  <a:pt x="2258517" y="3241232"/>
                </a:lnTo>
                <a:lnTo>
                  <a:pt x="2277555" y="3235839"/>
                </a:lnTo>
                <a:lnTo>
                  <a:pt x="2295959" y="3230130"/>
                </a:lnTo>
                <a:lnTo>
                  <a:pt x="2314046" y="3223785"/>
                </a:lnTo>
                <a:lnTo>
                  <a:pt x="2331498" y="3217441"/>
                </a:lnTo>
                <a:lnTo>
                  <a:pt x="2348316" y="3210780"/>
                </a:lnTo>
                <a:lnTo>
                  <a:pt x="2364498" y="3203801"/>
                </a:lnTo>
                <a:lnTo>
                  <a:pt x="2380047" y="3196188"/>
                </a:lnTo>
                <a:lnTo>
                  <a:pt x="2394643" y="3188575"/>
                </a:lnTo>
                <a:lnTo>
                  <a:pt x="2408605" y="3180645"/>
                </a:lnTo>
                <a:lnTo>
                  <a:pt x="2422249" y="3171763"/>
                </a:lnTo>
                <a:lnTo>
                  <a:pt x="2434307" y="3163198"/>
                </a:lnTo>
                <a:lnTo>
                  <a:pt x="2445730" y="3153999"/>
                </a:lnTo>
                <a:lnTo>
                  <a:pt x="2456518" y="3144800"/>
                </a:lnTo>
                <a:lnTo>
                  <a:pt x="2466355" y="3134966"/>
                </a:lnTo>
                <a:lnTo>
                  <a:pt x="2471115" y="3129574"/>
                </a:lnTo>
                <a:lnTo>
                  <a:pt x="2474922" y="3124498"/>
                </a:lnTo>
                <a:lnTo>
                  <a:pt x="2479365" y="3119423"/>
                </a:lnTo>
                <a:lnTo>
                  <a:pt x="2482855" y="3114347"/>
                </a:lnTo>
                <a:lnTo>
                  <a:pt x="2486346" y="3108955"/>
                </a:lnTo>
                <a:lnTo>
                  <a:pt x="2489519" y="3103562"/>
                </a:lnTo>
                <a:close/>
                <a:moveTo>
                  <a:pt x="201789" y="3100564"/>
                </a:moveTo>
                <a:lnTo>
                  <a:pt x="201084" y="3105812"/>
                </a:lnTo>
                <a:lnTo>
                  <a:pt x="200819" y="3107046"/>
                </a:lnTo>
                <a:lnTo>
                  <a:pt x="201084" y="3105194"/>
                </a:lnTo>
                <a:lnTo>
                  <a:pt x="201789" y="3100564"/>
                </a:lnTo>
                <a:close/>
                <a:moveTo>
                  <a:pt x="1260475" y="3095625"/>
                </a:moveTo>
                <a:lnTo>
                  <a:pt x="1262062" y="3101340"/>
                </a:lnTo>
                <a:lnTo>
                  <a:pt x="1263015" y="3106738"/>
                </a:lnTo>
                <a:lnTo>
                  <a:pt x="1263253" y="3110548"/>
                </a:lnTo>
                <a:lnTo>
                  <a:pt x="1262698" y="3106103"/>
                </a:lnTo>
                <a:lnTo>
                  <a:pt x="1261745" y="3100705"/>
                </a:lnTo>
                <a:lnTo>
                  <a:pt x="1260475" y="3095625"/>
                </a:lnTo>
                <a:close/>
                <a:moveTo>
                  <a:pt x="1746773" y="3094566"/>
                </a:moveTo>
                <a:lnTo>
                  <a:pt x="1746773" y="3198013"/>
                </a:lnTo>
                <a:lnTo>
                  <a:pt x="1764563" y="3200227"/>
                </a:lnTo>
                <a:lnTo>
                  <a:pt x="1782671" y="3202758"/>
                </a:lnTo>
                <a:lnTo>
                  <a:pt x="1800780" y="3204656"/>
                </a:lnTo>
                <a:lnTo>
                  <a:pt x="1819841" y="3206238"/>
                </a:lnTo>
                <a:lnTo>
                  <a:pt x="1819841" y="3102791"/>
                </a:lnTo>
                <a:lnTo>
                  <a:pt x="1800780" y="3101210"/>
                </a:lnTo>
                <a:lnTo>
                  <a:pt x="1782671" y="3099312"/>
                </a:lnTo>
                <a:lnTo>
                  <a:pt x="1764563" y="3097097"/>
                </a:lnTo>
                <a:lnTo>
                  <a:pt x="1746773" y="3094566"/>
                </a:lnTo>
                <a:close/>
                <a:moveTo>
                  <a:pt x="1600953" y="3061666"/>
                </a:moveTo>
                <a:lnTo>
                  <a:pt x="1600953" y="3166378"/>
                </a:lnTo>
                <a:lnTo>
                  <a:pt x="1618744" y="3171756"/>
                </a:lnTo>
                <a:lnTo>
                  <a:pt x="1636217" y="3176501"/>
                </a:lnTo>
                <a:lnTo>
                  <a:pt x="1654960" y="3180930"/>
                </a:lnTo>
                <a:lnTo>
                  <a:pt x="1673704" y="3185042"/>
                </a:lnTo>
                <a:lnTo>
                  <a:pt x="1673704" y="3080963"/>
                </a:lnTo>
                <a:lnTo>
                  <a:pt x="1654960" y="3076534"/>
                </a:lnTo>
                <a:lnTo>
                  <a:pt x="1636217" y="3071789"/>
                </a:lnTo>
                <a:lnTo>
                  <a:pt x="1618108" y="3066728"/>
                </a:lnTo>
                <a:lnTo>
                  <a:pt x="1600953" y="3061666"/>
                </a:lnTo>
                <a:close/>
                <a:moveTo>
                  <a:pt x="3151360" y="3046095"/>
                </a:moveTo>
                <a:lnTo>
                  <a:pt x="3151360" y="3160713"/>
                </a:lnTo>
                <a:lnTo>
                  <a:pt x="3174848" y="3161665"/>
                </a:lnTo>
                <a:lnTo>
                  <a:pt x="3198972" y="3161665"/>
                </a:lnTo>
                <a:lnTo>
                  <a:pt x="3231983" y="3161348"/>
                </a:lnTo>
                <a:lnTo>
                  <a:pt x="3231983" y="3046413"/>
                </a:lnTo>
                <a:lnTo>
                  <a:pt x="3198972" y="3046730"/>
                </a:lnTo>
                <a:lnTo>
                  <a:pt x="3174848" y="3046413"/>
                </a:lnTo>
                <a:lnTo>
                  <a:pt x="3151360" y="3046095"/>
                </a:lnTo>
                <a:close/>
                <a:moveTo>
                  <a:pt x="3815080" y="3040062"/>
                </a:moveTo>
                <a:lnTo>
                  <a:pt x="3816033" y="3047365"/>
                </a:lnTo>
                <a:lnTo>
                  <a:pt x="3816350" y="3054985"/>
                </a:lnTo>
                <a:lnTo>
                  <a:pt x="3816350" y="3206115"/>
                </a:lnTo>
                <a:lnTo>
                  <a:pt x="3816033" y="3206432"/>
                </a:lnTo>
                <a:lnTo>
                  <a:pt x="3815398" y="3214687"/>
                </a:lnTo>
                <a:lnTo>
                  <a:pt x="3814763" y="3220720"/>
                </a:lnTo>
                <a:lnTo>
                  <a:pt x="3813493" y="3226117"/>
                </a:lnTo>
                <a:lnTo>
                  <a:pt x="3811906" y="3231197"/>
                </a:lnTo>
                <a:lnTo>
                  <a:pt x="3810319" y="3236912"/>
                </a:lnTo>
                <a:lnTo>
                  <a:pt x="3808097" y="3242310"/>
                </a:lnTo>
                <a:lnTo>
                  <a:pt x="3805558" y="3248025"/>
                </a:lnTo>
                <a:lnTo>
                  <a:pt x="3803019" y="3253105"/>
                </a:lnTo>
                <a:lnTo>
                  <a:pt x="3799844" y="3258185"/>
                </a:lnTo>
                <a:lnTo>
                  <a:pt x="3796036" y="3263583"/>
                </a:lnTo>
                <a:lnTo>
                  <a:pt x="3792226" y="3268663"/>
                </a:lnTo>
                <a:lnTo>
                  <a:pt x="3788418" y="3274060"/>
                </a:lnTo>
                <a:lnTo>
                  <a:pt x="3783974" y="3278823"/>
                </a:lnTo>
                <a:lnTo>
                  <a:pt x="3779212" y="3283903"/>
                </a:lnTo>
                <a:lnTo>
                  <a:pt x="3774134" y="3288983"/>
                </a:lnTo>
                <a:lnTo>
                  <a:pt x="3768420" y="3293745"/>
                </a:lnTo>
                <a:lnTo>
                  <a:pt x="3763024" y="3298508"/>
                </a:lnTo>
                <a:lnTo>
                  <a:pt x="3750963" y="3307715"/>
                </a:lnTo>
                <a:lnTo>
                  <a:pt x="3737314" y="3317240"/>
                </a:lnTo>
                <a:lnTo>
                  <a:pt x="3722713" y="3326448"/>
                </a:lnTo>
                <a:lnTo>
                  <a:pt x="3707477" y="3335020"/>
                </a:lnTo>
                <a:lnTo>
                  <a:pt x="3690971" y="3343275"/>
                </a:lnTo>
                <a:lnTo>
                  <a:pt x="3673513" y="3351213"/>
                </a:lnTo>
                <a:lnTo>
                  <a:pt x="3655103" y="3359150"/>
                </a:lnTo>
                <a:lnTo>
                  <a:pt x="3635424" y="3366770"/>
                </a:lnTo>
                <a:lnTo>
                  <a:pt x="3615109" y="3373755"/>
                </a:lnTo>
                <a:lnTo>
                  <a:pt x="3593842" y="3380423"/>
                </a:lnTo>
                <a:lnTo>
                  <a:pt x="3571941" y="3386773"/>
                </a:lnTo>
                <a:lnTo>
                  <a:pt x="3549087" y="3392805"/>
                </a:lnTo>
                <a:lnTo>
                  <a:pt x="3525281" y="3398203"/>
                </a:lnTo>
                <a:lnTo>
                  <a:pt x="3501157" y="3403283"/>
                </a:lnTo>
                <a:lnTo>
                  <a:pt x="3476082" y="3408045"/>
                </a:lnTo>
                <a:lnTo>
                  <a:pt x="3450371" y="3411855"/>
                </a:lnTo>
                <a:lnTo>
                  <a:pt x="3424343" y="3415983"/>
                </a:lnTo>
                <a:lnTo>
                  <a:pt x="3397680" y="3419475"/>
                </a:lnTo>
                <a:lnTo>
                  <a:pt x="3370065" y="3422333"/>
                </a:lnTo>
                <a:lnTo>
                  <a:pt x="3341815" y="3424555"/>
                </a:lnTo>
                <a:lnTo>
                  <a:pt x="3313565" y="3426460"/>
                </a:lnTo>
                <a:lnTo>
                  <a:pt x="3284680" y="3427730"/>
                </a:lnTo>
                <a:lnTo>
                  <a:pt x="3255478" y="3428683"/>
                </a:lnTo>
                <a:lnTo>
                  <a:pt x="3225959" y="3429000"/>
                </a:lnTo>
                <a:lnTo>
                  <a:pt x="3195487" y="3428683"/>
                </a:lnTo>
                <a:lnTo>
                  <a:pt x="3165650" y="3427730"/>
                </a:lnTo>
                <a:lnTo>
                  <a:pt x="3136130" y="3426143"/>
                </a:lnTo>
                <a:lnTo>
                  <a:pt x="3106928" y="3424238"/>
                </a:lnTo>
                <a:lnTo>
                  <a:pt x="3078678" y="3422015"/>
                </a:lnTo>
                <a:lnTo>
                  <a:pt x="3050428" y="3418840"/>
                </a:lnTo>
                <a:lnTo>
                  <a:pt x="3022813" y="3415030"/>
                </a:lnTo>
                <a:lnTo>
                  <a:pt x="2996150" y="3411220"/>
                </a:lnTo>
                <a:lnTo>
                  <a:pt x="2970122" y="3406775"/>
                </a:lnTo>
                <a:lnTo>
                  <a:pt x="2944729" y="3402013"/>
                </a:lnTo>
                <a:lnTo>
                  <a:pt x="2919971" y="3396615"/>
                </a:lnTo>
                <a:lnTo>
                  <a:pt x="2895847" y="3390583"/>
                </a:lnTo>
                <a:lnTo>
                  <a:pt x="2872994" y="3384868"/>
                </a:lnTo>
                <a:lnTo>
                  <a:pt x="2850775" y="3378200"/>
                </a:lnTo>
                <a:lnTo>
                  <a:pt x="2829190" y="3370898"/>
                </a:lnTo>
                <a:lnTo>
                  <a:pt x="2808876" y="3363595"/>
                </a:lnTo>
                <a:lnTo>
                  <a:pt x="2789196" y="3355975"/>
                </a:lnTo>
                <a:lnTo>
                  <a:pt x="2770469" y="3347720"/>
                </a:lnTo>
                <a:lnTo>
                  <a:pt x="2753328" y="3339465"/>
                </a:lnTo>
                <a:lnTo>
                  <a:pt x="2736823" y="3330893"/>
                </a:lnTo>
                <a:lnTo>
                  <a:pt x="2721269" y="3321685"/>
                </a:lnTo>
                <a:lnTo>
                  <a:pt x="2706986" y="3312160"/>
                </a:lnTo>
                <a:lnTo>
                  <a:pt x="2693972" y="3302635"/>
                </a:lnTo>
                <a:lnTo>
                  <a:pt x="2688258" y="3297873"/>
                </a:lnTo>
                <a:lnTo>
                  <a:pt x="2682227" y="3292793"/>
                </a:lnTo>
                <a:lnTo>
                  <a:pt x="2676831" y="3287713"/>
                </a:lnTo>
                <a:lnTo>
                  <a:pt x="2671753" y="3282950"/>
                </a:lnTo>
                <a:lnTo>
                  <a:pt x="2666991" y="3277870"/>
                </a:lnTo>
                <a:lnTo>
                  <a:pt x="2662548" y="3272473"/>
                </a:lnTo>
                <a:lnTo>
                  <a:pt x="2658104" y="3267393"/>
                </a:lnTo>
                <a:lnTo>
                  <a:pt x="2654612" y="3261995"/>
                </a:lnTo>
                <a:lnTo>
                  <a:pt x="2651121" y="3256598"/>
                </a:lnTo>
                <a:lnTo>
                  <a:pt x="2647947" y="3251200"/>
                </a:lnTo>
                <a:lnTo>
                  <a:pt x="2645090" y="3245485"/>
                </a:lnTo>
                <a:lnTo>
                  <a:pt x="2642868" y="3240405"/>
                </a:lnTo>
                <a:lnTo>
                  <a:pt x="2640329" y="3234372"/>
                </a:lnTo>
                <a:lnTo>
                  <a:pt x="2638742" y="3228975"/>
                </a:lnTo>
                <a:lnTo>
                  <a:pt x="2637789" y="3223577"/>
                </a:lnTo>
                <a:lnTo>
                  <a:pt x="2636520" y="3217862"/>
                </a:lnTo>
                <a:lnTo>
                  <a:pt x="2636202" y="3212147"/>
                </a:lnTo>
                <a:lnTo>
                  <a:pt x="2635885" y="3206432"/>
                </a:lnTo>
                <a:lnTo>
                  <a:pt x="2635250" y="3206432"/>
                </a:lnTo>
                <a:lnTo>
                  <a:pt x="2635250" y="3097530"/>
                </a:lnTo>
                <a:lnTo>
                  <a:pt x="2646360" y="3105785"/>
                </a:lnTo>
                <a:lnTo>
                  <a:pt x="2657786" y="3114040"/>
                </a:lnTo>
                <a:lnTo>
                  <a:pt x="2670166" y="3121977"/>
                </a:lnTo>
                <a:lnTo>
                  <a:pt x="2683180" y="3129597"/>
                </a:lnTo>
                <a:lnTo>
                  <a:pt x="2696511" y="3136900"/>
                </a:lnTo>
                <a:lnTo>
                  <a:pt x="2710160" y="3144202"/>
                </a:lnTo>
                <a:lnTo>
                  <a:pt x="2724761" y="3151187"/>
                </a:lnTo>
                <a:lnTo>
                  <a:pt x="2740314" y="3157855"/>
                </a:lnTo>
                <a:lnTo>
                  <a:pt x="2755550" y="3164205"/>
                </a:lnTo>
                <a:lnTo>
                  <a:pt x="2771738" y="3170237"/>
                </a:lnTo>
                <a:lnTo>
                  <a:pt x="2788244" y="3176270"/>
                </a:lnTo>
                <a:lnTo>
                  <a:pt x="2805384" y="3181985"/>
                </a:lnTo>
                <a:lnTo>
                  <a:pt x="2822525" y="3187065"/>
                </a:lnTo>
                <a:lnTo>
                  <a:pt x="2840300" y="3192145"/>
                </a:lnTo>
                <a:lnTo>
                  <a:pt x="2858393" y="3196907"/>
                </a:lnTo>
                <a:lnTo>
                  <a:pt x="2877120" y="3201670"/>
                </a:lnTo>
                <a:lnTo>
                  <a:pt x="2895530" y="3205797"/>
                </a:lnTo>
                <a:lnTo>
                  <a:pt x="2914892" y="3209925"/>
                </a:lnTo>
                <a:lnTo>
                  <a:pt x="2934255" y="3213735"/>
                </a:lnTo>
                <a:lnTo>
                  <a:pt x="2953617" y="3217227"/>
                </a:lnTo>
                <a:lnTo>
                  <a:pt x="2973614" y="3220402"/>
                </a:lnTo>
                <a:lnTo>
                  <a:pt x="2993294" y="3222942"/>
                </a:lnTo>
                <a:lnTo>
                  <a:pt x="3013926" y="3225800"/>
                </a:lnTo>
                <a:lnTo>
                  <a:pt x="3033923" y="3228340"/>
                </a:lnTo>
                <a:lnTo>
                  <a:pt x="3054555" y="3230245"/>
                </a:lnTo>
                <a:lnTo>
                  <a:pt x="3074869" y="3232150"/>
                </a:lnTo>
                <a:lnTo>
                  <a:pt x="3095819" y="3233737"/>
                </a:lnTo>
                <a:lnTo>
                  <a:pt x="3116451" y="3235007"/>
                </a:lnTo>
                <a:lnTo>
                  <a:pt x="3137400" y="3235960"/>
                </a:lnTo>
                <a:lnTo>
                  <a:pt x="3158032" y="3236595"/>
                </a:lnTo>
                <a:lnTo>
                  <a:pt x="3178981" y="3237230"/>
                </a:lnTo>
                <a:lnTo>
                  <a:pt x="3199613" y="3237230"/>
                </a:lnTo>
                <a:lnTo>
                  <a:pt x="3224372" y="3236912"/>
                </a:lnTo>
                <a:lnTo>
                  <a:pt x="3249765" y="3236595"/>
                </a:lnTo>
                <a:lnTo>
                  <a:pt x="3274523" y="3235325"/>
                </a:lnTo>
                <a:lnTo>
                  <a:pt x="3299282" y="3234055"/>
                </a:lnTo>
                <a:lnTo>
                  <a:pt x="3324040" y="3232150"/>
                </a:lnTo>
                <a:lnTo>
                  <a:pt x="3348481" y="3230245"/>
                </a:lnTo>
                <a:lnTo>
                  <a:pt x="3372922" y="3227387"/>
                </a:lnTo>
                <a:lnTo>
                  <a:pt x="3397680" y="3224530"/>
                </a:lnTo>
                <a:lnTo>
                  <a:pt x="3421486" y="3221355"/>
                </a:lnTo>
                <a:lnTo>
                  <a:pt x="3445292" y="3217545"/>
                </a:lnTo>
                <a:lnTo>
                  <a:pt x="3468464" y="3213735"/>
                </a:lnTo>
                <a:lnTo>
                  <a:pt x="3491635" y="3208972"/>
                </a:lnTo>
                <a:lnTo>
                  <a:pt x="3514171" y="3204210"/>
                </a:lnTo>
                <a:lnTo>
                  <a:pt x="3536390" y="3199130"/>
                </a:lnTo>
                <a:lnTo>
                  <a:pt x="3557974" y="3193097"/>
                </a:lnTo>
                <a:lnTo>
                  <a:pt x="3579241" y="3187065"/>
                </a:lnTo>
                <a:lnTo>
                  <a:pt x="3599873" y="3180715"/>
                </a:lnTo>
                <a:lnTo>
                  <a:pt x="3619870" y="3174047"/>
                </a:lnTo>
                <a:lnTo>
                  <a:pt x="3639233" y="3167062"/>
                </a:lnTo>
                <a:lnTo>
                  <a:pt x="3657643" y="3159442"/>
                </a:lnTo>
                <a:lnTo>
                  <a:pt x="3676053" y="3151505"/>
                </a:lnTo>
                <a:lnTo>
                  <a:pt x="3692876" y="3143250"/>
                </a:lnTo>
                <a:lnTo>
                  <a:pt x="3709381" y="3134677"/>
                </a:lnTo>
                <a:lnTo>
                  <a:pt x="3724935" y="3125470"/>
                </a:lnTo>
                <a:lnTo>
                  <a:pt x="3739853" y="3116262"/>
                </a:lnTo>
                <a:lnTo>
                  <a:pt x="3753502" y="3106420"/>
                </a:lnTo>
                <a:lnTo>
                  <a:pt x="3766198" y="3096577"/>
                </a:lnTo>
                <a:lnTo>
                  <a:pt x="3772547" y="3090862"/>
                </a:lnTo>
                <a:lnTo>
                  <a:pt x="3777943" y="3085782"/>
                </a:lnTo>
                <a:lnTo>
                  <a:pt x="3783656" y="3080385"/>
                </a:lnTo>
                <a:lnTo>
                  <a:pt x="3789052" y="3074670"/>
                </a:lnTo>
                <a:lnTo>
                  <a:pt x="3793814" y="3069272"/>
                </a:lnTo>
                <a:lnTo>
                  <a:pt x="3798575" y="3063557"/>
                </a:lnTo>
                <a:lnTo>
                  <a:pt x="3803336" y="3057842"/>
                </a:lnTo>
                <a:lnTo>
                  <a:pt x="3807145" y="3051810"/>
                </a:lnTo>
                <a:lnTo>
                  <a:pt x="3811271" y="3045777"/>
                </a:lnTo>
                <a:lnTo>
                  <a:pt x="3815080" y="3040062"/>
                </a:lnTo>
                <a:close/>
                <a:moveTo>
                  <a:pt x="2989478" y="3031808"/>
                </a:moveTo>
                <a:lnTo>
                  <a:pt x="2989478" y="3147378"/>
                </a:lnTo>
                <a:lnTo>
                  <a:pt x="3009158" y="3149918"/>
                </a:lnTo>
                <a:lnTo>
                  <a:pt x="3029472" y="3152140"/>
                </a:lnTo>
                <a:lnTo>
                  <a:pt x="3049469" y="3154363"/>
                </a:lnTo>
                <a:lnTo>
                  <a:pt x="3070419" y="3155950"/>
                </a:lnTo>
                <a:lnTo>
                  <a:pt x="3070419" y="3041333"/>
                </a:lnTo>
                <a:lnTo>
                  <a:pt x="3049469" y="3039428"/>
                </a:lnTo>
                <a:lnTo>
                  <a:pt x="3029472" y="3036888"/>
                </a:lnTo>
                <a:lnTo>
                  <a:pt x="3009158" y="3034665"/>
                </a:lnTo>
                <a:lnTo>
                  <a:pt x="2989478" y="3031808"/>
                </a:lnTo>
                <a:close/>
                <a:moveTo>
                  <a:pt x="2402802" y="3022755"/>
                </a:moveTo>
                <a:lnTo>
                  <a:pt x="2397719" y="3026235"/>
                </a:lnTo>
                <a:lnTo>
                  <a:pt x="2391365" y="3029398"/>
                </a:lnTo>
                <a:lnTo>
                  <a:pt x="2383740" y="3032878"/>
                </a:lnTo>
                <a:lnTo>
                  <a:pt x="2376433" y="3036042"/>
                </a:lnTo>
                <a:lnTo>
                  <a:pt x="2360867" y="3042369"/>
                </a:lnTo>
                <a:lnTo>
                  <a:pt x="2347841" y="3047114"/>
                </a:lnTo>
                <a:lnTo>
                  <a:pt x="2347841" y="3137274"/>
                </a:lnTo>
                <a:lnTo>
                  <a:pt x="2355784" y="3133794"/>
                </a:lnTo>
                <a:lnTo>
                  <a:pt x="2363408" y="3129681"/>
                </a:lnTo>
                <a:lnTo>
                  <a:pt x="2371033" y="3125252"/>
                </a:lnTo>
                <a:lnTo>
                  <a:pt x="2378340" y="3120507"/>
                </a:lnTo>
                <a:lnTo>
                  <a:pt x="2385329" y="3115762"/>
                </a:lnTo>
                <a:lnTo>
                  <a:pt x="2391683" y="3111017"/>
                </a:lnTo>
                <a:lnTo>
                  <a:pt x="2397719" y="3106271"/>
                </a:lnTo>
                <a:lnTo>
                  <a:pt x="2402802" y="3101526"/>
                </a:lnTo>
                <a:lnTo>
                  <a:pt x="2402802" y="3022755"/>
                </a:lnTo>
                <a:close/>
                <a:moveTo>
                  <a:pt x="698500" y="3017837"/>
                </a:moveTo>
                <a:lnTo>
                  <a:pt x="698500" y="3086100"/>
                </a:lnTo>
                <a:lnTo>
                  <a:pt x="684586" y="3083595"/>
                </a:lnTo>
                <a:lnTo>
                  <a:pt x="667825" y="3079838"/>
                </a:lnTo>
                <a:lnTo>
                  <a:pt x="659920" y="3077959"/>
                </a:lnTo>
                <a:lnTo>
                  <a:pt x="652962" y="3076393"/>
                </a:lnTo>
                <a:lnTo>
                  <a:pt x="646321" y="3074201"/>
                </a:lnTo>
                <a:lnTo>
                  <a:pt x="640313" y="3071696"/>
                </a:lnTo>
                <a:lnTo>
                  <a:pt x="634305" y="3069191"/>
                </a:lnTo>
                <a:lnTo>
                  <a:pt x="629245" y="3065433"/>
                </a:lnTo>
                <a:lnTo>
                  <a:pt x="626082" y="3063555"/>
                </a:lnTo>
                <a:lnTo>
                  <a:pt x="623869" y="3061363"/>
                </a:lnTo>
                <a:lnTo>
                  <a:pt x="622288" y="3058545"/>
                </a:lnTo>
                <a:lnTo>
                  <a:pt x="620706" y="3056353"/>
                </a:lnTo>
                <a:lnTo>
                  <a:pt x="619441" y="3053534"/>
                </a:lnTo>
                <a:lnTo>
                  <a:pt x="619125" y="3051029"/>
                </a:lnTo>
                <a:lnTo>
                  <a:pt x="619125" y="3048524"/>
                </a:lnTo>
                <a:lnTo>
                  <a:pt x="619441" y="3046019"/>
                </a:lnTo>
                <a:lnTo>
                  <a:pt x="620390" y="3043514"/>
                </a:lnTo>
                <a:lnTo>
                  <a:pt x="621971" y="3041009"/>
                </a:lnTo>
                <a:lnTo>
                  <a:pt x="623553" y="3038817"/>
                </a:lnTo>
                <a:lnTo>
                  <a:pt x="625766" y="3036312"/>
                </a:lnTo>
                <a:lnTo>
                  <a:pt x="628296" y="3034433"/>
                </a:lnTo>
                <a:lnTo>
                  <a:pt x="631142" y="3032555"/>
                </a:lnTo>
                <a:lnTo>
                  <a:pt x="634937" y="3030676"/>
                </a:lnTo>
                <a:lnTo>
                  <a:pt x="638732" y="3029110"/>
                </a:lnTo>
                <a:lnTo>
                  <a:pt x="645057" y="3026605"/>
                </a:lnTo>
                <a:lnTo>
                  <a:pt x="651697" y="3024726"/>
                </a:lnTo>
                <a:lnTo>
                  <a:pt x="658655" y="3023161"/>
                </a:lnTo>
                <a:lnTo>
                  <a:pt x="666244" y="3021595"/>
                </a:lnTo>
                <a:lnTo>
                  <a:pt x="674150" y="3020342"/>
                </a:lnTo>
                <a:lnTo>
                  <a:pt x="682056" y="3019403"/>
                </a:lnTo>
                <a:lnTo>
                  <a:pt x="698500" y="3017837"/>
                </a:lnTo>
                <a:close/>
                <a:moveTo>
                  <a:pt x="2827597" y="2994977"/>
                </a:moveTo>
                <a:lnTo>
                  <a:pt x="2827597" y="3112135"/>
                </a:lnTo>
                <a:lnTo>
                  <a:pt x="2846959" y="3117850"/>
                </a:lnTo>
                <a:lnTo>
                  <a:pt x="2866956" y="3123248"/>
                </a:lnTo>
                <a:lnTo>
                  <a:pt x="2887588" y="3128010"/>
                </a:lnTo>
                <a:lnTo>
                  <a:pt x="2908220" y="3132773"/>
                </a:lnTo>
                <a:lnTo>
                  <a:pt x="2908220" y="3016885"/>
                </a:lnTo>
                <a:lnTo>
                  <a:pt x="2887588" y="3011805"/>
                </a:lnTo>
                <a:lnTo>
                  <a:pt x="2866956" y="3006725"/>
                </a:lnTo>
                <a:lnTo>
                  <a:pt x="2846959" y="3001010"/>
                </a:lnTo>
                <a:lnTo>
                  <a:pt x="2827597" y="2994977"/>
                </a:lnTo>
                <a:close/>
                <a:moveTo>
                  <a:pt x="1455133" y="2986375"/>
                </a:moveTo>
                <a:lnTo>
                  <a:pt x="1455133" y="3092352"/>
                </a:lnTo>
                <a:lnTo>
                  <a:pt x="1457675" y="3094883"/>
                </a:lnTo>
                <a:lnTo>
                  <a:pt x="1460216" y="3097730"/>
                </a:lnTo>
                <a:lnTo>
                  <a:pt x="1466888" y="3103741"/>
                </a:lnTo>
                <a:lnTo>
                  <a:pt x="1475466" y="3110068"/>
                </a:lnTo>
                <a:lnTo>
                  <a:pt x="1484679" y="3116078"/>
                </a:lnTo>
                <a:lnTo>
                  <a:pt x="1495162" y="3122405"/>
                </a:lnTo>
                <a:lnTo>
                  <a:pt x="1505964" y="3128732"/>
                </a:lnTo>
                <a:lnTo>
                  <a:pt x="1517083" y="3134743"/>
                </a:lnTo>
                <a:lnTo>
                  <a:pt x="1528202" y="3139804"/>
                </a:lnTo>
                <a:lnTo>
                  <a:pt x="1528202" y="3033195"/>
                </a:lnTo>
                <a:lnTo>
                  <a:pt x="1517083" y="3027817"/>
                </a:lnTo>
                <a:lnTo>
                  <a:pt x="1506917" y="3022122"/>
                </a:lnTo>
                <a:lnTo>
                  <a:pt x="1497068" y="3016428"/>
                </a:lnTo>
                <a:lnTo>
                  <a:pt x="1487538" y="3010734"/>
                </a:lnTo>
                <a:lnTo>
                  <a:pt x="1478960" y="3005039"/>
                </a:lnTo>
                <a:lnTo>
                  <a:pt x="1470700" y="2998712"/>
                </a:lnTo>
                <a:lnTo>
                  <a:pt x="1462758" y="2992702"/>
                </a:lnTo>
                <a:lnTo>
                  <a:pt x="1455133" y="2986375"/>
                </a:lnTo>
                <a:close/>
                <a:moveTo>
                  <a:pt x="711352" y="2965750"/>
                </a:moveTo>
                <a:lnTo>
                  <a:pt x="709129" y="2966067"/>
                </a:lnTo>
                <a:lnTo>
                  <a:pt x="706270" y="2966384"/>
                </a:lnTo>
                <a:lnTo>
                  <a:pt x="704047" y="2966702"/>
                </a:lnTo>
                <a:lnTo>
                  <a:pt x="701824" y="2967653"/>
                </a:lnTo>
                <a:lnTo>
                  <a:pt x="700236" y="2968288"/>
                </a:lnTo>
                <a:lnTo>
                  <a:pt x="699283" y="2969556"/>
                </a:lnTo>
                <a:lnTo>
                  <a:pt x="698330" y="2970191"/>
                </a:lnTo>
                <a:lnTo>
                  <a:pt x="698012" y="2971459"/>
                </a:lnTo>
                <a:lnTo>
                  <a:pt x="698012" y="2990491"/>
                </a:lnTo>
                <a:lnTo>
                  <a:pt x="683085" y="2991760"/>
                </a:lnTo>
                <a:lnTo>
                  <a:pt x="667839" y="2993346"/>
                </a:lnTo>
                <a:lnTo>
                  <a:pt x="653865" y="2995249"/>
                </a:lnTo>
                <a:lnTo>
                  <a:pt x="639890" y="2997786"/>
                </a:lnTo>
                <a:lnTo>
                  <a:pt x="626550" y="3000641"/>
                </a:lnTo>
                <a:lnTo>
                  <a:pt x="613846" y="3004130"/>
                </a:lnTo>
                <a:lnTo>
                  <a:pt x="602094" y="3007619"/>
                </a:lnTo>
                <a:lnTo>
                  <a:pt x="590978" y="3012060"/>
                </a:lnTo>
                <a:lnTo>
                  <a:pt x="583673" y="3015549"/>
                </a:lnTo>
                <a:lnTo>
                  <a:pt x="576368" y="3019355"/>
                </a:lnTo>
                <a:lnTo>
                  <a:pt x="570015" y="3023162"/>
                </a:lnTo>
                <a:lnTo>
                  <a:pt x="564616" y="3026968"/>
                </a:lnTo>
                <a:lnTo>
                  <a:pt x="559852" y="3031092"/>
                </a:lnTo>
                <a:lnTo>
                  <a:pt x="556041" y="3035215"/>
                </a:lnTo>
                <a:lnTo>
                  <a:pt x="552865" y="3039656"/>
                </a:lnTo>
                <a:lnTo>
                  <a:pt x="550324" y="3044096"/>
                </a:lnTo>
                <a:lnTo>
                  <a:pt x="548736" y="3048854"/>
                </a:lnTo>
                <a:lnTo>
                  <a:pt x="547783" y="3052978"/>
                </a:lnTo>
                <a:lnTo>
                  <a:pt x="547783" y="3057736"/>
                </a:lnTo>
                <a:lnTo>
                  <a:pt x="548736" y="3062176"/>
                </a:lnTo>
                <a:lnTo>
                  <a:pt x="550324" y="3066617"/>
                </a:lnTo>
                <a:lnTo>
                  <a:pt x="552865" y="3070741"/>
                </a:lnTo>
                <a:lnTo>
                  <a:pt x="556358" y="3075181"/>
                </a:lnTo>
                <a:lnTo>
                  <a:pt x="560805" y="3079622"/>
                </a:lnTo>
                <a:lnTo>
                  <a:pt x="564934" y="3083111"/>
                </a:lnTo>
                <a:lnTo>
                  <a:pt x="570015" y="3086917"/>
                </a:lnTo>
                <a:lnTo>
                  <a:pt x="576050" y="3090089"/>
                </a:lnTo>
                <a:lnTo>
                  <a:pt x="582720" y="3093578"/>
                </a:lnTo>
                <a:lnTo>
                  <a:pt x="589390" y="3096433"/>
                </a:lnTo>
                <a:lnTo>
                  <a:pt x="597012" y="3099288"/>
                </a:lnTo>
                <a:lnTo>
                  <a:pt x="605270" y="3101825"/>
                </a:lnTo>
                <a:lnTo>
                  <a:pt x="613528" y="3104046"/>
                </a:lnTo>
                <a:lnTo>
                  <a:pt x="645607" y="3110707"/>
                </a:lnTo>
                <a:lnTo>
                  <a:pt x="698012" y="3121808"/>
                </a:lnTo>
                <a:lnTo>
                  <a:pt x="698012" y="3203010"/>
                </a:lnTo>
                <a:lnTo>
                  <a:pt x="684673" y="3201424"/>
                </a:lnTo>
                <a:lnTo>
                  <a:pt x="672286" y="3199203"/>
                </a:lnTo>
                <a:lnTo>
                  <a:pt x="657993" y="3196983"/>
                </a:lnTo>
                <a:lnTo>
                  <a:pt x="643066" y="3193494"/>
                </a:lnTo>
                <a:lnTo>
                  <a:pt x="629409" y="3189370"/>
                </a:lnTo>
                <a:lnTo>
                  <a:pt x="617022" y="3185247"/>
                </a:lnTo>
                <a:lnTo>
                  <a:pt x="613846" y="3183978"/>
                </a:lnTo>
                <a:lnTo>
                  <a:pt x="610670" y="3182709"/>
                </a:lnTo>
                <a:lnTo>
                  <a:pt x="608129" y="3181441"/>
                </a:lnTo>
                <a:lnTo>
                  <a:pt x="608446" y="3181441"/>
                </a:lnTo>
                <a:lnTo>
                  <a:pt x="608129" y="3181123"/>
                </a:lnTo>
                <a:lnTo>
                  <a:pt x="604317" y="3179220"/>
                </a:lnTo>
                <a:lnTo>
                  <a:pt x="602412" y="3177951"/>
                </a:lnTo>
                <a:lnTo>
                  <a:pt x="600506" y="3177000"/>
                </a:lnTo>
                <a:lnTo>
                  <a:pt x="595424" y="3175731"/>
                </a:lnTo>
                <a:lnTo>
                  <a:pt x="590343" y="3174780"/>
                </a:lnTo>
                <a:lnTo>
                  <a:pt x="584308" y="3174780"/>
                </a:lnTo>
                <a:lnTo>
                  <a:pt x="578273" y="3175414"/>
                </a:lnTo>
                <a:lnTo>
                  <a:pt x="572556" y="3176048"/>
                </a:lnTo>
                <a:lnTo>
                  <a:pt x="566522" y="3177634"/>
                </a:lnTo>
                <a:lnTo>
                  <a:pt x="560805" y="3179220"/>
                </a:lnTo>
                <a:lnTo>
                  <a:pt x="555405" y="3181123"/>
                </a:lnTo>
                <a:lnTo>
                  <a:pt x="551277" y="3183661"/>
                </a:lnTo>
                <a:lnTo>
                  <a:pt x="547148" y="3185881"/>
                </a:lnTo>
                <a:lnTo>
                  <a:pt x="544607" y="3188736"/>
                </a:lnTo>
                <a:lnTo>
                  <a:pt x="543336" y="3190005"/>
                </a:lnTo>
                <a:lnTo>
                  <a:pt x="542383" y="3190956"/>
                </a:lnTo>
                <a:lnTo>
                  <a:pt x="542066" y="3192542"/>
                </a:lnTo>
                <a:lnTo>
                  <a:pt x="542066" y="3193811"/>
                </a:lnTo>
                <a:lnTo>
                  <a:pt x="542066" y="3195080"/>
                </a:lnTo>
                <a:lnTo>
                  <a:pt x="543019" y="3196031"/>
                </a:lnTo>
                <a:lnTo>
                  <a:pt x="543654" y="3197300"/>
                </a:lnTo>
                <a:lnTo>
                  <a:pt x="545242" y="3198569"/>
                </a:lnTo>
                <a:lnTo>
                  <a:pt x="550959" y="3202058"/>
                </a:lnTo>
                <a:lnTo>
                  <a:pt x="557629" y="3205547"/>
                </a:lnTo>
                <a:lnTo>
                  <a:pt x="564299" y="3208719"/>
                </a:lnTo>
                <a:lnTo>
                  <a:pt x="572239" y="3211891"/>
                </a:lnTo>
                <a:lnTo>
                  <a:pt x="580497" y="3214746"/>
                </a:lnTo>
                <a:lnTo>
                  <a:pt x="589072" y="3216966"/>
                </a:lnTo>
                <a:lnTo>
                  <a:pt x="598600" y="3219821"/>
                </a:lnTo>
                <a:lnTo>
                  <a:pt x="608446" y="3221724"/>
                </a:lnTo>
                <a:lnTo>
                  <a:pt x="618610" y="3223627"/>
                </a:lnTo>
                <a:lnTo>
                  <a:pt x="629409" y="3225847"/>
                </a:lnTo>
                <a:lnTo>
                  <a:pt x="651324" y="3229019"/>
                </a:lnTo>
                <a:lnTo>
                  <a:pt x="674192" y="3230923"/>
                </a:lnTo>
                <a:lnTo>
                  <a:pt x="698012" y="3232509"/>
                </a:lnTo>
                <a:lnTo>
                  <a:pt x="698012" y="3251223"/>
                </a:lnTo>
                <a:lnTo>
                  <a:pt x="698330" y="3252492"/>
                </a:lnTo>
                <a:lnTo>
                  <a:pt x="699283" y="3253443"/>
                </a:lnTo>
                <a:lnTo>
                  <a:pt x="700236" y="3254395"/>
                </a:lnTo>
                <a:lnTo>
                  <a:pt x="701824" y="3255346"/>
                </a:lnTo>
                <a:lnTo>
                  <a:pt x="704047" y="3255981"/>
                </a:lnTo>
                <a:lnTo>
                  <a:pt x="706270" y="3256298"/>
                </a:lnTo>
                <a:lnTo>
                  <a:pt x="709129" y="3256932"/>
                </a:lnTo>
                <a:lnTo>
                  <a:pt x="711352" y="3257249"/>
                </a:lnTo>
                <a:lnTo>
                  <a:pt x="758358" y="3257249"/>
                </a:lnTo>
                <a:lnTo>
                  <a:pt x="760581" y="3256932"/>
                </a:lnTo>
                <a:lnTo>
                  <a:pt x="763440" y="3256298"/>
                </a:lnTo>
                <a:lnTo>
                  <a:pt x="765345" y="3255981"/>
                </a:lnTo>
                <a:lnTo>
                  <a:pt x="767886" y="3255346"/>
                </a:lnTo>
                <a:lnTo>
                  <a:pt x="769474" y="3254395"/>
                </a:lnTo>
                <a:lnTo>
                  <a:pt x="770427" y="3253443"/>
                </a:lnTo>
                <a:lnTo>
                  <a:pt x="771380" y="3252492"/>
                </a:lnTo>
                <a:lnTo>
                  <a:pt x="771698" y="3251223"/>
                </a:lnTo>
                <a:lnTo>
                  <a:pt x="771698" y="3231874"/>
                </a:lnTo>
                <a:lnTo>
                  <a:pt x="786308" y="3230923"/>
                </a:lnTo>
                <a:lnTo>
                  <a:pt x="800600" y="3229654"/>
                </a:lnTo>
                <a:lnTo>
                  <a:pt x="814257" y="3228068"/>
                </a:lnTo>
                <a:lnTo>
                  <a:pt x="827279" y="3226165"/>
                </a:lnTo>
                <a:lnTo>
                  <a:pt x="839984" y="3223627"/>
                </a:lnTo>
                <a:lnTo>
                  <a:pt x="851418" y="3221090"/>
                </a:lnTo>
                <a:lnTo>
                  <a:pt x="862534" y="3217918"/>
                </a:lnTo>
                <a:lnTo>
                  <a:pt x="872062" y="3214746"/>
                </a:lnTo>
                <a:lnTo>
                  <a:pt x="880002" y="3211257"/>
                </a:lnTo>
                <a:lnTo>
                  <a:pt x="886990" y="3208085"/>
                </a:lnTo>
                <a:lnTo>
                  <a:pt x="893660" y="3204278"/>
                </a:lnTo>
                <a:lnTo>
                  <a:pt x="899694" y="3200472"/>
                </a:lnTo>
                <a:lnTo>
                  <a:pt x="904776" y="3196666"/>
                </a:lnTo>
                <a:lnTo>
                  <a:pt x="909540" y="3192542"/>
                </a:lnTo>
                <a:lnTo>
                  <a:pt x="913352" y="3188419"/>
                </a:lnTo>
                <a:lnTo>
                  <a:pt x="916528" y="3184295"/>
                </a:lnTo>
                <a:lnTo>
                  <a:pt x="919069" y="3179855"/>
                </a:lnTo>
                <a:lnTo>
                  <a:pt x="920657" y="3175414"/>
                </a:lnTo>
                <a:lnTo>
                  <a:pt x="921609" y="3170973"/>
                </a:lnTo>
                <a:lnTo>
                  <a:pt x="921927" y="3166533"/>
                </a:lnTo>
                <a:lnTo>
                  <a:pt x="921292" y="3161775"/>
                </a:lnTo>
                <a:lnTo>
                  <a:pt x="920021" y="3157651"/>
                </a:lnTo>
                <a:lnTo>
                  <a:pt x="917798" y="3153210"/>
                </a:lnTo>
                <a:lnTo>
                  <a:pt x="914622" y="3148453"/>
                </a:lnTo>
                <a:lnTo>
                  <a:pt x="912716" y="3146549"/>
                </a:lnTo>
                <a:lnTo>
                  <a:pt x="910493" y="3144012"/>
                </a:lnTo>
                <a:lnTo>
                  <a:pt x="905411" y="3139888"/>
                </a:lnTo>
                <a:lnTo>
                  <a:pt x="899059" y="3135765"/>
                </a:lnTo>
                <a:lnTo>
                  <a:pt x="892389" y="3132276"/>
                </a:lnTo>
                <a:lnTo>
                  <a:pt x="884449" y="3128787"/>
                </a:lnTo>
                <a:lnTo>
                  <a:pt x="876191" y="3125615"/>
                </a:lnTo>
                <a:lnTo>
                  <a:pt x="867298" y="3122443"/>
                </a:lnTo>
                <a:lnTo>
                  <a:pt x="857452" y="3119588"/>
                </a:lnTo>
                <a:lnTo>
                  <a:pt x="847606" y="3117051"/>
                </a:lnTo>
                <a:lnTo>
                  <a:pt x="836808" y="3114196"/>
                </a:lnTo>
                <a:lnTo>
                  <a:pt x="815528" y="3109438"/>
                </a:lnTo>
                <a:lnTo>
                  <a:pt x="793613" y="3104997"/>
                </a:lnTo>
                <a:lnTo>
                  <a:pt x="771698" y="3101191"/>
                </a:lnTo>
                <a:lnTo>
                  <a:pt x="771698" y="3019673"/>
                </a:lnTo>
                <a:lnTo>
                  <a:pt x="790754" y="3021893"/>
                </a:lnTo>
                <a:lnTo>
                  <a:pt x="797742" y="3023162"/>
                </a:lnTo>
                <a:lnTo>
                  <a:pt x="805047" y="3024748"/>
                </a:lnTo>
                <a:lnTo>
                  <a:pt x="819974" y="3028554"/>
                </a:lnTo>
                <a:lnTo>
                  <a:pt x="834584" y="3033312"/>
                </a:lnTo>
                <a:lnTo>
                  <a:pt x="846336" y="3037435"/>
                </a:lnTo>
                <a:lnTo>
                  <a:pt x="853006" y="3039973"/>
                </a:lnTo>
                <a:lnTo>
                  <a:pt x="855547" y="3041242"/>
                </a:lnTo>
                <a:lnTo>
                  <a:pt x="859358" y="3043779"/>
                </a:lnTo>
                <a:lnTo>
                  <a:pt x="861264" y="3044731"/>
                </a:lnTo>
                <a:lnTo>
                  <a:pt x="863169" y="3046000"/>
                </a:lnTo>
                <a:lnTo>
                  <a:pt x="867933" y="3047268"/>
                </a:lnTo>
                <a:lnTo>
                  <a:pt x="873650" y="3047903"/>
                </a:lnTo>
                <a:lnTo>
                  <a:pt x="879367" y="3048220"/>
                </a:lnTo>
                <a:lnTo>
                  <a:pt x="885402" y="3047586"/>
                </a:lnTo>
                <a:lnTo>
                  <a:pt x="891436" y="3046634"/>
                </a:lnTo>
                <a:lnTo>
                  <a:pt x="897153" y="3045682"/>
                </a:lnTo>
                <a:lnTo>
                  <a:pt x="902870" y="3043779"/>
                </a:lnTo>
                <a:lnTo>
                  <a:pt x="907952" y="3041559"/>
                </a:lnTo>
                <a:lnTo>
                  <a:pt x="912716" y="3039339"/>
                </a:lnTo>
                <a:lnTo>
                  <a:pt x="916528" y="3036801"/>
                </a:lnTo>
                <a:lnTo>
                  <a:pt x="919386" y="3034263"/>
                </a:lnTo>
                <a:lnTo>
                  <a:pt x="920657" y="3032995"/>
                </a:lnTo>
                <a:lnTo>
                  <a:pt x="921292" y="3031726"/>
                </a:lnTo>
                <a:lnTo>
                  <a:pt x="921609" y="3030140"/>
                </a:lnTo>
                <a:lnTo>
                  <a:pt x="921609" y="3029188"/>
                </a:lnTo>
                <a:lnTo>
                  <a:pt x="921292" y="3027920"/>
                </a:lnTo>
                <a:lnTo>
                  <a:pt x="920974" y="3026651"/>
                </a:lnTo>
                <a:lnTo>
                  <a:pt x="919704" y="3025382"/>
                </a:lnTo>
                <a:lnTo>
                  <a:pt x="918433" y="3024431"/>
                </a:lnTo>
                <a:lnTo>
                  <a:pt x="914304" y="3021576"/>
                </a:lnTo>
                <a:lnTo>
                  <a:pt x="909540" y="3018721"/>
                </a:lnTo>
                <a:lnTo>
                  <a:pt x="903823" y="3016501"/>
                </a:lnTo>
                <a:lnTo>
                  <a:pt x="898424" y="3013963"/>
                </a:lnTo>
                <a:lnTo>
                  <a:pt x="885402" y="3009205"/>
                </a:lnTo>
                <a:lnTo>
                  <a:pt x="871109" y="3005082"/>
                </a:lnTo>
                <a:lnTo>
                  <a:pt x="856182" y="3000958"/>
                </a:lnTo>
                <a:lnTo>
                  <a:pt x="840936" y="2997469"/>
                </a:lnTo>
                <a:lnTo>
                  <a:pt x="825374" y="2994614"/>
                </a:lnTo>
                <a:lnTo>
                  <a:pt x="810764" y="2992711"/>
                </a:lnTo>
                <a:lnTo>
                  <a:pt x="791389" y="2990808"/>
                </a:lnTo>
                <a:lnTo>
                  <a:pt x="771698" y="2989539"/>
                </a:lnTo>
                <a:lnTo>
                  <a:pt x="771698" y="2971459"/>
                </a:lnTo>
                <a:lnTo>
                  <a:pt x="771380" y="2970191"/>
                </a:lnTo>
                <a:lnTo>
                  <a:pt x="770427" y="2969556"/>
                </a:lnTo>
                <a:lnTo>
                  <a:pt x="769474" y="2968288"/>
                </a:lnTo>
                <a:lnTo>
                  <a:pt x="767886" y="2967653"/>
                </a:lnTo>
                <a:lnTo>
                  <a:pt x="765345" y="2966702"/>
                </a:lnTo>
                <a:lnTo>
                  <a:pt x="763440" y="2966384"/>
                </a:lnTo>
                <a:lnTo>
                  <a:pt x="760581" y="2966067"/>
                </a:lnTo>
                <a:lnTo>
                  <a:pt x="758358" y="2965750"/>
                </a:lnTo>
                <a:lnTo>
                  <a:pt x="711352" y="2965750"/>
                </a:lnTo>
                <a:close/>
                <a:moveTo>
                  <a:pt x="3717945" y="2951797"/>
                </a:moveTo>
                <a:lnTo>
                  <a:pt x="3711914" y="2955607"/>
                </a:lnTo>
                <a:lnTo>
                  <a:pt x="3704931" y="2959100"/>
                </a:lnTo>
                <a:lnTo>
                  <a:pt x="3696678" y="2963227"/>
                </a:lnTo>
                <a:lnTo>
                  <a:pt x="3688425" y="2966720"/>
                </a:lnTo>
                <a:lnTo>
                  <a:pt x="3671285" y="2973387"/>
                </a:lnTo>
                <a:lnTo>
                  <a:pt x="3656684" y="2979102"/>
                </a:lnTo>
                <a:lnTo>
                  <a:pt x="3656684" y="3080068"/>
                </a:lnTo>
                <a:lnTo>
                  <a:pt x="3665254" y="3075623"/>
                </a:lnTo>
                <a:lnTo>
                  <a:pt x="3674142" y="3070860"/>
                </a:lnTo>
                <a:lnTo>
                  <a:pt x="3682394" y="3066098"/>
                </a:lnTo>
                <a:lnTo>
                  <a:pt x="3690647" y="3061018"/>
                </a:lnTo>
                <a:lnTo>
                  <a:pt x="3698582" y="3055620"/>
                </a:lnTo>
                <a:lnTo>
                  <a:pt x="3705566" y="3050223"/>
                </a:lnTo>
                <a:lnTo>
                  <a:pt x="3711914" y="3044825"/>
                </a:lnTo>
                <a:lnTo>
                  <a:pt x="3717945" y="3040063"/>
                </a:lnTo>
                <a:lnTo>
                  <a:pt x="3717945" y="2951797"/>
                </a:lnTo>
                <a:close/>
                <a:moveTo>
                  <a:pt x="731996" y="2947987"/>
                </a:moveTo>
                <a:lnTo>
                  <a:pt x="755499" y="2948304"/>
                </a:lnTo>
                <a:lnTo>
                  <a:pt x="779003" y="2948939"/>
                </a:lnTo>
                <a:lnTo>
                  <a:pt x="801870" y="2949890"/>
                </a:lnTo>
                <a:lnTo>
                  <a:pt x="824103" y="2951476"/>
                </a:lnTo>
                <a:lnTo>
                  <a:pt x="846654" y="2953380"/>
                </a:lnTo>
                <a:lnTo>
                  <a:pt x="868569" y="2955283"/>
                </a:lnTo>
                <a:lnTo>
                  <a:pt x="889848" y="2958137"/>
                </a:lnTo>
                <a:lnTo>
                  <a:pt x="910493" y="2960992"/>
                </a:lnTo>
                <a:lnTo>
                  <a:pt x="930820" y="2964164"/>
                </a:lnTo>
                <a:lnTo>
                  <a:pt x="950512" y="2967970"/>
                </a:lnTo>
                <a:lnTo>
                  <a:pt x="969886" y="2971777"/>
                </a:lnTo>
                <a:lnTo>
                  <a:pt x="988308" y="2975900"/>
                </a:lnTo>
                <a:lnTo>
                  <a:pt x="1006411" y="2980658"/>
                </a:lnTo>
                <a:lnTo>
                  <a:pt x="1023880" y="2985416"/>
                </a:lnTo>
                <a:lnTo>
                  <a:pt x="1040396" y="2990491"/>
                </a:lnTo>
                <a:lnTo>
                  <a:pt x="1056594" y="2995883"/>
                </a:lnTo>
                <a:lnTo>
                  <a:pt x="1071521" y="3001593"/>
                </a:lnTo>
                <a:lnTo>
                  <a:pt x="1086131" y="3007302"/>
                </a:lnTo>
                <a:lnTo>
                  <a:pt x="1099471" y="3013646"/>
                </a:lnTo>
                <a:lnTo>
                  <a:pt x="1112493" y="3019990"/>
                </a:lnTo>
                <a:lnTo>
                  <a:pt x="1124562" y="3026651"/>
                </a:lnTo>
                <a:lnTo>
                  <a:pt x="1135678" y="3033629"/>
                </a:lnTo>
                <a:lnTo>
                  <a:pt x="1145842" y="3040925"/>
                </a:lnTo>
                <a:lnTo>
                  <a:pt x="1154735" y="3047903"/>
                </a:lnTo>
                <a:lnTo>
                  <a:pt x="1162993" y="3055515"/>
                </a:lnTo>
                <a:lnTo>
                  <a:pt x="1170298" y="3062811"/>
                </a:lnTo>
                <a:lnTo>
                  <a:pt x="1176650" y="3070741"/>
                </a:lnTo>
                <a:lnTo>
                  <a:pt x="1178873" y="3074864"/>
                </a:lnTo>
                <a:lnTo>
                  <a:pt x="1181732" y="3078670"/>
                </a:lnTo>
                <a:lnTo>
                  <a:pt x="1183638" y="3082794"/>
                </a:lnTo>
                <a:lnTo>
                  <a:pt x="1185543" y="3086600"/>
                </a:lnTo>
                <a:lnTo>
                  <a:pt x="1187131" y="3090406"/>
                </a:lnTo>
                <a:lnTo>
                  <a:pt x="1188402" y="3094847"/>
                </a:lnTo>
                <a:lnTo>
                  <a:pt x="1189672" y="3098653"/>
                </a:lnTo>
                <a:lnTo>
                  <a:pt x="1190307" y="3103094"/>
                </a:lnTo>
                <a:lnTo>
                  <a:pt x="1190625" y="3107535"/>
                </a:lnTo>
                <a:lnTo>
                  <a:pt x="1190625" y="3111341"/>
                </a:lnTo>
                <a:lnTo>
                  <a:pt x="1190625" y="3115782"/>
                </a:lnTo>
                <a:lnTo>
                  <a:pt x="1190307" y="3120223"/>
                </a:lnTo>
                <a:lnTo>
                  <a:pt x="1189672" y="3124029"/>
                </a:lnTo>
                <a:lnTo>
                  <a:pt x="1188402" y="3128470"/>
                </a:lnTo>
                <a:lnTo>
                  <a:pt x="1187131" y="3132276"/>
                </a:lnTo>
                <a:lnTo>
                  <a:pt x="1185543" y="3136399"/>
                </a:lnTo>
                <a:lnTo>
                  <a:pt x="1183638" y="3140523"/>
                </a:lnTo>
                <a:lnTo>
                  <a:pt x="1181732" y="3144646"/>
                </a:lnTo>
                <a:lnTo>
                  <a:pt x="1178873" y="3148453"/>
                </a:lnTo>
                <a:lnTo>
                  <a:pt x="1176650" y="3152259"/>
                </a:lnTo>
                <a:lnTo>
                  <a:pt x="1170298" y="3160189"/>
                </a:lnTo>
                <a:lnTo>
                  <a:pt x="1162993" y="3167801"/>
                </a:lnTo>
                <a:lnTo>
                  <a:pt x="1154735" y="3175414"/>
                </a:lnTo>
                <a:lnTo>
                  <a:pt x="1145842" y="3182392"/>
                </a:lnTo>
                <a:lnTo>
                  <a:pt x="1135678" y="3189370"/>
                </a:lnTo>
                <a:lnTo>
                  <a:pt x="1124562" y="3196031"/>
                </a:lnTo>
                <a:lnTo>
                  <a:pt x="1112493" y="3203010"/>
                </a:lnTo>
                <a:lnTo>
                  <a:pt x="1099471" y="3209671"/>
                </a:lnTo>
                <a:lnTo>
                  <a:pt x="1086131" y="3215380"/>
                </a:lnTo>
                <a:lnTo>
                  <a:pt x="1071521" y="3221407"/>
                </a:lnTo>
                <a:lnTo>
                  <a:pt x="1056594" y="3227433"/>
                </a:lnTo>
                <a:lnTo>
                  <a:pt x="1040396" y="3232509"/>
                </a:lnTo>
                <a:lnTo>
                  <a:pt x="1023880" y="3237584"/>
                </a:lnTo>
                <a:lnTo>
                  <a:pt x="1006411" y="3242659"/>
                </a:lnTo>
                <a:lnTo>
                  <a:pt x="988308" y="3247099"/>
                </a:lnTo>
                <a:lnTo>
                  <a:pt x="969886" y="3251223"/>
                </a:lnTo>
                <a:lnTo>
                  <a:pt x="950512" y="3255346"/>
                </a:lnTo>
                <a:lnTo>
                  <a:pt x="930820" y="3258835"/>
                </a:lnTo>
                <a:lnTo>
                  <a:pt x="910493" y="3262325"/>
                </a:lnTo>
                <a:lnTo>
                  <a:pt x="889848" y="3265179"/>
                </a:lnTo>
                <a:lnTo>
                  <a:pt x="868569" y="3268034"/>
                </a:lnTo>
                <a:lnTo>
                  <a:pt x="846654" y="3269937"/>
                </a:lnTo>
                <a:lnTo>
                  <a:pt x="824103" y="3271840"/>
                </a:lnTo>
                <a:lnTo>
                  <a:pt x="801870" y="3273426"/>
                </a:lnTo>
                <a:lnTo>
                  <a:pt x="779003" y="3274061"/>
                </a:lnTo>
                <a:lnTo>
                  <a:pt x="755499" y="3275012"/>
                </a:lnTo>
                <a:lnTo>
                  <a:pt x="731996" y="3275012"/>
                </a:lnTo>
                <a:lnTo>
                  <a:pt x="708176" y="3275012"/>
                </a:lnTo>
                <a:lnTo>
                  <a:pt x="684990" y="3274061"/>
                </a:lnTo>
                <a:lnTo>
                  <a:pt x="662122" y="3273426"/>
                </a:lnTo>
                <a:lnTo>
                  <a:pt x="639572" y="3271840"/>
                </a:lnTo>
                <a:lnTo>
                  <a:pt x="617022" y="3269937"/>
                </a:lnTo>
                <a:lnTo>
                  <a:pt x="595424" y="3268034"/>
                </a:lnTo>
                <a:lnTo>
                  <a:pt x="574144" y="3265179"/>
                </a:lnTo>
                <a:lnTo>
                  <a:pt x="553182" y="3262325"/>
                </a:lnTo>
                <a:lnTo>
                  <a:pt x="533173" y="3258835"/>
                </a:lnTo>
                <a:lnTo>
                  <a:pt x="513481" y="3255346"/>
                </a:lnTo>
                <a:lnTo>
                  <a:pt x="494107" y="3251223"/>
                </a:lnTo>
                <a:lnTo>
                  <a:pt x="475368" y="3247099"/>
                </a:lnTo>
                <a:lnTo>
                  <a:pt x="457264" y="3242659"/>
                </a:lnTo>
                <a:lnTo>
                  <a:pt x="439795" y="3237584"/>
                </a:lnTo>
                <a:lnTo>
                  <a:pt x="423280" y="3232509"/>
                </a:lnTo>
                <a:lnTo>
                  <a:pt x="407082" y="3227433"/>
                </a:lnTo>
                <a:lnTo>
                  <a:pt x="392154" y="3221407"/>
                </a:lnTo>
                <a:lnTo>
                  <a:pt x="377544" y="3215380"/>
                </a:lnTo>
                <a:lnTo>
                  <a:pt x="364204" y="3209671"/>
                </a:lnTo>
                <a:lnTo>
                  <a:pt x="351182" y="3203010"/>
                </a:lnTo>
                <a:lnTo>
                  <a:pt x="339431" y="3196031"/>
                </a:lnTo>
                <a:lnTo>
                  <a:pt x="328314" y="3189370"/>
                </a:lnTo>
                <a:lnTo>
                  <a:pt x="318151" y="3182392"/>
                </a:lnTo>
                <a:lnTo>
                  <a:pt x="308940" y="3175414"/>
                </a:lnTo>
                <a:lnTo>
                  <a:pt x="300682" y="3167801"/>
                </a:lnTo>
                <a:lnTo>
                  <a:pt x="293695" y="3160189"/>
                </a:lnTo>
                <a:lnTo>
                  <a:pt x="287343" y="3152259"/>
                </a:lnTo>
                <a:lnTo>
                  <a:pt x="284484" y="3148453"/>
                </a:lnTo>
                <a:lnTo>
                  <a:pt x="282261" y="3144646"/>
                </a:lnTo>
                <a:lnTo>
                  <a:pt x="280038" y="3140523"/>
                </a:lnTo>
                <a:lnTo>
                  <a:pt x="278132" y="3136399"/>
                </a:lnTo>
                <a:lnTo>
                  <a:pt x="276544" y="3132276"/>
                </a:lnTo>
                <a:lnTo>
                  <a:pt x="275274" y="3128470"/>
                </a:lnTo>
                <a:lnTo>
                  <a:pt x="274321" y="3124029"/>
                </a:lnTo>
                <a:lnTo>
                  <a:pt x="273368" y="3120223"/>
                </a:lnTo>
                <a:lnTo>
                  <a:pt x="273050" y="3115782"/>
                </a:lnTo>
                <a:lnTo>
                  <a:pt x="273050" y="3111341"/>
                </a:lnTo>
                <a:lnTo>
                  <a:pt x="273050" y="3107535"/>
                </a:lnTo>
                <a:lnTo>
                  <a:pt x="273368" y="3103094"/>
                </a:lnTo>
                <a:lnTo>
                  <a:pt x="274321" y="3098653"/>
                </a:lnTo>
                <a:lnTo>
                  <a:pt x="275274" y="3094847"/>
                </a:lnTo>
                <a:lnTo>
                  <a:pt x="276544" y="3090406"/>
                </a:lnTo>
                <a:lnTo>
                  <a:pt x="278132" y="3086600"/>
                </a:lnTo>
                <a:lnTo>
                  <a:pt x="280038" y="3082794"/>
                </a:lnTo>
                <a:lnTo>
                  <a:pt x="282261" y="3078670"/>
                </a:lnTo>
                <a:lnTo>
                  <a:pt x="284484" y="3074864"/>
                </a:lnTo>
                <a:lnTo>
                  <a:pt x="287343" y="3070741"/>
                </a:lnTo>
                <a:lnTo>
                  <a:pt x="293695" y="3062811"/>
                </a:lnTo>
                <a:lnTo>
                  <a:pt x="300682" y="3055515"/>
                </a:lnTo>
                <a:lnTo>
                  <a:pt x="308940" y="3047903"/>
                </a:lnTo>
                <a:lnTo>
                  <a:pt x="318151" y="3040925"/>
                </a:lnTo>
                <a:lnTo>
                  <a:pt x="328314" y="3033629"/>
                </a:lnTo>
                <a:lnTo>
                  <a:pt x="339431" y="3026651"/>
                </a:lnTo>
                <a:lnTo>
                  <a:pt x="351182" y="3019990"/>
                </a:lnTo>
                <a:lnTo>
                  <a:pt x="364204" y="3013646"/>
                </a:lnTo>
                <a:lnTo>
                  <a:pt x="377544" y="3007302"/>
                </a:lnTo>
                <a:lnTo>
                  <a:pt x="392154" y="3001593"/>
                </a:lnTo>
                <a:lnTo>
                  <a:pt x="407082" y="2995883"/>
                </a:lnTo>
                <a:lnTo>
                  <a:pt x="423280" y="2990491"/>
                </a:lnTo>
                <a:lnTo>
                  <a:pt x="439795" y="2985416"/>
                </a:lnTo>
                <a:lnTo>
                  <a:pt x="457264" y="2980658"/>
                </a:lnTo>
                <a:lnTo>
                  <a:pt x="475368" y="2975900"/>
                </a:lnTo>
                <a:lnTo>
                  <a:pt x="494107" y="2971777"/>
                </a:lnTo>
                <a:lnTo>
                  <a:pt x="513481" y="2967970"/>
                </a:lnTo>
                <a:lnTo>
                  <a:pt x="533173" y="2964164"/>
                </a:lnTo>
                <a:lnTo>
                  <a:pt x="553182" y="2960992"/>
                </a:lnTo>
                <a:lnTo>
                  <a:pt x="574144" y="2958137"/>
                </a:lnTo>
                <a:lnTo>
                  <a:pt x="595424" y="2955283"/>
                </a:lnTo>
                <a:lnTo>
                  <a:pt x="617022" y="2953380"/>
                </a:lnTo>
                <a:lnTo>
                  <a:pt x="639572" y="2951476"/>
                </a:lnTo>
                <a:lnTo>
                  <a:pt x="662122" y="2949890"/>
                </a:lnTo>
                <a:lnTo>
                  <a:pt x="684990" y="2948939"/>
                </a:lnTo>
                <a:lnTo>
                  <a:pt x="708176" y="2948304"/>
                </a:lnTo>
                <a:lnTo>
                  <a:pt x="731996" y="2947987"/>
                </a:lnTo>
                <a:close/>
                <a:moveTo>
                  <a:pt x="2665715" y="2911157"/>
                </a:moveTo>
                <a:lnTo>
                  <a:pt x="2665715" y="3029585"/>
                </a:lnTo>
                <a:lnTo>
                  <a:pt x="2668254" y="3032125"/>
                </a:lnTo>
                <a:lnTo>
                  <a:pt x="2671429" y="3035300"/>
                </a:lnTo>
                <a:lnTo>
                  <a:pt x="2678729" y="3041650"/>
                </a:lnTo>
                <a:lnTo>
                  <a:pt x="2687934" y="3048635"/>
                </a:lnTo>
                <a:lnTo>
                  <a:pt x="2698726" y="3055938"/>
                </a:lnTo>
                <a:lnTo>
                  <a:pt x="2710153" y="3063240"/>
                </a:lnTo>
                <a:lnTo>
                  <a:pt x="2722215" y="3070225"/>
                </a:lnTo>
                <a:lnTo>
                  <a:pt x="2734594" y="3076258"/>
                </a:lnTo>
                <a:lnTo>
                  <a:pt x="2746656" y="3082290"/>
                </a:lnTo>
                <a:lnTo>
                  <a:pt x="2746656" y="2963227"/>
                </a:lnTo>
                <a:lnTo>
                  <a:pt x="2734594" y="2957195"/>
                </a:lnTo>
                <a:lnTo>
                  <a:pt x="2723167" y="2951480"/>
                </a:lnTo>
                <a:lnTo>
                  <a:pt x="2712058" y="2945130"/>
                </a:lnTo>
                <a:lnTo>
                  <a:pt x="2701583" y="2938462"/>
                </a:lnTo>
                <a:lnTo>
                  <a:pt x="2691743" y="2932112"/>
                </a:lnTo>
                <a:lnTo>
                  <a:pt x="2682538" y="2925445"/>
                </a:lnTo>
                <a:lnTo>
                  <a:pt x="2673650" y="2918142"/>
                </a:lnTo>
                <a:lnTo>
                  <a:pt x="2665715" y="2911157"/>
                </a:lnTo>
                <a:close/>
                <a:moveTo>
                  <a:pt x="1404938" y="2890837"/>
                </a:moveTo>
                <a:lnTo>
                  <a:pt x="1408115" y="2896532"/>
                </a:lnTo>
                <a:lnTo>
                  <a:pt x="1411928" y="2901593"/>
                </a:lnTo>
                <a:lnTo>
                  <a:pt x="1415740" y="2906655"/>
                </a:lnTo>
                <a:lnTo>
                  <a:pt x="1419552" y="2911716"/>
                </a:lnTo>
                <a:lnTo>
                  <a:pt x="1424000" y="2916778"/>
                </a:lnTo>
                <a:lnTo>
                  <a:pt x="1428447" y="2922156"/>
                </a:lnTo>
                <a:lnTo>
                  <a:pt x="1438296" y="2931963"/>
                </a:lnTo>
                <a:lnTo>
                  <a:pt x="1448780" y="2941453"/>
                </a:lnTo>
                <a:lnTo>
                  <a:pt x="1460852" y="2950311"/>
                </a:lnTo>
                <a:lnTo>
                  <a:pt x="1472924" y="2958852"/>
                </a:lnTo>
                <a:lnTo>
                  <a:pt x="1486267" y="2967394"/>
                </a:lnTo>
                <a:lnTo>
                  <a:pt x="1500563" y="2975619"/>
                </a:lnTo>
                <a:lnTo>
                  <a:pt x="1515494" y="2983211"/>
                </a:lnTo>
                <a:lnTo>
                  <a:pt x="1531061" y="2990487"/>
                </a:lnTo>
                <a:lnTo>
                  <a:pt x="1547263" y="2997763"/>
                </a:lnTo>
                <a:lnTo>
                  <a:pt x="1564101" y="3004723"/>
                </a:lnTo>
                <a:lnTo>
                  <a:pt x="1581574" y="3010734"/>
                </a:lnTo>
                <a:lnTo>
                  <a:pt x="1599682" y="3017061"/>
                </a:lnTo>
                <a:lnTo>
                  <a:pt x="1618108" y="3022755"/>
                </a:lnTo>
                <a:lnTo>
                  <a:pt x="1637170" y="3028133"/>
                </a:lnTo>
                <a:lnTo>
                  <a:pt x="1656866" y="3033195"/>
                </a:lnTo>
                <a:lnTo>
                  <a:pt x="1676881" y="3037940"/>
                </a:lnTo>
                <a:lnTo>
                  <a:pt x="1697213" y="3042369"/>
                </a:lnTo>
                <a:lnTo>
                  <a:pt x="1718180" y="3046481"/>
                </a:lnTo>
                <a:lnTo>
                  <a:pt x="1738830" y="3050277"/>
                </a:lnTo>
                <a:lnTo>
                  <a:pt x="1760116" y="3053757"/>
                </a:lnTo>
                <a:lnTo>
                  <a:pt x="1782036" y="3056604"/>
                </a:lnTo>
                <a:lnTo>
                  <a:pt x="1803639" y="3059135"/>
                </a:lnTo>
                <a:lnTo>
                  <a:pt x="1825877" y="3061666"/>
                </a:lnTo>
                <a:lnTo>
                  <a:pt x="1847798" y="3063564"/>
                </a:lnTo>
                <a:lnTo>
                  <a:pt x="1870036" y="3065146"/>
                </a:lnTo>
                <a:lnTo>
                  <a:pt x="1891957" y="3066411"/>
                </a:lnTo>
                <a:lnTo>
                  <a:pt x="1914513" y="3067360"/>
                </a:lnTo>
                <a:lnTo>
                  <a:pt x="1936751" y="3067993"/>
                </a:lnTo>
                <a:lnTo>
                  <a:pt x="1959307" y="3067993"/>
                </a:lnTo>
                <a:lnTo>
                  <a:pt x="1978051" y="3067993"/>
                </a:lnTo>
                <a:lnTo>
                  <a:pt x="1996794" y="3067360"/>
                </a:lnTo>
                <a:lnTo>
                  <a:pt x="2015538" y="3067044"/>
                </a:lnTo>
                <a:lnTo>
                  <a:pt x="2034599" y="3065779"/>
                </a:lnTo>
                <a:lnTo>
                  <a:pt x="2053025" y="3064830"/>
                </a:lnTo>
                <a:lnTo>
                  <a:pt x="2071769" y="3063564"/>
                </a:lnTo>
                <a:lnTo>
                  <a:pt x="2090513" y="3061982"/>
                </a:lnTo>
                <a:lnTo>
                  <a:pt x="2108621" y="3060084"/>
                </a:lnTo>
                <a:lnTo>
                  <a:pt x="2127365" y="3058186"/>
                </a:lnTo>
                <a:lnTo>
                  <a:pt x="2145473" y="3055655"/>
                </a:lnTo>
                <a:lnTo>
                  <a:pt x="2163581" y="3052808"/>
                </a:lnTo>
                <a:lnTo>
                  <a:pt x="2181372" y="3050277"/>
                </a:lnTo>
                <a:lnTo>
                  <a:pt x="2199163" y="3047114"/>
                </a:lnTo>
                <a:lnTo>
                  <a:pt x="2216318" y="3043950"/>
                </a:lnTo>
                <a:lnTo>
                  <a:pt x="2233473" y="3040471"/>
                </a:lnTo>
                <a:lnTo>
                  <a:pt x="2250311" y="3036358"/>
                </a:lnTo>
                <a:lnTo>
                  <a:pt x="2266830" y="3032562"/>
                </a:lnTo>
                <a:lnTo>
                  <a:pt x="2283668" y="3028133"/>
                </a:lnTo>
                <a:lnTo>
                  <a:pt x="2299235" y="3023704"/>
                </a:lnTo>
                <a:lnTo>
                  <a:pt x="2315119" y="3018642"/>
                </a:lnTo>
                <a:lnTo>
                  <a:pt x="2330051" y="3013897"/>
                </a:lnTo>
                <a:lnTo>
                  <a:pt x="2344982" y="3008519"/>
                </a:lnTo>
                <a:lnTo>
                  <a:pt x="2359278" y="3003141"/>
                </a:lnTo>
                <a:lnTo>
                  <a:pt x="2373574" y="2997447"/>
                </a:lnTo>
                <a:lnTo>
                  <a:pt x="2386917" y="2991753"/>
                </a:lnTo>
                <a:lnTo>
                  <a:pt x="2399942" y="2985426"/>
                </a:lnTo>
                <a:lnTo>
                  <a:pt x="2412650" y="2979099"/>
                </a:lnTo>
                <a:lnTo>
                  <a:pt x="2424722" y="2972455"/>
                </a:lnTo>
                <a:lnTo>
                  <a:pt x="2436159" y="2965179"/>
                </a:lnTo>
                <a:lnTo>
                  <a:pt x="2446961" y="2958220"/>
                </a:lnTo>
                <a:lnTo>
                  <a:pt x="2457444" y="2950627"/>
                </a:lnTo>
                <a:lnTo>
                  <a:pt x="2466975" y="2943351"/>
                </a:lnTo>
                <a:lnTo>
                  <a:pt x="2466975" y="3039838"/>
                </a:lnTo>
                <a:lnTo>
                  <a:pt x="2466657" y="3040471"/>
                </a:lnTo>
                <a:lnTo>
                  <a:pt x="2466340" y="3048063"/>
                </a:lnTo>
                <a:lnTo>
                  <a:pt x="2466022" y="3052808"/>
                </a:lnTo>
                <a:lnTo>
                  <a:pt x="2464751" y="3058186"/>
                </a:lnTo>
                <a:lnTo>
                  <a:pt x="2463480" y="3062615"/>
                </a:lnTo>
                <a:lnTo>
                  <a:pt x="2461892" y="3067993"/>
                </a:lnTo>
                <a:lnTo>
                  <a:pt x="2459986" y="3072422"/>
                </a:lnTo>
                <a:lnTo>
                  <a:pt x="2457444" y="3077167"/>
                </a:lnTo>
                <a:lnTo>
                  <a:pt x="2455220" y="3081912"/>
                </a:lnTo>
                <a:lnTo>
                  <a:pt x="2452361" y="3086658"/>
                </a:lnTo>
                <a:lnTo>
                  <a:pt x="2449184" y="3091403"/>
                </a:lnTo>
                <a:lnTo>
                  <a:pt x="2445690" y="3096148"/>
                </a:lnTo>
                <a:lnTo>
                  <a:pt x="2441878" y="3100893"/>
                </a:lnTo>
                <a:lnTo>
                  <a:pt x="2437748" y="3105322"/>
                </a:lnTo>
                <a:lnTo>
                  <a:pt x="2429170" y="3114180"/>
                </a:lnTo>
                <a:lnTo>
                  <a:pt x="2419322" y="3123038"/>
                </a:lnTo>
                <a:lnTo>
                  <a:pt x="2408202" y="3131579"/>
                </a:lnTo>
                <a:lnTo>
                  <a:pt x="2396130" y="3139804"/>
                </a:lnTo>
                <a:lnTo>
                  <a:pt x="2383423" y="3147713"/>
                </a:lnTo>
                <a:lnTo>
                  <a:pt x="2369127" y="3155622"/>
                </a:lnTo>
                <a:lnTo>
                  <a:pt x="2354195" y="3162898"/>
                </a:lnTo>
                <a:lnTo>
                  <a:pt x="2338311" y="3170490"/>
                </a:lnTo>
                <a:lnTo>
                  <a:pt x="2321791" y="3177134"/>
                </a:lnTo>
                <a:lnTo>
                  <a:pt x="2304636" y="3183777"/>
                </a:lnTo>
                <a:lnTo>
                  <a:pt x="2285892" y="3190104"/>
                </a:lnTo>
                <a:lnTo>
                  <a:pt x="2266830" y="3196431"/>
                </a:lnTo>
                <a:lnTo>
                  <a:pt x="2247134" y="3201809"/>
                </a:lnTo>
                <a:lnTo>
                  <a:pt x="2226802" y="3207503"/>
                </a:lnTo>
                <a:lnTo>
                  <a:pt x="2205516" y="3212248"/>
                </a:lnTo>
                <a:lnTo>
                  <a:pt x="2183278" y="3216677"/>
                </a:lnTo>
                <a:lnTo>
                  <a:pt x="2160722" y="3221106"/>
                </a:lnTo>
                <a:lnTo>
                  <a:pt x="2137848" y="3224586"/>
                </a:lnTo>
                <a:lnTo>
                  <a:pt x="2114340" y="3228382"/>
                </a:lnTo>
                <a:lnTo>
                  <a:pt x="2089877" y="3231229"/>
                </a:lnTo>
                <a:lnTo>
                  <a:pt x="2065415" y="3233760"/>
                </a:lnTo>
                <a:lnTo>
                  <a:pt x="2040000" y="3235975"/>
                </a:lnTo>
                <a:lnTo>
                  <a:pt x="2014267" y="3237556"/>
                </a:lnTo>
                <a:lnTo>
                  <a:pt x="1988217" y="3238822"/>
                </a:lnTo>
                <a:lnTo>
                  <a:pt x="1962166" y="3239771"/>
                </a:lnTo>
                <a:lnTo>
                  <a:pt x="1935480" y="3240087"/>
                </a:lnTo>
                <a:lnTo>
                  <a:pt x="1908159" y="3239771"/>
                </a:lnTo>
                <a:lnTo>
                  <a:pt x="1881155" y="3238822"/>
                </a:lnTo>
                <a:lnTo>
                  <a:pt x="1854469" y="3237556"/>
                </a:lnTo>
                <a:lnTo>
                  <a:pt x="1828419" y="3235658"/>
                </a:lnTo>
                <a:lnTo>
                  <a:pt x="1803004" y="3233760"/>
                </a:lnTo>
                <a:lnTo>
                  <a:pt x="1777588" y="3230913"/>
                </a:lnTo>
                <a:lnTo>
                  <a:pt x="1752809" y="3227750"/>
                </a:lnTo>
                <a:lnTo>
                  <a:pt x="1728664" y="3224270"/>
                </a:lnTo>
                <a:lnTo>
                  <a:pt x="1705155" y="3220474"/>
                </a:lnTo>
                <a:lnTo>
                  <a:pt x="1682282" y="3215728"/>
                </a:lnTo>
                <a:lnTo>
                  <a:pt x="1660043" y="3210983"/>
                </a:lnTo>
                <a:lnTo>
                  <a:pt x="1638440" y="3205921"/>
                </a:lnTo>
                <a:lnTo>
                  <a:pt x="1617791" y="3200227"/>
                </a:lnTo>
                <a:lnTo>
                  <a:pt x="1597776" y="3194533"/>
                </a:lnTo>
                <a:lnTo>
                  <a:pt x="1578397" y="3188206"/>
                </a:lnTo>
                <a:lnTo>
                  <a:pt x="1559653" y="3181563"/>
                </a:lnTo>
                <a:lnTo>
                  <a:pt x="1542498" y="3174287"/>
                </a:lnTo>
                <a:lnTo>
                  <a:pt x="1525343" y="3167327"/>
                </a:lnTo>
                <a:lnTo>
                  <a:pt x="1509776" y="3159734"/>
                </a:lnTo>
                <a:lnTo>
                  <a:pt x="1495162" y="3151826"/>
                </a:lnTo>
                <a:lnTo>
                  <a:pt x="1481184" y="3143601"/>
                </a:lnTo>
                <a:lnTo>
                  <a:pt x="1468159" y="3135376"/>
                </a:lnTo>
                <a:lnTo>
                  <a:pt x="1456404" y="3126834"/>
                </a:lnTo>
                <a:lnTo>
                  <a:pt x="1445603" y="3117660"/>
                </a:lnTo>
                <a:lnTo>
                  <a:pt x="1440837" y="3113547"/>
                </a:lnTo>
                <a:lnTo>
                  <a:pt x="1436390" y="3108802"/>
                </a:lnTo>
                <a:lnTo>
                  <a:pt x="1431942" y="3104373"/>
                </a:lnTo>
                <a:lnTo>
                  <a:pt x="1428130" y="3099628"/>
                </a:lnTo>
                <a:lnTo>
                  <a:pt x="1424318" y="3094883"/>
                </a:lnTo>
                <a:lnTo>
                  <a:pt x="1420823" y="3090138"/>
                </a:lnTo>
                <a:lnTo>
                  <a:pt x="1417646" y="3085392"/>
                </a:lnTo>
                <a:lnTo>
                  <a:pt x="1415105" y="3080331"/>
                </a:lnTo>
                <a:lnTo>
                  <a:pt x="1412563" y="3075585"/>
                </a:lnTo>
                <a:lnTo>
                  <a:pt x="1410339" y="3070524"/>
                </a:lnTo>
                <a:lnTo>
                  <a:pt x="1408115" y="3065779"/>
                </a:lnTo>
                <a:lnTo>
                  <a:pt x="1407162" y="3060717"/>
                </a:lnTo>
                <a:lnTo>
                  <a:pt x="1405892" y="3055655"/>
                </a:lnTo>
                <a:lnTo>
                  <a:pt x="1404621" y="3050594"/>
                </a:lnTo>
                <a:lnTo>
                  <a:pt x="1404303" y="3045532"/>
                </a:lnTo>
                <a:lnTo>
                  <a:pt x="1404303" y="3040471"/>
                </a:lnTo>
                <a:lnTo>
                  <a:pt x="1403350" y="3040471"/>
                </a:lnTo>
                <a:lnTo>
                  <a:pt x="1403350" y="2909186"/>
                </a:lnTo>
                <a:lnTo>
                  <a:pt x="1403350" y="2905389"/>
                </a:lnTo>
                <a:lnTo>
                  <a:pt x="1403985" y="2898113"/>
                </a:lnTo>
                <a:lnTo>
                  <a:pt x="1404938" y="2890837"/>
                </a:lnTo>
                <a:close/>
                <a:moveTo>
                  <a:pt x="2609850" y="2805112"/>
                </a:moveTo>
                <a:lnTo>
                  <a:pt x="2613342" y="2810827"/>
                </a:lnTo>
                <a:lnTo>
                  <a:pt x="2617468" y="2816860"/>
                </a:lnTo>
                <a:lnTo>
                  <a:pt x="2621594" y="2822257"/>
                </a:lnTo>
                <a:lnTo>
                  <a:pt x="2626038" y="2828290"/>
                </a:lnTo>
                <a:lnTo>
                  <a:pt x="2631117" y="2833687"/>
                </a:lnTo>
                <a:lnTo>
                  <a:pt x="2635878" y="2839402"/>
                </a:lnTo>
                <a:lnTo>
                  <a:pt x="2641274" y="2844800"/>
                </a:lnTo>
                <a:lnTo>
                  <a:pt x="2646988" y="2850515"/>
                </a:lnTo>
                <a:lnTo>
                  <a:pt x="2658732" y="2860675"/>
                </a:lnTo>
                <a:lnTo>
                  <a:pt x="2671746" y="2870835"/>
                </a:lnTo>
                <a:lnTo>
                  <a:pt x="2685712" y="2880677"/>
                </a:lnTo>
                <a:lnTo>
                  <a:pt x="2700631" y="2889885"/>
                </a:lnTo>
                <a:lnTo>
                  <a:pt x="2715867" y="2898775"/>
                </a:lnTo>
                <a:lnTo>
                  <a:pt x="2732372" y="2907665"/>
                </a:lnTo>
                <a:lnTo>
                  <a:pt x="2749830" y="2915920"/>
                </a:lnTo>
                <a:lnTo>
                  <a:pt x="2767923" y="2923857"/>
                </a:lnTo>
                <a:lnTo>
                  <a:pt x="2786650" y="2931160"/>
                </a:lnTo>
                <a:lnTo>
                  <a:pt x="2805695" y="2938780"/>
                </a:lnTo>
                <a:lnTo>
                  <a:pt x="2826009" y="2945447"/>
                </a:lnTo>
                <a:lnTo>
                  <a:pt x="2846959" y="2951797"/>
                </a:lnTo>
                <a:lnTo>
                  <a:pt x="2867591" y="2957512"/>
                </a:lnTo>
                <a:lnTo>
                  <a:pt x="2889492" y="2963545"/>
                </a:lnTo>
                <a:lnTo>
                  <a:pt x="2912029" y="2968625"/>
                </a:lnTo>
                <a:lnTo>
                  <a:pt x="2934248" y="2973705"/>
                </a:lnTo>
                <a:lnTo>
                  <a:pt x="2957102" y="2978150"/>
                </a:lnTo>
                <a:lnTo>
                  <a:pt x="2980908" y="2982595"/>
                </a:lnTo>
                <a:lnTo>
                  <a:pt x="3004396" y="2986087"/>
                </a:lnTo>
                <a:lnTo>
                  <a:pt x="3028203" y="2989580"/>
                </a:lnTo>
                <a:lnTo>
                  <a:pt x="3052644" y="2992437"/>
                </a:lnTo>
                <a:lnTo>
                  <a:pt x="3077084" y="2994977"/>
                </a:lnTo>
                <a:lnTo>
                  <a:pt x="3101525" y="2997200"/>
                </a:lnTo>
                <a:lnTo>
                  <a:pt x="3125966" y="2999105"/>
                </a:lnTo>
                <a:lnTo>
                  <a:pt x="3150725" y="3000375"/>
                </a:lnTo>
                <a:lnTo>
                  <a:pt x="3175800" y="3001327"/>
                </a:lnTo>
                <a:lnTo>
                  <a:pt x="3200559" y="3001962"/>
                </a:lnTo>
                <a:lnTo>
                  <a:pt x="3225317" y="3002280"/>
                </a:lnTo>
                <a:lnTo>
                  <a:pt x="3246266" y="3002280"/>
                </a:lnTo>
                <a:lnTo>
                  <a:pt x="3267216" y="3001962"/>
                </a:lnTo>
                <a:lnTo>
                  <a:pt x="3288165" y="3001010"/>
                </a:lnTo>
                <a:lnTo>
                  <a:pt x="3308797" y="2999740"/>
                </a:lnTo>
                <a:lnTo>
                  <a:pt x="3329429" y="2998787"/>
                </a:lnTo>
                <a:lnTo>
                  <a:pt x="3350378" y="2997200"/>
                </a:lnTo>
                <a:lnTo>
                  <a:pt x="3371010" y="2995612"/>
                </a:lnTo>
                <a:lnTo>
                  <a:pt x="3391325" y="2993707"/>
                </a:lnTo>
                <a:lnTo>
                  <a:pt x="3411957" y="2991167"/>
                </a:lnTo>
                <a:lnTo>
                  <a:pt x="3431954" y="2988310"/>
                </a:lnTo>
                <a:lnTo>
                  <a:pt x="3451951" y="2985770"/>
                </a:lnTo>
                <a:lnTo>
                  <a:pt x="3471948" y="2982595"/>
                </a:lnTo>
                <a:lnTo>
                  <a:pt x="3491628" y="2979102"/>
                </a:lnTo>
                <a:lnTo>
                  <a:pt x="3510990" y="2975292"/>
                </a:lnTo>
                <a:lnTo>
                  <a:pt x="3530035" y="2971482"/>
                </a:lnTo>
                <a:lnTo>
                  <a:pt x="3548763" y="2967037"/>
                </a:lnTo>
                <a:lnTo>
                  <a:pt x="3567173" y="2962275"/>
                </a:lnTo>
                <a:lnTo>
                  <a:pt x="3585265" y="2957512"/>
                </a:lnTo>
                <a:lnTo>
                  <a:pt x="3603041" y="2953067"/>
                </a:lnTo>
                <a:lnTo>
                  <a:pt x="3620498" y="2947352"/>
                </a:lnTo>
                <a:lnTo>
                  <a:pt x="3637004" y="2941955"/>
                </a:lnTo>
                <a:lnTo>
                  <a:pt x="3653510" y="2935922"/>
                </a:lnTo>
                <a:lnTo>
                  <a:pt x="3669698" y="2929890"/>
                </a:lnTo>
                <a:lnTo>
                  <a:pt x="3685251" y="2923857"/>
                </a:lnTo>
                <a:lnTo>
                  <a:pt x="3700170" y="2916872"/>
                </a:lnTo>
                <a:lnTo>
                  <a:pt x="3714770" y="2909887"/>
                </a:lnTo>
                <a:lnTo>
                  <a:pt x="3728419" y="2902902"/>
                </a:lnTo>
                <a:lnTo>
                  <a:pt x="3741751" y="2895282"/>
                </a:lnTo>
                <a:lnTo>
                  <a:pt x="3754765" y="2887980"/>
                </a:lnTo>
                <a:lnTo>
                  <a:pt x="3767144" y="2880042"/>
                </a:lnTo>
                <a:lnTo>
                  <a:pt x="3778571" y="2871787"/>
                </a:lnTo>
                <a:lnTo>
                  <a:pt x="3789363" y="2863532"/>
                </a:lnTo>
                <a:lnTo>
                  <a:pt x="3789363" y="2971165"/>
                </a:lnTo>
                <a:lnTo>
                  <a:pt x="3788728" y="2971482"/>
                </a:lnTo>
                <a:lnTo>
                  <a:pt x="3788728" y="2975927"/>
                </a:lnTo>
                <a:lnTo>
                  <a:pt x="3788411" y="2980055"/>
                </a:lnTo>
                <a:lnTo>
                  <a:pt x="3787776" y="2985770"/>
                </a:lnTo>
                <a:lnTo>
                  <a:pt x="3786506" y="2991167"/>
                </a:lnTo>
                <a:lnTo>
                  <a:pt x="3785237" y="2996247"/>
                </a:lnTo>
                <a:lnTo>
                  <a:pt x="3783332" y="3001962"/>
                </a:lnTo>
                <a:lnTo>
                  <a:pt x="3781428" y="3007360"/>
                </a:lnTo>
                <a:lnTo>
                  <a:pt x="3778571" y="3012758"/>
                </a:lnTo>
                <a:lnTo>
                  <a:pt x="3775714" y="3018155"/>
                </a:lnTo>
                <a:lnTo>
                  <a:pt x="3772540" y="3023235"/>
                </a:lnTo>
                <a:lnTo>
                  <a:pt x="3769048" y="3028633"/>
                </a:lnTo>
                <a:lnTo>
                  <a:pt x="3765557" y="3033713"/>
                </a:lnTo>
                <a:lnTo>
                  <a:pt x="3761113" y="3038793"/>
                </a:lnTo>
                <a:lnTo>
                  <a:pt x="3756987" y="3043555"/>
                </a:lnTo>
                <a:lnTo>
                  <a:pt x="3752226" y="3048635"/>
                </a:lnTo>
                <a:lnTo>
                  <a:pt x="3747147" y="3054033"/>
                </a:lnTo>
                <a:lnTo>
                  <a:pt x="3741433" y="3058795"/>
                </a:lnTo>
                <a:lnTo>
                  <a:pt x="3736037" y="3063240"/>
                </a:lnTo>
                <a:lnTo>
                  <a:pt x="3723658" y="3072765"/>
                </a:lnTo>
                <a:lnTo>
                  <a:pt x="3710327" y="3082290"/>
                </a:lnTo>
                <a:lnTo>
                  <a:pt x="3696043" y="3090863"/>
                </a:lnTo>
                <a:lnTo>
                  <a:pt x="3680490" y="3099753"/>
                </a:lnTo>
                <a:lnTo>
                  <a:pt x="3663667" y="3108325"/>
                </a:lnTo>
                <a:lnTo>
                  <a:pt x="3646526" y="3116263"/>
                </a:lnTo>
                <a:lnTo>
                  <a:pt x="3627799" y="3124200"/>
                </a:lnTo>
                <a:lnTo>
                  <a:pt x="3608754" y="3131503"/>
                </a:lnTo>
                <a:lnTo>
                  <a:pt x="3588122" y="3138170"/>
                </a:lnTo>
                <a:lnTo>
                  <a:pt x="3566855" y="3145155"/>
                </a:lnTo>
                <a:lnTo>
                  <a:pt x="3544636" y="3151188"/>
                </a:lnTo>
                <a:lnTo>
                  <a:pt x="3522417" y="3157538"/>
                </a:lnTo>
                <a:lnTo>
                  <a:pt x="3498611" y="3163253"/>
                </a:lnTo>
                <a:lnTo>
                  <a:pt x="3474170" y="3168333"/>
                </a:lnTo>
                <a:lnTo>
                  <a:pt x="3449412" y="3172778"/>
                </a:lnTo>
                <a:lnTo>
                  <a:pt x="3423701" y="3176905"/>
                </a:lnTo>
                <a:lnTo>
                  <a:pt x="3397356" y="3181033"/>
                </a:lnTo>
                <a:lnTo>
                  <a:pt x="3370376" y="3184208"/>
                </a:lnTo>
                <a:lnTo>
                  <a:pt x="3343395" y="3187383"/>
                </a:lnTo>
                <a:lnTo>
                  <a:pt x="3315146" y="3189605"/>
                </a:lnTo>
                <a:lnTo>
                  <a:pt x="3286896" y="3191193"/>
                </a:lnTo>
                <a:lnTo>
                  <a:pt x="3258011" y="3192780"/>
                </a:lnTo>
                <a:lnTo>
                  <a:pt x="3228491" y="3193415"/>
                </a:lnTo>
                <a:lnTo>
                  <a:pt x="3198972" y="3194050"/>
                </a:lnTo>
                <a:lnTo>
                  <a:pt x="3168500" y="3193415"/>
                </a:lnTo>
                <a:lnTo>
                  <a:pt x="3138663" y="3192780"/>
                </a:lnTo>
                <a:lnTo>
                  <a:pt x="3109143" y="3191193"/>
                </a:lnTo>
                <a:lnTo>
                  <a:pt x="3080259" y="3189288"/>
                </a:lnTo>
                <a:lnTo>
                  <a:pt x="3051374" y="3186748"/>
                </a:lnTo>
                <a:lnTo>
                  <a:pt x="3023441" y="3183573"/>
                </a:lnTo>
                <a:lnTo>
                  <a:pt x="2996144" y="3180080"/>
                </a:lnTo>
                <a:lnTo>
                  <a:pt x="2969481" y="3176270"/>
                </a:lnTo>
                <a:lnTo>
                  <a:pt x="2943453" y="3171825"/>
                </a:lnTo>
                <a:lnTo>
                  <a:pt x="2917742" y="3167063"/>
                </a:lnTo>
                <a:lnTo>
                  <a:pt x="2892984" y="3161665"/>
                </a:lnTo>
                <a:lnTo>
                  <a:pt x="2869178" y="3155633"/>
                </a:lnTo>
                <a:lnTo>
                  <a:pt x="2846007" y="3149918"/>
                </a:lnTo>
                <a:lnTo>
                  <a:pt x="2823470" y="3142933"/>
                </a:lnTo>
                <a:lnTo>
                  <a:pt x="2802203" y="3135948"/>
                </a:lnTo>
                <a:lnTo>
                  <a:pt x="2781889" y="3128328"/>
                </a:lnTo>
                <a:lnTo>
                  <a:pt x="2762527" y="3121025"/>
                </a:lnTo>
                <a:lnTo>
                  <a:pt x="2743799" y="3112770"/>
                </a:lnTo>
                <a:lnTo>
                  <a:pt x="2726024" y="3104515"/>
                </a:lnTo>
                <a:lnTo>
                  <a:pt x="2709518" y="3095625"/>
                </a:lnTo>
                <a:lnTo>
                  <a:pt x="2694600" y="3086735"/>
                </a:lnTo>
                <a:lnTo>
                  <a:pt x="2679999" y="3077210"/>
                </a:lnTo>
                <a:lnTo>
                  <a:pt x="2666985" y="3067685"/>
                </a:lnTo>
                <a:lnTo>
                  <a:pt x="2660954" y="3062923"/>
                </a:lnTo>
                <a:lnTo>
                  <a:pt x="2655240" y="3057843"/>
                </a:lnTo>
                <a:lnTo>
                  <a:pt x="2650162" y="3052763"/>
                </a:lnTo>
                <a:lnTo>
                  <a:pt x="2645083" y="3048000"/>
                </a:lnTo>
                <a:lnTo>
                  <a:pt x="2639687" y="3042603"/>
                </a:lnTo>
                <a:lnTo>
                  <a:pt x="2635561" y="3037205"/>
                </a:lnTo>
                <a:lnTo>
                  <a:pt x="2631434" y="3032125"/>
                </a:lnTo>
                <a:lnTo>
                  <a:pt x="2627625" y="3027045"/>
                </a:lnTo>
                <a:lnTo>
                  <a:pt x="2624134" y="3021648"/>
                </a:lnTo>
                <a:lnTo>
                  <a:pt x="2620960" y="3015933"/>
                </a:lnTo>
                <a:lnTo>
                  <a:pt x="2618103" y="3010535"/>
                </a:lnTo>
                <a:lnTo>
                  <a:pt x="2615881" y="3005137"/>
                </a:lnTo>
                <a:lnTo>
                  <a:pt x="2613659" y="2999422"/>
                </a:lnTo>
                <a:lnTo>
                  <a:pt x="2612072" y="2994025"/>
                </a:lnTo>
                <a:lnTo>
                  <a:pt x="2610485" y="2988310"/>
                </a:lnTo>
                <a:lnTo>
                  <a:pt x="2609850" y="2982912"/>
                </a:lnTo>
                <a:lnTo>
                  <a:pt x="2609215" y="2976880"/>
                </a:lnTo>
                <a:lnTo>
                  <a:pt x="2609215" y="2971482"/>
                </a:lnTo>
                <a:lnTo>
                  <a:pt x="2608580" y="2971482"/>
                </a:lnTo>
                <a:lnTo>
                  <a:pt x="2608580" y="2825115"/>
                </a:lnTo>
                <a:lnTo>
                  <a:pt x="2608263" y="2821305"/>
                </a:lnTo>
                <a:lnTo>
                  <a:pt x="2608580" y="2812732"/>
                </a:lnTo>
                <a:lnTo>
                  <a:pt x="2609850" y="2805112"/>
                </a:lnTo>
                <a:close/>
                <a:moveTo>
                  <a:pt x="3151360" y="2793804"/>
                </a:moveTo>
                <a:lnTo>
                  <a:pt x="3151360" y="2908645"/>
                </a:lnTo>
                <a:lnTo>
                  <a:pt x="3174848" y="2908962"/>
                </a:lnTo>
                <a:lnTo>
                  <a:pt x="3198972" y="2909280"/>
                </a:lnTo>
                <a:lnTo>
                  <a:pt x="3231983" y="2908962"/>
                </a:lnTo>
                <a:lnTo>
                  <a:pt x="3231983" y="2794121"/>
                </a:lnTo>
                <a:lnTo>
                  <a:pt x="3198972" y="2794755"/>
                </a:lnTo>
                <a:lnTo>
                  <a:pt x="3174848" y="2794121"/>
                </a:lnTo>
                <a:lnTo>
                  <a:pt x="3151360" y="2793804"/>
                </a:lnTo>
                <a:close/>
                <a:moveTo>
                  <a:pt x="2989478" y="2779528"/>
                </a:moveTo>
                <a:lnTo>
                  <a:pt x="2989478" y="2894687"/>
                </a:lnTo>
                <a:lnTo>
                  <a:pt x="3009158" y="2897542"/>
                </a:lnTo>
                <a:lnTo>
                  <a:pt x="3029472" y="2899762"/>
                </a:lnTo>
                <a:lnTo>
                  <a:pt x="3049469" y="2902300"/>
                </a:lnTo>
                <a:lnTo>
                  <a:pt x="3070419" y="2903887"/>
                </a:lnTo>
                <a:lnTo>
                  <a:pt x="3070419" y="2789045"/>
                </a:lnTo>
                <a:lnTo>
                  <a:pt x="3049469" y="2787142"/>
                </a:lnTo>
                <a:lnTo>
                  <a:pt x="3029472" y="2784921"/>
                </a:lnTo>
                <a:lnTo>
                  <a:pt x="3009158" y="2782383"/>
                </a:lnTo>
                <a:lnTo>
                  <a:pt x="2989478" y="2779528"/>
                </a:lnTo>
                <a:close/>
                <a:moveTo>
                  <a:pt x="2827597" y="2743045"/>
                </a:moveTo>
                <a:lnTo>
                  <a:pt x="2827597" y="2859790"/>
                </a:lnTo>
                <a:lnTo>
                  <a:pt x="2846959" y="2865500"/>
                </a:lnTo>
                <a:lnTo>
                  <a:pt x="2866956" y="2870576"/>
                </a:lnTo>
                <a:lnTo>
                  <a:pt x="2887588" y="2875969"/>
                </a:lnTo>
                <a:lnTo>
                  <a:pt x="2908220" y="2880411"/>
                </a:lnTo>
                <a:lnTo>
                  <a:pt x="2908220" y="2764618"/>
                </a:lnTo>
                <a:lnTo>
                  <a:pt x="2887588" y="2759542"/>
                </a:lnTo>
                <a:lnTo>
                  <a:pt x="2866956" y="2754466"/>
                </a:lnTo>
                <a:lnTo>
                  <a:pt x="2846959" y="2748755"/>
                </a:lnTo>
                <a:lnTo>
                  <a:pt x="2827597" y="2743045"/>
                </a:lnTo>
                <a:close/>
                <a:moveTo>
                  <a:pt x="1998663" y="2711450"/>
                </a:moveTo>
                <a:lnTo>
                  <a:pt x="2032589" y="2718179"/>
                </a:lnTo>
                <a:lnTo>
                  <a:pt x="2039311" y="2719781"/>
                </a:lnTo>
                <a:lnTo>
                  <a:pt x="2045072" y="2721383"/>
                </a:lnTo>
                <a:lnTo>
                  <a:pt x="2050513" y="2723306"/>
                </a:lnTo>
                <a:lnTo>
                  <a:pt x="2054674" y="2725228"/>
                </a:lnTo>
                <a:lnTo>
                  <a:pt x="2058834" y="2727791"/>
                </a:lnTo>
                <a:lnTo>
                  <a:pt x="2062675" y="2730034"/>
                </a:lnTo>
                <a:lnTo>
                  <a:pt x="2069716" y="2735161"/>
                </a:lnTo>
                <a:lnTo>
                  <a:pt x="2072597" y="2738045"/>
                </a:lnTo>
                <a:lnTo>
                  <a:pt x="2074517" y="2740287"/>
                </a:lnTo>
                <a:lnTo>
                  <a:pt x="2076118" y="2742851"/>
                </a:lnTo>
                <a:lnTo>
                  <a:pt x="2077398" y="2745734"/>
                </a:lnTo>
                <a:lnTo>
                  <a:pt x="2078038" y="2747977"/>
                </a:lnTo>
                <a:lnTo>
                  <a:pt x="2078038" y="2750861"/>
                </a:lnTo>
                <a:lnTo>
                  <a:pt x="2077718" y="2753104"/>
                </a:lnTo>
                <a:lnTo>
                  <a:pt x="2077078" y="2755988"/>
                </a:lnTo>
                <a:lnTo>
                  <a:pt x="2075478" y="2758231"/>
                </a:lnTo>
                <a:lnTo>
                  <a:pt x="2073877" y="2760794"/>
                </a:lnTo>
                <a:lnTo>
                  <a:pt x="2071317" y="2763037"/>
                </a:lnTo>
                <a:lnTo>
                  <a:pt x="2068756" y="2764959"/>
                </a:lnTo>
                <a:lnTo>
                  <a:pt x="2065876" y="2767522"/>
                </a:lnTo>
                <a:lnTo>
                  <a:pt x="2062355" y="2769445"/>
                </a:lnTo>
                <a:lnTo>
                  <a:pt x="2058194" y="2771047"/>
                </a:lnTo>
                <a:lnTo>
                  <a:pt x="2054354" y="2772649"/>
                </a:lnTo>
                <a:lnTo>
                  <a:pt x="2048272" y="2774572"/>
                </a:lnTo>
                <a:lnTo>
                  <a:pt x="2041871" y="2776174"/>
                </a:lnTo>
                <a:lnTo>
                  <a:pt x="2035790" y="2777776"/>
                </a:lnTo>
                <a:lnTo>
                  <a:pt x="2028429" y="2779057"/>
                </a:lnTo>
                <a:lnTo>
                  <a:pt x="2014026" y="2780659"/>
                </a:lnTo>
                <a:lnTo>
                  <a:pt x="1998663" y="2781300"/>
                </a:lnTo>
                <a:lnTo>
                  <a:pt x="1998663" y="2711450"/>
                </a:lnTo>
                <a:close/>
                <a:moveTo>
                  <a:pt x="3717945" y="2699583"/>
                </a:moveTo>
                <a:lnTo>
                  <a:pt x="3711914" y="2703073"/>
                </a:lnTo>
                <a:lnTo>
                  <a:pt x="3704931" y="2707197"/>
                </a:lnTo>
                <a:lnTo>
                  <a:pt x="3696678" y="2710686"/>
                </a:lnTo>
                <a:lnTo>
                  <a:pt x="3688425" y="2714493"/>
                </a:lnTo>
                <a:lnTo>
                  <a:pt x="3671285" y="2721155"/>
                </a:lnTo>
                <a:lnTo>
                  <a:pt x="3656684" y="2726866"/>
                </a:lnTo>
                <a:lnTo>
                  <a:pt x="3656684" y="2827749"/>
                </a:lnTo>
                <a:lnTo>
                  <a:pt x="3665254" y="2823307"/>
                </a:lnTo>
                <a:lnTo>
                  <a:pt x="3674142" y="2818549"/>
                </a:lnTo>
                <a:lnTo>
                  <a:pt x="3682394" y="2813790"/>
                </a:lnTo>
                <a:lnTo>
                  <a:pt x="3690647" y="2808714"/>
                </a:lnTo>
                <a:lnTo>
                  <a:pt x="3698582" y="2803321"/>
                </a:lnTo>
                <a:lnTo>
                  <a:pt x="3705566" y="2798245"/>
                </a:lnTo>
                <a:lnTo>
                  <a:pt x="3711914" y="2792535"/>
                </a:lnTo>
                <a:lnTo>
                  <a:pt x="3717945" y="2787776"/>
                </a:lnTo>
                <a:lnTo>
                  <a:pt x="3717945" y="2699583"/>
                </a:lnTo>
                <a:close/>
                <a:moveTo>
                  <a:pt x="2490788" y="2694304"/>
                </a:moveTo>
                <a:lnTo>
                  <a:pt x="2490788" y="2826893"/>
                </a:lnTo>
                <a:lnTo>
                  <a:pt x="2490471" y="2827210"/>
                </a:lnTo>
                <a:lnTo>
                  <a:pt x="2489836" y="2835140"/>
                </a:lnTo>
                <a:lnTo>
                  <a:pt x="2489519" y="2839898"/>
                </a:lnTo>
                <a:lnTo>
                  <a:pt x="2488250" y="2844973"/>
                </a:lnTo>
                <a:lnTo>
                  <a:pt x="2487298" y="2849731"/>
                </a:lnTo>
                <a:lnTo>
                  <a:pt x="2485711" y="2854807"/>
                </a:lnTo>
                <a:lnTo>
                  <a:pt x="2483490" y="2859565"/>
                </a:lnTo>
                <a:lnTo>
                  <a:pt x="2481269" y="2864323"/>
                </a:lnTo>
                <a:lnTo>
                  <a:pt x="2479048" y="2869080"/>
                </a:lnTo>
                <a:lnTo>
                  <a:pt x="2475874" y="2873838"/>
                </a:lnTo>
                <a:lnTo>
                  <a:pt x="2472701" y="2878279"/>
                </a:lnTo>
                <a:lnTo>
                  <a:pt x="2469528" y="2883037"/>
                </a:lnTo>
                <a:lnTo>
                  <a:pt x="2465403" y="2887795"/>
                </a:lnTo>
                <a:lnTo>
                  <a:pt x="2461595" y="2892236"/>
                </a:lnTo>
                <a:lnTo>
                  <a:pt x="2453028" y="2901435"/>
                </a:lnTo>
                <a:lnTo>
                  <a:pt x="2443191" y="2909999"/>
                </a:lnTo>
                <a:lnTo>
                  <a:pt x="2432086" y="2918563"/>
                </a:lnTo>
                <a:lnTo>
                  <a:pt x="2419710" y="2926811"/>
                </a:lnTo>
                <a:lnTo>
                  <a:pt x="2406701" y="2934740"/>
                </a:lnTo>
                <a:lnTo>
                  <a:pt x="2393056" y="2942670"/>
                </a:lnTo>
                <a:lnTo>
                  <a:pt x="2378143" y="2950283"/>
                </a:lnTo>
                <a:lnTo>
                  <a:pt x="2362277" y="2957579"/>
                </a:lnTo>
                <a:lnTo>
                  <a:pt x="2345777" y="2964240"/>
                </a:lnTo>
                <a:lnTo>
                  <a:pt x="2328325" y="2970901"/>
                </a:lnTo>
                <a:lnTo>
                  <a:pt x="2309921" y="2977245"/>
                </a:lnTo>
                <a:lnTo>
                  <a:pt x="2290882" y="2983589"/>
                </a:lnTo>
                <a:lnTo>
                  <a:pt x="2270892" y="2989298"/>
                </a:lnTo>
                <a:lnTo>
                  <a:pt x="2250267" y="2994691"/>
                </a:lnTo>
                <a:lnTo>
                  <a:pt x="2229324" y="2999449"/>
                </a:lnTo>
                <a:lnTo>
                  <a:pt x="2207430" y="3004207"/>
                </a:lnTo>
                <a:lnTo>
                  <a:pt x="2184901" y="3008330"/>
                </a:lnTo>
                <a:lnTo>
                  <a:pt x="2162054" y="3012137"/>
                </a:lnTo>
                <a:lnTo>
                  <a:pt x="2138256" y="3015626"/>
                </a:lnTo>
                <a:lnTo>
                  <a:pt x="2113823" y="3018798"/>
                </a:lnTo>
                <a:lnTo>
                  <a:pt x="2089390" y="3021018"/>
                </a:lnTo>
                <a:lnTo>
                  <a:pt x="2064323" y="3023556"/>
                </a:lnTo>
                <a:lnTo>
                  <a:pt x="2038621" y="3025142"/>
                </a:lnTo>
                <a:lnTo>
                  <a:pt x="2012601" y="3026093"/>
                </a:lnTo>
                <a:lnTo>
                  <a:pt x="1986582" y="3027045"/>
                </a:lnTo>
                <a:lnTo>
                  <a:pt x="1959928" y="3027362"/>
                </a:lnTo>
                <a:lnTo>
                  <a:pt x="1932639" y="3027045"/>
                </a:lnTo>
                <a:lnTo>
                  <a:pt x="1905350" y="3026093"/>
                </a:lnTo>
                <a:lnTo>
                  <a:pt x="1879014" y="3025142"/>
                </a:lnTo>
                <a:lnTo>
                  <a:pt x="1852994" y="3022921"/>
                </a:lnTo>
                <a:lnTo>
                  <a:pt x="1827292" y="3021018"/>
                </a:lnTo>
                <a:lnTo>
                  <a:pt x="1802224" y="3018481"/>
                </a:lnTo>
                <a:lnTo>
                  <a:pt x="1777157" y="3015309"/>
                </a:lnTo>
                <a:lnTo>
                  <a:pt x="1753359" y="3011502"/>
                </a:lnTo>
                <a:lnTo>
                  <a:pt x="1729560" y="3007379"/>
                </a:lnTo>
                <a:lnTo>
                  <a:pt x="1706714" y="3002938"/>
                </a:lnTo>
                <a:lnTo>
                  <a:pt x="1684502" y="2998180"/>
                </a:lnTo>
                <a:lnTo>
                  <a:pt x="1662925" y="2993105"/>
                </a:lnTo>
                <a:lnTo>
                  <a:pt x="1641983" y="2987712"/>
                </a:lnTo>
                <a:lnTo>
                  <a:pt x="1622309" y="2981686"/>
                </a:lnTo>
                <a:lnTo>
                  <a:pt x="1602953" y="2975342"/>
                </a:lnTo>
                <a:lnTo>
                  <a:pt x="1584549" y="2968681"/>
                </a:lnTo>
                <a:lnTo>
                  <a:pt x="1566780" y="2961702"/>
                </a:lnTo>
                <a:lnTo>
                  <a:pt x="1550280" y="2954407"/>
                </a:lnTo>
                <a:lnTo>
                  <a:pt x="1534414" y="2947111"/>
                </a:lnTo>
                <a:lnTo>
                  <a:pt x="1519501" y="2939181"/>
                </a:lnTo>
                <a:lnTo>
                  <a:pt x="1505539" y="2930934"/>
                </a:lnTo>
                <a:lnTo>
                  <a:pt x="1493164" y="2922687"/>
                </a:lnTo>
                <a:lnTo>
                  <a:pt x="1481106" y="2913805"/>
                </a:lnTo>
                <a:lnTo>
                  <a:pt x="1470635" y="2904924"/>
                </a:lnTo>
                <a:lnTo>
                  <a:pt x="1465875" y="2900483"/>
                </a:lnTo>
                <a:lnTo>
                  <a:pt x="1461116" y="2895725"/>
                </a:lnTo>
                <a:lnTo>
                  <a:pt x="1456673" y="2891284"/>
                </a:lnTo>
                <a:lnTo>
                  <a:pt x="1452866" y="2886844"/>
                </a:lnTo>
                <a:lnTo>
                  <a:pt x="1449375" y="2882086"/>
                </a:lnTo>
                <a:lnTo>
                  <a:pt x="1445885" y="2877328"/>
                </a:lnTo>
                <a:lnTo>
                  <a:pt x="1442712" y="2872252"/>
                </a:lnTo>
                <a:lnTo>
                  <a:pt x="1439856" y="2867494"/>
                </a:lnTo>
                <a:lnTo>
                  <a:pt x="1437000" y="2862737"/>
                </a:lnTo>
                <a:lnTo>
                  <a:pt x="1435096" y="2857661"/>
                </a:lnTo>
                <a:lnTo>
                  <a:pt x="1433192" y="2852269"/>
                </a:lnTo>
                <a:lnTo>
                  <a:pt x="1431606" y="2847828"/>
                </a:lnTo>
                <a:lnTo>
                  <a:pt x="1430337" y="2842436"/>
                </a:lnTo>
                <a:lnTo>
                  <a:pt x="1429702" y="2837361"/>
                </a:lnTo>
                <a:lnTo>
                  <a:pt x="1429385" y="2832286"/>
                </a:lnTo>
                <a:lnTo>
                  <a:pt x="1428750" y="2827210"/>
                </a:lnTo>
                <a:lnTo>
                  <a:pt x="1428750" y="2700014"/>
                </a:lnTo>
                <a:lnTo>
                  <a:pt x="1429702" y="2705406"/>
                </a:lnTo>
                <a:lnTo>
                  <a:pt x="1430654" y="2711433"/>
                </a:lnTo>
                <a:lnTo>
                  <a:pt x="1432240" y="2716825"/>
                </a:lnTo>
                <a:lnTo>
                  <a:pt x="1434462" y="2722218"/>
                </a:lnTo>
                <a:lnTo>
                  <a:pt x="1436683" y="2728245"/>
                </a:lnTo>
                <a:lnTo>
                  <a:pt x="1439539" y="2733320"/>
                </a:lnTo>
                <a:lnTo>
                  <a:pt x="1442712" y="2739029"/>
                </a:lnTo>
                <a:lnTo>
                  <a:pt x="1446202" y="2744422"/>
                </a:lnTo>
                <a:lnTo>
                  <a:pt x="1449692" y="2749497"/>
                </a:lnTo>
                <a:lnTo>
                  <a:pt x="1454135" y="2755206"/>
                </a:lnTo>
                <a:lnTo>
                  <a:pt x="1458894" y="2760282"/>
                </a:lnTo>
                <a:lnTo>
                  <a:pt x="1463654" y="2765357"/>
                </a:lnTo>
                <a:lnTo>
                  <a:pt x="1468731" y="2770432"/>
                </a:lnTo>
                <a:lnTo>
                  <a:pt x="1474125" y="2775507"/>
                </a:lnTo>
                <a:lnTo>
                  <a:pt x="1480154" y="2780265"/>
                </a:lnTo>
                <a:lnTo>
                  <a:pt x="1480154" y="2879231"/>
                </a:lnTo>
                <a:lnTo>
                  <a:pt x="1482375" y="2882086"/>
                </a:lnTo>
                <a:lnTo>
                  <a:pt x="1484914" y="2884623"/>
                </a:lnTo>
                <a:lnTo>
                  <a:pt x="1491895" y="2890650"/>
                </a:lnTo>
                <a:lnTo>
                  <a:pt x="1500145" y="2896994"/>
                </a:lnTo>
                <a:lnTo>
                  <a:pt x="1509664" y="2903338"/>
                </a:lnTo>
                <a:lnTo>
                  <a:pt x="1519818" y="2909682"/>
                </a:lnTo>
                <a:lnTo>
                  <a:pt x="1530924" y="2915709"/>
                </a:lnTo>
                <a:lnTo>
                  <a:pt x="1542030" y="2921735"/>
                </a:lnTo>
                <a:lnTo>
                  <a:pt x="1553136" y="2926811"/>
                </a:lnTo>
                <a:lnTo>
                  <a:pt x="1553136" y="2824673"/>
                </a:lnTo>
                <a:lnTo>
                  <a:pt x="1569953" y="2832286"/>
                </a:lnTo>
                <a:lnTo>
                  <a:pt x="1587723" y="2839264"/>
                </a:lnTo>
                <a:lnTo>
                  <a:pt x="1606127" y="2846242"/>
                </a:lnTo>
                <a:lnTo>
                  <a:pt x="1625482" y="2852269"/>
                </a:lnTo>
                <a:lnTo>
                  <a:pt x="1625482" y="2953772"/>
                </a:lnTo>
                <a:lnTo>
                  <a:pt x="1642935" y="2958847"/>
                </a:lnTo>
                <a:lnTo>
                  <a:pt x="1661021" y="2963605"/>
                </a:lnTo>
                <a:lnTo>
                  <a:pt x="1679425" y="2968363"/>
                </a:lnTo>
                <a:lnTo>
                  <a:pt x="1698464" y="2972487"/>
                </a:lnTo>
                <a:lnTo>
                  <a:pt x="1698464" y="2871618"/>
                </a:lnTo>
                <a:lnTo>
                  <a:pt x="1716233" y="2875424"/>
                </a:lnTo>
                <a:lnTo>
                  <a:pt x="1734320" y="2878914"/>
                </a:lnTo>
                <a:lnTo>
                  <a:pt x="1752407" y="2882086"/>
                </a:lnTo>
                <a:lnTo>
                  <a:pt x="1771445" y="2885258"/>
                </a:lnTo>
                <a:lnTo>
                  <a:pt x="1771445" y="2985175"/>
                </a:lnTo>
                <a:lnTo>
                  <a:pt x="1789215" y="2987712"/>
                </a:lnTo>
                <a:lnTo>
                  <a:pt x="1807301" y="2989933"/>
                </a:lnTo>
                <a:lnTo>
                  <a:pt x="1825388" y="2991836"/>
                </a:lnTo>
                <a:lnTo>
                  <a:pt x="1843792" y="2993422"/>
                </a:lnTo>
                <a:lnTo>
                  <a:pt x="1843792" y="2893505"/>
                </a:lnTo>
                <a:lnTo>
                  <a:pt x="1861879" y="2895091"/>
                </a:lnTo>
                <a:lnTo>
                  <a:pt x="1880283" y="2896042"/>
                </a:lnTo>
                <a:lnTo>
                  <a:pt x="1898369" y="2896994"/>
                </a:lnTo>
                <a:lnTo>
                  <a:pt x="1916773" y="2897628"/>
                </a:lnTo>
                <a:lnTo>
                  <a:pt x="1916773" y="2997546"/>
                </a:lnTo>
                <a:lnTo>
                  <a:pt x="1938033" y="2997863"/>
                </a:lnTo>
                <a:lnTo>
                  <a:pt x="1959928" y="2998180"/>
                </a:lnTo>
                <a:lnTo>
                  <a:pt x="1989755" y="2997863"/>
                </a:lnTo>
                <a:lnTo>
                  <a:pt x="1989755" y="2898263"/>
                </a:lnTo>
                <a:lnTo>
                  <a:pt x="2018630" y="2896994"/>
                </a:lnTo>
                <a:lnTo>
                  <a:pt x="2046553" y="2895408"/>
                </a:lnTo>
                <a:lnTo>
                  <a:pt x="2074159" y="2893505"/>
                </a:lnTo>
                <a:lnTo>
                  <a:pt x="2101448" y="2890967"/>
                </a:lnTo>
                <a:lnTo>
                  <a:pt x="2128102" y="2887795"/>
                </a:lnTo>
                <a:lnTo>
                  <a:pt x="2154122" y="2883989"/>
                </a:lnTo>
                <a:lnTo>
                  <a:pt x="2179189" y="2879865"/>
                </a:lnTo>
                <a:lnTo>
                  <a:pt x="2204257" y="2875424"/>
                </a:lnTo>
                <a:lnTo>
                  <a:pt x="2228372" y="2870032"/>
                </a:lnTo>
                <a:lnTo>
                  <a:pt x="2251219" y="2864640"/>
                </a:lnTo>
                <a:lnTo>
                  <a:pt x="2273430" y="2858613"/>
                </a:lnTo>
                <a:lnTo>
                  <a:pt x="2294690" y="2851952"/>
                </a:lnTo>
                <a:lnTo>
                  <a:pt x="2315633" y="2845291"/>
                </a:lnTo>
                <a:lnTo>
                  <a:pt x="2335306" y="2838312"/>
                </a:lnTo>
                <a:lnTo>
                  <a:pt x="2354027" y="2830382"/>
                </a:lnTo>
                <a:lnTo>
                  <a:pt x="2371797" y="2822452"/>
                </a:lnTo>
                <a:lnTo>
                  <a:pt x="2371797" y="2924590"/>
                </a:lnTo>
                <a:lnTo>
                  <a:pt x="2379729" y="2921101"/>
                </a:lnTo>
                <a:lnTo>
                  <a:pt x="2387028" y="2916660"/>
                </a:lnTo>
                <a:lnTo>
                  <a:pt x="2394643" y="2912219"/>
                </a:lnTo>
                <a:lnTo>
                  <a:pt x="2401941" y="2907461"/>
                </a:lnTo>
                <a:lnTo>
                  <a:pt x="2409239" y="2902703"/>
                </a:lnTo>
                <a:lnTo>
                  <a:pt x="2415585" y="2898263"/>
                </a:lnTo>
                <a:lnTo>
                  <a:pt x="2421297" y="2893505"/>
                </a:lnTo>
                <a:lnTo>
                  <a:pt x="2426374" y="2889064"/>
                </a:lnTo>
                <a:lnTo>
                  <a:pt x="2426374" y="2791050"/>
                </a:lnTo>
                <a:lnTo>
                  <a:pt x="2433989" y="2785340"/>
                </a:lnTo>
                <a:lnTo>
                  <a:pt x="2440653" y="2779948"/>
                </a:lnTo>
                <a:lnTo>
                  <a:pt x="2447316" y="2774238"/>
                </a:lnTo>
                <a:lnTo>
                  <a:pt x="2453345" y="2768529"/>
                </a:lnTo>
                <a:lnTo>
                  <a:pt x="2459057" y="2762819"/>
                </a:lnTo>
                <a:lnTo>
                  <a:pt x="2464451" y="2757110"/>
                </a:lnTo>
                <a:lnTo>
                  <a:pt x="2469211" y="2751083"/>
                </a:lnTo>
                <a:lnTo>
                  <a:pt x="2473336" y="2744739"/>
                </a:lnTo>
                <a:lnTo>
                  <a:pt x="2477461" y="2739029"/>
                </a:lnTo>
                <a:lnTo>
                  <a:pt x="2480634" y="2732685"/>
                </a:lnTo>
                <a:lnTo>
                  <a:pt x="2483490" y="2726341"/>
                </a:lnTo>
                <a:lnTo>
                  <a:pt x="2486028" y="2719997"/>
                </a:lnTo>
                <a:lnTo>
                  <a:pt x="2487932" y="2713654"/>
                </a:lnTo>
                <a:lnTo>
                  <a:pt x="2489519" y="2707310"/>
                </a:lnTo>
                <a:lnTo>
                  <a:pt x="2490471" y="2700966"/>
                </a:lnTo>
                <a:lnTo>
                  <a:pt x="2490788" y="2694304"/>
                </a:lnTo>
                <a:close/>
                <a:moveTo>
                  <a:pt x="2490470" y="2686155"/>
                </a:moveTo>
                <a:lnTo>
                  <a:pt x="2490788" y="2691795"/>
                </a:lnTo>
                <a:lnTo>
                  <a:pt x="2490470" y="2693988"/>
                </a:lnTo>
                <a:lnTo>
                  <a:pt x="2490470" y="2690542"/>
                </a:lnTo>
                <a:lnTo>
                  <a:pt x="2490470" y="2686155"/>
                </a:lnTo>
                <a:close/>
                <a:moveTo>
                  <a:pt x="2490416" y="2685242"/>
                </a:moveTo>
                <a:lnTo>
                  <a:pt x="2490470" y="2685528"/>
                </a:lnTo>
                <a:lnTo>
                  <a:pt x="2490470" y="2686155"/>
                </a:lnTo>
                <a:lnTo>
                  <a:pt x="2490416" y="2685242"/>
                </a:lnTo>
                <a:close/>
                <a:moveTo>
                  <a:pt x="1427957" y="2683026"/>
                </a:moveTo>
                <a:lnTo>
                  <a:pt x="1427516" y="2686071"/>
                </a:lnTo>
                <a:lnTo>
                  <a:pt x="1427516" y="2690943"/>
                </a:lnTo>
                <a:lnTo>
                  <a:pt x="1427516" y="2693987"/>
                </a:lnTo>
                <a:lnTo>
                  <a:pt x="1427163" y="2692161"/>
                </a:lnTo>
                <a:lnTo>
                  <a:pt x="1427163" y="2686680"/>
                </a:lnTo>
                <a:lnTo>
                  <a:pt x="1427957" y="2683026"/>
                </a:lnTo>
                <a:close/>
                <a:moveTo>
                  <a:pt x="1430338" y="2671762"/>
                </a:moveTo>
                <a:lnTo>
                  <a:pt x="1428927" y="2676633"/>
                </a:lnTo>
                <a:lnTo>
                  <a:pt x="1428221" y="2681809"/>
                </a:lnTo>
                <a:lnTo>
                  <a:pt x="1427957" y="2683026"/>
                </a:lnTo>
                <a:lnTo>
                  <a:pt x="1428221" y="2681200"/>
                </a:lnTo>
                <a:lnTo>
                  <a:pt x="1428927" y="2676329"/>
                </a:lnTo>
                <a:lnTo>
                  <a:pt x="1430338" y="2671762"/>
                </a:lnTo>
                <a:close/>
                <a:moveTo>
                  <a:pt x="2487613" y="2670175"/>
                </a:moveTo>
                <a:lnTo>
                  <a:pt x="2489200" y="2675815"/>
                </a:lnTo>
                <a:lnTo>
                  <a:pt x="2490153" y="2680828"/>
                </a:lnTo>
                <a:lnTo>
                  <a:pt x="2490416" y="2685242"/>
                </a:lnTo>
                <a:lnTo>
                  <a:pt x="2489518" y="2680515"/>
                </a:lnTo>
                <a:lnTo>
                  <a:pt x="2488883" y="2675502"/>
                </a:lnTo>
                <a:lnTo>
                  <a:pt x="2487613" y="2670175"/>
                </a:lnTo>
                <a:close/>
                <a:moveTo>
                  <a:pt x="2665715" y="2659293"/>
                </a:moveTo>
                <a:lnTo>
                  <a:pt x="2665715" y="2777307"/>
                </a:lnTo>
                <a:lnTo>
                  <a:pt x="2668254" y="2780162"/>
                </a:lnTo>
                <a:lnTo>
                  <a:pt x="2671429" y="2783335"/>
                </a:lnTo>
                <a:lnTo>
                  <a:pt x="2678729" y="2789362"/>
                </a:lnTo>
                <a:lnTo>
                  <a:pt x="2687934" y="2796659"/>
                </a:lnTo>
                <a:lnTo>
                  <a:pt x="2698726" y="2803638"/>
                </a:lnTo>
                <a:lnTo>
                  <a:pt x="2710153" y="2810935"/>
                </a:lnTo>
                <a:lnTo>
                  <a:pt x="2722215" y="2817914"/>
                </a:lnTo>
                <a:lnTo>
                  <a:pt x="2734594" y="2824259"/>
                </a:lnTo>
                <a:lnTo>
                  <a:pt x="2746656" y="2829969"/>
                </a:lnTo>
                <a:lnTo>
                  <a:pt x="2746656" y="2711004"/>
                </a:lnTo>
                <a:lnTo>
                  <a:pt x="2734594" y="2705293"/>
                </a:lnTo>
                <a:lnTo>
                  <a:pt x="2723167" y="2699266"/>
                </a:lnTo>
                <a:lnTo>
                  <a:pt x="2712058" y="2692921"/>
                </a:lnTo>
                <a:lnTo>
                  <a:pt x="2701583" y="2686259"/>
                </a:lnTo>
                <a:lnTo>
                  <a:pt x="2691743" y="2679914"/>
                </a:lnTo>
                <a:lnTo>
                  <a:pt x="2682538" y="2673252"/>
                </a:lnTo>
                <a:lnTo>
                  <a:pt x="2673650" y="2666273"/>
                </a:lnTo>
                <a:lnTo>
                  <a:pt x="2665715" y="2659293"/>
                </a:lnTo>
                <a:close/>
                <a:moveTo>
                  <a:pt x="1925638" y="2592387"/>
                </a:moveTo>
                <a:lnTo>
                  <a:pt x="1925638" y="2662237"/>
                </a:lnTo>
                <a:lnTo>
                  <a:pt x="1911407" y="2659674"/>
                </a:lnTo>
                <a:lnTo>
                  <a:pt x="1894963" y="2655829"/>
                </a:lnTo>
                <a:lnTo>
                  <a:pt x="1887057" y="2653907"/>
                </a:lnTo>
                <a:lnTo>
                  <a:pt x="1880100" y="2652304"/>
                </a:lnTo>
                <a:lnTo>
                  <a:pt x="1873459" y="2650062"/>
                </a:lnTo>
                <a:lnTo>
                  <a:pt x="1867451" y="2647498"/>
                </a:lnTo>
                <a:lnTo>
                  <a:pt x="1861442" y="2644935"/>
                </a:lnTo>
                <a:lnTo>
                  <a:pt x="1856383" y="2641090"/>
                </a:lnTo>
                <a:lnTo>
                  <a:pt x="1853220" y="2639168"/>
                </a:lnTo>
                <a:lnTo>
                  <a:pt x="1851007" y="2636925"/>
                </a:lnTo>
                <a:lnTo>
                  <a:pt x="1848793" y="2634041"/>
                </a:lnTo>
                <a:lnTo>
                  <a:pt x="1847844" y="2631798"/>
                </a:lnTo>
                <a:lnTo>
                  <a:pt x="1846579" y="2628914"/>
                </a:lnTo>
                <a:lnTo>
                  <a:pt x="1846263" y="2626671"/>
                </a:lnTo>
                <a:lnTo>
                  <a:pt x="1846263" y="2623788"/>
                </a:lnTo>
                <a:lnTo>
                  <a:pt x="1846579" y="2621224"/>
                </a:lnTo>
                <a:lnTo>
                  <a:pt x="1847528" y="2618661"/>
                </a:lnTo>
                <a:lnTo>
                  <a:pt x="1848477" y="2616098"/>
                </a:lnTo>
                <a:lnTo>
                  <a:pt x="1850374" y="2613855"/>
                </a:lnTo>
                <a:lnTo>
                  <a:pt x="1852588" y="2611292"/>
                </a:lnTo>
                <a:lnTo>
                  <a:pt x="1855118" y="2609369"/>
                </a:lnTo>
                <a:lnTo>
                  <a:pt x="1858280" y="2607447"/>
                </a:lnTo>
                <a:lnTo>
                  <a:pt x="1861759" y="2605524"/>
                </a:lnTo>
                <a:lnTo>
                  <a:pt x="1865870" y="2603922"/>
                </a:lnTo>
                <a:lnTo>
                  <a:pt x="1872194" y="2601359"/>
                </a:lnTo>
                <a:lnTo>
                  <a:pt x="1878835" y="2599436"/>
                </a:lnTo>
                <a:lnTo>
                  <a:pt x="1885792" y="2597834"/>
                </a:lnTo>
                <a:lnTo>
                  <a:pt x="1893382" y="2596232"/>
                </a:lnTo>
                <a:lnTo>
                  <a:pt x="1901288" y="2594951"/>
                </a:lnTo>
                <a:lnTo>
                  <a:pt x="1909194" y="2593989"/>
                </a:lnTo>
                <a:lnTo>
                  <a:pt x="1925638" y="2592387"/>
                </a:lnTo>
                <a:close/>
                <a:moveTo>
                  <a:pt x="3178346" y="2558733"/>
                </a:moveTo>
                <a:lnTo>
                  <a:pt x="3178346" y="2673668"/>
                </a:lnTo>
                <a:lnTo>
                  <a:pt x="3201835" y="2674303"/>
                </a:lnTo>
                <a:lnTo>
                  <a:pt x="3225959" y="2674303"/>
                </a:lnTo>
                <a:lnTo>
                  <a:pt x="3258970" y="2673986"/>
                </a:lnTo>
                <a:lnTo>
                  <a:pt x="3258970" y="2559368"/>
                </a:lnTo>
                <a:lnTo>
                  <a:pt x="3225641" y="2559686"/>
                </a:lnTo>
                <a:lnTo>
                  <a:pt x="3201835" y="2559368"/>
                </a:lnTo>
                <a:lnTo>
                  <a:pt x="3178346" y="2558733"/>
                </a:lnTo>
                <a:close/>
                <a:moveTo>
                  <a:pt x="2609850" y="2552700"/>
                </a:moveTo>
                <a:lnTo>
                  <a:pt x="2613342" y="2559045"/>
                </a:lnTo>
                <a:lnTo>
                  <a:pt x="2617468" y="2564438"/>
                </a:lnTo>
                <a:lnTo>
                  <a:pt x="2621594" y="2570466"/>
                </a:lnTo>
                <a:lnTo>
                  <a:pt x="2626038" y="2576176"/>
                </a:lnTo>
                <a:lnTo>
                  <a:pt x="2631117" y="2581886"/>
                </a:lnTo>
                <a:lnTo>
                  <a:pt x="2635878" y="2587280"/>
                </a:lnTo>
                <a:lnTo>
                  <a:pt x="2641274" y="2592673"/>
                </a:lnTo>
                <a:lnTo>
                  <a:pt x="2646988" y="2598383"/>
                </a:lnTo>
                <a:lnTo>
                  <a:pt x="2658732" y="2608535"/>
                </a:lnTo>
                <a:lnTo>
                  <a:pt x="2671746" y="2618686"/>
                </a:lnTo>
                <a:lnTo>
                  <a:pt x="2685712" y="2628204"/>
                </a:lnTo>
                <a:lnTo>
                  <a:pt x="2700631" y="2637721"/>
                </a:lnTo>
                <a:lnTo>
                  <a:pt x="2715867" y="2646921"/>
                </a:lnTo>
                <a:lnTo>
                  <a:pt x="2732372" y="2655486"/>
                </a:lnTo>
                <a:lnTo>
                  <a:pt x="2749830" y="2663735"/>
                </a:lnTo>
                <a:lnTo>
                  <a:pt x="2767923" y="2671666"/>
                </a:lnTo>
                <a:lnTo>
                  <a:pt x="2786650" y="2679280"/>
                </a:lnTo>
                <a:lnTo>
                  <a:pt x="2805695" y="2686576"/>
                </a:lnTo>
                <a:lnTo>
                  <a:pt x="2826009" y="2693238"/>
                </a:lnTo>
                <a:lnTo>
                  <a:pt x="2846959" y="2699583"/>
                </a:lnTo>
                <a:lnTo>
                  <a:pt x="2867591" y="2705611"/>
                </a:lnTo>
                <a:lnTo>
                  <a:pt x="2889492" y="2711321"/>
                </a:lnTo>
                <a:lnTo>
                  <a:pt x="2912029" y="2716714"/>
                </a:lnTo>
                <a:lnTo>
                  <a:pt x="2934248" y="2721790"/>
                </a:lnTo>
                <a:lnTo>
                  <a:pt x="2957102" y="2725914"/>
                </a:lnTo>
                <a:lnTo>
                  <a:pt x="2980908" y="2730355"/>
                </a:lnTo>
                <a:lnTo>
                  <a:pt x="3004396" y="2733845"/>
                </a:lnTo>
                <a:lnTo>
                  <a:pt x="3028203" y="2737335"/>
                </a:lnTo>
                <a:lnTo>
                  <a:pt x="3052644" y="2740190"/>
                </a:lnTo>
                <a:lnTo>
                  <a:pt x="3077084" y="2743045"/>
                </a:lnTo>
                <a:lnTo>
                  <a:pt x="3101525" y="2744949"/>
                </a:lnTo>
                <a:lnTo>
                  <a:pt x="3125966" y="2746852"/>
                </a:lnTo>
                <a:lnTo>
                  <a:pt x="3150725" y="2748121"/>
                </a:lnTo>
                <a:lnTo>
                  <a:pt x="3175800" y="2749390"/>
                </a:lnTo>
                <a:lnTo>
                  <a:pt x="3200559" y="2750024"/>
                </a:lnTo>
                <a:lnTo>
                  <a:pt x="3225317" y="2750024"/>
                </a:lnTo>
                <a:lnTo>
                  <a:pt x="3246266" y="2750024"/>
                </a:lnTo>
                <a:lnTo>
                  <a:pt x="3267216" y="2749707"/>
                </a:lnTo>
                <a:lnTo>
                  <a:pt x="3288165" y="2748755"/>
                </a:lnTo>
                <a:lnTo>
                  <a:pt x="3308797" y="2747804"/>
                </a:lnTo>
                <a:lnTo>
                  <a:pt x="3329429" y="2746535"/>
                </a:lnTo>
                <a:lnTo>
                  <a:pt x="3350378" y="2744949"/>
                </a:lnTo>
                <a:lnTo>
                  <a:pt x="3371010" y="2743362"/>
                </a:lnTo>
                <a:lnTo>
                  <a:pt x="3391325" y="2741459"/>
                </a:lnTo>
                <a:lnTo>
                  <a:pt x="3411957" y="2738921"/>
                </a:lnTo>
                <a:lnTo>
                  <a:pt x="3431954" y="2736383"/>
                </a:lnTo>
                <a:lnTo>
                  <a:pt x="3451951" y="2733528"/>
                </a:lnTo>
                <a:lnTo>
                  <a:pt x="3471948" y="2730355"/>
                </a:lnTo>
                <a:lnTo>
                  <a:pt x="3491628" y="2726866"/>
                </a:lnTo>
                <a:lnTo>
                  <a:pt x="3510990" y="2723376"/>
                </a:lnTo>
                <a:lnTo>
                  <a:pt x="3530035" y="2719252"/>
                </a:lnTo>
                <a:lnTo>
                  <a:pt x="3548763" y="2715128"/>
                </a:lnTo>
                <a:lnTo>
                  <a:pt x="3567173" y="2710369"/>
                </a:lnTo>
                <a:lnTo>
                  <a:pt x="3585265" y="2705611"/>
                </a:lnTo>
                <a:lnTo>
                  <a:pt x="3603041" y="2700852"/>
                </a:lnTo>
                <a:lnTo>
                  <a:pt x="3620498" y="2695142"/>
                </a:lnTo>
                <a:lnTo>
                  <a:pt x="3637004" y="2689749"/>
                </a:lnTo>
                <a:lnTo>
                  <a:pt x="3653510" y="2683721"/>
                </a:lnTo>
                <a:lnTo>
                  <a:pt x="3669698" y="2678011"/>
                </a:lnTo>
                <a:lnTo>
                  <a:pt x="3685251" y="2671349"/>
                </a:lnTo>
                <a:lnTo>
                  <a:pt x="3700170" y="2665004"/>
                </a:lnTo>
                <a:lnTo>
                  <a:pt x="3714770" y="2657707"/>
                </a:lnTo>
                <a:lnTo>
                  <a:pt x="3728419" y="2650728"/>
                </a:lnTo>
                <a:lnTo>
                  <a:pt x="3741751" y="2643114"/>
                </a:lnTo>
                <a:lnTo>
                  <a:pt x="3754765" y="2635818"/>
                </a:lnTo>
                <a:lnTo>
                  <a:pt x="3767144" y="2627886"/>
                </a:lnTo>
                <a:lnTo>
                  <a:pt x="3778571" y="2619638"/>
                </a:lnTo>
                <a:lnTo>
                  <a:pt x="3789363" y="2611073"/>
                </a:lnTo>
                <a:lnTo>
                  <a:pt x="3789363" y="2718935"/>
                </a:lnTo>
                <a:lnTo>
                  <a:pt x="3788728" y="2718935"/>
                </a:lnTo>
                <a:lnTo>
                  <a:pt x="3788411" y="2728135"/>
                </a:lnTo>
                <a:lnTo>
                  <a:pt x="3787776" y="2733528"/>
                </a:lnTo>
                <a:lnTo>
                  <a:pt x="3786506" y="2738921"/>
                </a:lnTo>
                <a:lnTo>
                  <a:pt x="3785237" y="2744314"/>
                </a:lnTo>
                <a:lnTo>
                  <a:pt x="3783332" y="2749707"/>
                </a:lnTo>
                <a:lnTo>
                  <a:pt x="3781428" y="2755100"/>
                </a:lnTo>
                <a:lnTo>
                  <a:pt x="3778571" y="2760811"/>
                </a:lnTo>
                <a:lnTo>
                  <a:pt x="3775714" y="2765886"/>
                </a:lnTo>
                <a:lnTo>
                  <a:pt x="3772540" y="2770962"/>
                </a:lnTo>
                <a:lnTo>
                  <a:pt x="3769048" y="2776355"/>
                </a:lnTo>
                <a:lnTo>
                  <a:pt x="3765557" y="2781749"/>
                </a:lnTo>
                <a:lnTo>
                  <a:pt x="3761113" y="2786824"/>
                </a:lnTo>
                <a:lnTo>
                  <a:pt x="3756987" y="2791583"/>
                </a:lnTo>
                <a:lnTo>
                  <a:pt x="3752226" y="2796659"/>
                </a:lnTo>
                <a:lnTo>
                  <a:pt x="3747147" y="2801735"/>
                </a:lnTo>
                <a:lnTo>
                  <a:pt x="3741433" y="2806493"/>
                </a:lnTo>
                <a:lnTo>
                  <a:pt x="3736037" y="2811252"/>
                </a:lnTo>
                <a:lnTo>
                  <a:pt x="3723658" y="2820769"/>
                </a:lnTo>
                <a:lnTo>
                  <a:pt x="3710327" y="2829969"/>
                </a:lnTo>
                <a:lnTo>
                  <a:pt x="3696043" y="2838852"/>
                </a:lnTo>
                <a:lnTo>
                  <a:pt x="3680490" y="2847418"/>
                </a:lnTo>
                <a:lnTo>
                  <a:pt x="3663667" y="2855983"/>
                </a:lnTo>
                <a:lnTo>
                  <a:pt x="3646526" y="2863914"/>
                </a:lnTo>
                <a:lnTo>
                  <a:pt x="3627799" y="2871845"/>
                </a:lnTo>
                <a:lnTo>
                  <a:pt x="3608754" y="2879459"/>
                </a:lnTo>
                <a:lnTo>
                  <a:pt x="3588122" y="2886121"/>
                </a:lnTo>
                <a:lnTo>
                  <a:pt x="3566855" y="2892783"/>
                </a:lnTo>
                <a:lnTo>
                  <a:pt x="3544636" y="2899128"/>
                </a:lnTo>
                <a:lnTo>
                  <a:pt x="3522417" y="2905473"/>
                </a:lnTo>
                <a:lnTo>
                  <a:pt x="3498611" y="2910866"/>
                </a:lnTo>
                <a:lnTo>
                  <a:pt x="3474170" y="2915942"/>
                </a:lnTo>
                <a:lnTo>
                  <a:pt x="3449412" y="2920383"/>
                </a:lnTo>
                <a:lnTo>
                  <a:pt x="3423701" y="2924824"/>
                </a:lnTo>
                <a:lnTo>
                  <a:pt x="3397356" y="2928631"/>
                </a:lnTo>
                <a:lnTo>
                  <a:pt x="3370376" y="2931804"/>
                </a:lnTo>
                <a:lnTo>
                  <a:pt x="3343395" y="2934976"/>
                </a:lnTo>
                <a:lnTo>
                  <a:pt x="3315146" y="2937197"/>
                </a:lnTo>
                <a:lnTo>
                  <a:pt x="3286896" y="2938783"/>
                </a:lnTo>
                <a:lnTo>
                  <a:pt x="3258011" y="2940369"/>
                </a:lnTo>
                <a:lnTo>
                  <a:pt x="3228491" y="2941321"/>
                </a:lnTo>
                <a:lnTo>
                  <a:pt x="3198972" y="2941638"/>
                </a:lnTo>
                <a:lnTo>
                  <a:pt x="3168500" y="2941321"/>
                </a:lnTo>
                <a:lnTo>
                  <a:pt x="3138663" y="2940369"/>
                </a:lnTo>
                <a:lnTo>
                  <a:pt x="3109143" y="2938783"/>
                </a:lnTo>
                <a:lnTo>
                  <a:pt x="3080259" y="2936880"/>
                </a:lnTo>
                <a:lnTo>
                  <a:pt x="3051374" y="2934659"/>
                </a:lnTo>
                <a:lnTo>
                  <a:pt x="3023441" y="2931487"/>
                </a:lnTo>
                <a:lnTo>
                  <a:pt x="2996144" y="2927997"/>
                </a:lnTo>
                <a:lnTo>
                  <a:pt x="2969481" y="2923873"/>
                </a:lnTo>
                <a:lnTo>
                  <a:pt x="2943453" y="2919431"/>
                </a:lnTo>
                <a:lnTo>
                  <a:pt x="2917742" y="2914355"/>
                </a:lnTo>
                <a:lnTo>
                  <a:pt x="2892984" y="2909280"/>
                </a:lnTo>
                <a:lnTo>
                  <a:pt x="2869178" y="2903252"/>
                </a:lnTo>
                <a:lnTo>
                  <a:pt x="2846007" y="2897224"/>
                </a:lnTo>
                <a:lnTo>
                  <a:pt x="2823470" y="2890880"/>
                </a:lnTo>
                <a:lnTo>
                  <a:pt x="2802203" y="2883583"/>
                </a:lnTo>
                <a:lnTo>
                  <a:pt x="2781889" y="2876286"/>
                </a:lnTo>
                <a:lnTo>
                  <a:pt x="2762527" y="2868673"/>
                </a:lnTo>
                <a:lnTo>
                  <a:pt x="2743799" y="2860424"/>
                </a:lnTo>
                <a:lnTo>
                  <a:pt x="2726024" y="2852176"/>
                </a:lnTo>
                <a:lnTo>
                  <a:pt x="2709518" y="2843611"/>
                </a:lnTo>
                <a:lnTo>
                  <a:pt x="2694600" y="2834411"/>
                </a:lnTo>
                <a:lnTo>
                  <a:pt x="2679999" y="2824893"/>
                </a:lnTo>
                <a:lnTo>
                  <a:pt x="2666985" y="2815376"/>
                </a:lnTo>
                <a:lnTo>
                  <a:pt x="2660954" y="2810935"/>
                </a:lnTo>
                <a:lnTo>
                  <a:pt x="2655240" y="2805542"/>
                </a:lnTo>
                <a:lnTo>
                  <a:pt x="2650162" y="2800466"/>
                </a:lnTo>
                <a:lnTo>
                  <a:pt x="2645083" y="2795390"/>
                </a:lnTo>
                <a:lnTo>
                  <a:pt x="2639687" y="2790314"/>
                </a:lnTo>
                <a:lnTo>
                  <a:pt x="2635561" y="2785238"/>
                </a:lnTo>
                <a:lnTo>
                  <a:pt x="2631434" y="2780162"/>
                </a:lnTo>
                <a:lnTo>
                  <a:pt x="2627625" y="2774452"/>
                </a:lnTo>
                <a:lnTo>
                  <a:pt x="2624134" y="2769376"/>
                </a:lnTo>
                <a:lnTo>
                  <a:pt x="2620960" y="2763983"/>
                </a:lnTo>
                <a:lnTo>
                  <a:pt x="2618103" y="2758273"/>
                </a:lnTo>
                <a:lnTo>
                  <a:pt x="2615881" y="2752880"/>
                </a:lnTo>
                <a:lnTo>
                  <a:pt x="2613659" y="2747169"/>
                </a:lnTo>
                <a:lnTo>
                  <a:pt x="2612072" y="2741776"/>
                </a:lnTo>
                <a:lnTo>
                  <a:pt x="2610485" y="2736383"/>
                </a:lnTo>
                <a:lnTo>
                  <a:pt x="2609850" y="2730355"/>
                </a:lnTo>
                <a:lnTo>
                  <a:pt x="2609215" y="2724962"/>
                </a:lnTo>
                <a:lnTo>
                  <a:pt x="2609215" y="2718935"/>
                </a:lnTo>
                <a:lnTo>
                  <a:pt x="2608580" y="2719252"/>
                </a:lnTo>
                <a:lnTo>
                  <a:pt x="2608580" y="2573004"/>
                </a:lnTo>
                <a:lnTo>
                  <a:pt x="2608263" y="2569197"/>
                </a:lnTo>
                <a:lnTo>
                  <a:pt x="2608580" y="2560949"/>
                </a:lnTo>
                <a:lnTo>
                  <a:pt x="2609850" y="2552700"/>
                </a:lnTo>
                <a:close/>
                <a:moveTo>
                  <a:pt x="3016148" y="2544763"/>
                </a:moveTo>
                <a:lnTo>
                  <a:pt x="3016148" y="2660333"/>
                </a:lnTo>
                <a:lnTo>
                  <a:pt x="3035827" y="2662556"/>
                </a:lnTo>
                <a:lnTo>
                  <a:pt x="3056142" y="2665096"/>
                </a:lnTo>
                <a:lnTo>
                  <a:pt x="3076456" y="2667318"/>
                </a:lnTo>
                <a:lnTo>
                  <a:pt x="3097406" y="2669223"/>
                </a:lnTo>
                <a:lnTo>
                  <a:pt x="3097406" y="2553971"/>
                </a:lnTo>
                <a:lnTo>
                  <a:pt x="3076456" y="2552066"/>
                </a:lnTo>
                <a:lnTo>
                  <a:pt x="3056142" y="2549843"/>
                </a:lnTo>
                <a:lnTo>
                  <a:pt x="3035827" y="2547303"/>
                </a:lnTo>
                <a:lnTo>
                  <a:pt x="3016148" y="2544763"/>
                </a:lnTo>
                <a:close/>
                <a:moveTo>
                  <a:pt x="1938656" y="2540386"/>
                </a:moveTo>
                <a:lnTo>
                  <a:pt x="1936433" y="2540705"/>
                </a:lnTo>
                <a:lnTo>
                  <a:pt x="1933576" y="2540705"/>
                </a:lnTo>
                <a:lnTo>
                  <a:pt x="1931036" y="2541342"/>
                </a:lnTo>
                <a:lnTo>
                  <a:pt x="1929130" y="2542299"/>
                </a:lnTo>
                <a:lnTo>
                  <a:pt x="1927543" y="2542936"/>
                </a:lnTo>
                <a:lnTo>
                  <a:pt x="1926273" y="2543892"/>
                </a:lnTo>
                <a:lnTo>
                  <a:pt x="1925638" y="2545167"/>
                </a:lnTo>
                <a:lnTo>
                  <a:pt x="1925320" y="2546123"/>
                </a:lnTo>
                <a:lnTo>
                  <a:pt x="1925320" y="2565247"/>
                </a:lnTo>
                <a:lnTo>
                  <a:pt x="1910398" y="2566522"/>
                </a:lnTo>
                <a:lnTo>
                  <a:pt x="1895158" y="2568116"/>
                </a:lnTo>
                <a:lnTo>
                  <a:pt x="1881188" y="2570028"/>
                </a:lnTo>
                <a:lnTo>
                  <a:pt x="1867218" y="2572897"/>
                </a:lnTo>
                <a:lnTo>
                  <a:pt x="1853883" y="2575447"/>
                </a:lnTo>
                <a:lnTo>
                  <a:pt x="1841183" y="2578634"/>
                </a:lnTo>
                <a:lnTo>
                  <a:pt x="1829436" y="2582778"/>
                </a:lnTo>
                <a:lnTo>
                  <a:pt x="1818323" y="2586602"/>
                </a:lnTo>
                <a:lnTo>
                  <a:pt x="1810703" y="2590108"/>
                </a:lnTo>
                <a:lnTo>
                  <a:pt x="1803718" y="2594252"/>
                </a:lnTo>
                <a:lnTo>
                  <a:pt x="1797368" y="2598077"/>
                </a:lnTo>
                <a:lnTo>
                  <a:pt x="1791970" y="2601902"/>
                </a:lnTo>
                <a:lnTo>
                  <a:pt x="1787208" y="2606045"/>
                </a:lnTo>
                <a:lnTo>
                  <a:pt x="1783398" y="2610507"/>
                </a:lnTo>
                <a:lnTo>
                  <a:pt x="1780223" y="2614651"/>
                </a:lnTo>
                <a:lnTo>
                  <a:pt x="1777683" y="2619113"/>
                </a:lnTo>
                <a:lnTo>
                  <a:pt x="1776096" y="2623894"/>
                </a:lnTo>
                <a:lnTo>
                  <a:pt x="1775460" y="2628038"/>
                </a:lnTo>
                <a:lnTo>
                  <a:pt x="1775460" y="2632500"/>
                </a:lnTo>
                <a:lnTo>
                  <a:pt x="1776096" y="2637281"/>
                </a:lnTo>
                <a:lnTo>
                  <a:pt x="1777683" y="2641743"/>
                </a:lnTo>
                <a:lnTo>
                  <a:pt x="1780223" y="2645887"/>
                </a:lnTo>
                <a:lnTo>
                  <a:pt x="1783716" y="2650349"/>
                </a:lnTo>
                <a:lnTo>
                  <a:pt x="1787526" y="2654811"/>
                </a:lnTo>
                <a:lnTo>
                  <a:pt x="1792288" y="2658317"/>
                </a:lnTo>
                <a:lnTo>
                  <a:pt x="1797368" y="2661823"/>
                </a:lnTo>
                <a:lnTo>
                  <a:pt x="1803400" y="2665329"/>
                </a:lnTo>
                <a:lnTo>
                  <a:pt x="1809750" y="2668517"/>
                </a:lnTo>
                <a:lnTo>
                  <a:pt x="1816736" y="2671704"/>
                </a:lnTo>
                <a:lnTo>
                  <a:pt x="1824356" y="2674573"/>
                </a:lnTo>
                <a:lnTo>
                  <a:pt x="1832610" y="2677441"/>
                </a:lnTo>
                <a:lnTo>
                  <a:pt x="1840866" y="2679354"/>
                </a:lnTo>
                <a:lnTo>
                  <a:pt x="1872933" y="2686047"/>
                </a:lnTo>
                <a:lnTo>
                  <a:pt x="1925320" y="2696565"/>
                </a:lnTo>
                <a:lnTo>
                  <a:pt x="1925320" y="2778798"/>
                </a:lnTo>
                <a:lnTo>
                  <a:pt x="1911668" y="2777204"/>
                </a:lnTo>
                <a:lnTo>
                  <a:pt x="1899603" y="2774973"/>
                </a:lnTo>
                <a:lnTo>
                  <a:pt x="1885316" y="2772742"/>
                </a:lnTo>
                <a:lnTo>
                  <a:pt x="1870393" y="2769236"/>
                </a:lnTo>
                <a:lnTo>
                  <a:pt x="1856740" y="2765093"/>
                </a:lnTo>
                <a:lnTo>
                  <a:pt x="1844676" y="2760949"/>
                </a:lnTo>
                <a:lnTo>
                  <a:pt x="1841183" y="2759674"/>
                </a:lnTo>
                <a:lnTo>
                  <a:pt x="1838008" y="2758399"/>
                </a:lnTo>
                <a:lnTo>
                  <a:pt x="1835786" y="2757443"/>
                </a:lnTo>
                <a:lnTo>
                  <a:pt x="1835150" y="2756805"/>
                </a:lnTo>
                <a:lnTo>
                  <a:pt x="1831658" y="2754893"/>
                </a:lnTo>
                <a:lnTo>
                  <a:pt x="1829753" y="2753618"/>
                </a:lnTo>
                <a:lnTo>
                  <a:pt x="1827848" y="2752662"/>
                </a:lnTo>
                <a:lnTo>
                  <a:pt x="1822768" y="2751387"/>
                </a:lnTo>
                <a:lnTo>
                  <a:pt x="1817688" y="2750431"/>
                </a:lnTo>
                <a:lnTo>
                  <a:pt x="1811656" y="2750112"/>
                </a:lnTo>
                <a:lnTo>
                  <a:pt x="1805623" y="2751068"/>
                </a:lnTo>
                <a:lnTo>
                  <a:pt x="1799908" y="2751706"/>
                </a:lnTo>
                <a:lnTo>
                  <a:pt x="1793876" y="2752981"/>
                </a:lnTo>
                <a:lnTo>
                  <a:pt x="1787843" y="2754893"/>
                </a:lnTo>
                <a:lnTo>
                  <a:pt x="1782763" y="2756805"/>
                </a:lnTo>
                <a:lnTo>
                  <a:pt x="1778636" y="2759355"/>
                </a:lnTo>
                <a:lnTo>
                  <a:pt x="1774508" y="2761586"/>
                </a:lnTo>
                <a:lnTo>
                  <a:pt x="1771650" y="2764455"/>
                </a:lnTo>
                <a:lnTo>
                  <a:pt x="1770698" y="2765730"/>
                </a:lnTo>
                <a:lnTo>
                  <a:pt x="1769746" y="2766686"/>
                </a:lnTo>
                <a:lnTo>
                  <a:pt x="1769428" y="2767961"/>
                </a:lnTo>
                <a:lnTo>
                  <a:pt x="1769428" y="2769555"/>
                </a:lnTo>
                <a:lnTo>
                  <a:pt x="1769428" y="2770830"/>
                </a:lnTo>
                <a:lnTo>
                  <a:pt x="1770380" y="2772105"/>
                </a:lnTo>
                <a:lnTo>
                  <a:pt x="1771016" y="2773061"/>
                </a:lnTo>
                <a:lnTo>
                  <a:pt x="1772603" y="2774336"/>
                </a:lnTo>
                <a:lnTo>
                  <a:pt x="1778000" y="2777842"/>
                </a:lnTo>
                <a:lnTo>
                  <a:pt x="1784668" y="2781348"/>
                </a:lnTo>
                <a:lnTo>
                  <a:pt x="1791970" y="2784535"/>
                </a:lnTo>
                <a:lnTo>
                  <a:pt x="1799273" y="2787723"/>
                </a:lnTo>
                <a:lnTo>
                  <a:pt x="1807846" y="2790591"/>
                </a:lnTo>
                <a:lnTo>
                  <a:pt x="1816418" y="2792822"/>
                </a:lnTo>
                <a:lnTo>
                  <a:pt x="1825943" y="2795691"/>
                </a:lnTo>
                <a:lnTo>
                  <a:pt x="1835786" y="2797603"/>
                </a:lnTo>
                <a:lnTo>
                  <a:pt x="1845946" y="2799516"/>
                </a:lnTo>
                <a:lnTo>
                  <a:pt x="1856740" y="2801747"/>
                </a:lnTo>
                <a:lnTo>
                  <a:pt x="1878648" y="2804934"/>
                </a:lnTo>
                <a:lnTo>
                  <a:pt x="1901508" y="2806846"/>
                </a:lnTo>
                <a:lnTo>
                  <a:pt x="1925320" y="2808440"/>
                </a:lnTo>
                <a:lnTo>
                  <a:pt x="1925320" y="2827245"/>
                </a:lnTo>
                <a:lnTo>
                  <a:pt x="1925638" y="2828520"/>
                </a:lnTo>
                <a:lnTo>
                  <a:pt x="1926273" y="2829476"/>
                </a:lnTo>
                <a:lnTo>
                  <a:pt x="1927543" y="2830433"/>
                </a:lnTo>
                <a:lnTo>
                  <a:pt x="1929130" y="2831389"/>
                </a:lnTo>
                <a:lnTo>
                  <a:pt x="1931036" y="2832026"/>
                </a:lnTo>
                <a:lnTo>
                  <a:pt x="1933576" y="2832664"/>
                </a:lnTo>
                <a:lnTo>
                  <a:pt x="1938656" y="2832982"/>
                </a:lnTo>
                <a:lnTo>
                  <a:pt x="1985328" y="2832982"/>
                </a:lnTo>
                <a:lnTo>
                  <a:pt x="1990726" y="2832664"/>
                </a:lnTo>
                <a:lnTo>
                  <a:pt x="1992630" y="2832026"/>
                </a:lnTo>
                <a:lnTo>
                  <a:pt x="1995170" y="2831389"/>
                </a:lnTo>
                <a:lnTo>
                  <a:pt x="1996758" y="2830433"/>
                </a:lnTo>
                <a:lnTo>
                  <a:pt x="1997710" y="2829476"/>
                </a:lnTo>
                <a:lnTo>
                  <a:pt x="1998663" y="2828520"/>
                </a:lnTo>
                <a:lnTo>
                  <a:pt x="1998980" y="2827245"/>
                </a:lnTo>
                <a:lnTo>
                  <a:pt x="1998980" y="2808121"/>
                </a:lnTo>
                <a:lnTo>
                  <a:pt x="2013586" y="2806846"/>
                </a:lnTo>
                <a:lnTo>
                  <a:pt x="2027873" y="2805572"/>
                </a:lnTo>
                <a:lnTo>
                  <a:pt x="2041526" y="2803978"/>
                </a:lnTo>
                <a:lnTo>
                  <a:pt x="2054543" y="2801747"/>
                </a:lnTo>
                <a:lnTo>
                  <a:pt x="2067243" y="2799197"/>
                </a:lnTo>
                <a:lnTo>
                  <a:pt x="2078673" y="2796966"/>
                </a:lnTo>
                <a:lnTo>
                  <a:pt x="2089786" y="2793778"/>
                </a:lnTo>
                <a:lnTo>
                  <a:pt x="2099310" y="2790272"/>
                </a:lnTo>
                <a:lnTo>
                  <a:pt x="2106930" y="2787085"/>
                </a:lnTo>
                <a:lnTo>
                  <a:pt x="2114233" y="2783898"/>
                </a:lnTo>
                <a:lnTo>
                  <a:pt x="2120900" y="2779754"/>
                </a:lnTo>
                <a:lnTo>
                  <a:pt x="2126933" y="2776248"/>
                </a:lnTo>
                <a:lnTo>
                  <a:pt x="2132013" y="2772423"/>
                </a:lnTo>
                <a:lnTo>
                  <a:pt x="2136776" y="2768280"/>
                </a:lnTo>
                <a:lnTo>
                  <a:pt x="2140586" y="2764136"/>
                </a:lnTo>
                <a:lnTo>
                  <a:pt x="2143760" y="2759674"/>
                </a:lnTo>
                <a:lnTo>
                  <a:pt x="2145983" y="2755212"/>
                </a:lnTo>
                <a:lnTo>
                  <a:pt x="2147570" y="2751068"/>
                </a:lnTo>
                <a:lnTo>
                  <a:pt x="2148840" y="2746606"/>
                </a:lnTo>
                <a:lnTo>
                  <a:pt x="2149158" y="2742144"/>
                </a:lnTo>
                <a:lnTo>
                  <a:pt x="2148523" y="2737363"/>
                </a:lnTo>
                <a:lnTo>
                  <a:pt x="2147253" y="2733219"/>
                </a:lnTo>
                <a:lnTo>
                  <a:pt x="2145030" y="2728757"/>
                </a:lnTo>
                <a:lnTo>
                  <a:pt x="2141856" y="2723976"/>
                </a:lnTo>
                <a:lnTo>
                  <a:pt x="2140268" y="2721745"/>
                </a:lnTo>
                <a:lnTo>
                  <a:pt x="2137728" y="2719833"/>
                </a:lnTo>
                <a:lnTo>
                  <a:pt x="2132648" y="2715370"/>
                </a:lnTo>
                <a:lnTo>
                  <a:pt x="2126298" y="2711227"/>
                </a:lnTo>
                <a:lnTo>
                  <a:pt x="2119630" y="2707721"/>
                </a:lnTo>
                <a:lnTo>
                  <a:pt x="2111693" y="2704215"/>
                </a:lnTo>
                <a:lnTo>
                  <a:pt x="2103438" y="2701027"/>
                </a:lnTo>
                <a:lnTo>
                  <a:pt x="2094548" y="2697840"/>
                </a:lnTo>
                <a:lnTo>
                  <a:pt x="2084706" y="2694653"/>
                </a:lnTo>
                <a:lnTo>
                  <a:pt x="2074863" y="2692103"/>
                </a:lnTo>
                <a:lnTo>
                  <a:pt x="2064068" y="2689553"/>
                </a:lnTo>
                <a:lnTo>
                  <a:pt x="2042796" y="2684772"/>
                </a:lnTo>
                <a:lnTo>
                  <a:pt x="2020570" y="2680310"/>
                </a:lnTo>
                <a:lnTo>
                  <a:pt x="1998980" y="2676485"/>
                </a:lnTo>
                <a:lnTo>
                  <a:pt x="1998980" y="2594571"/>
                </a:lnTo>
                <a:lnTo>
                  <a:pt x="2018030" y="2596802"/>
                </a:lnTo>
                <a:lnTo>
                  <a:pt x="2025016" y="2598077"/>
                </a:lnTo>
                <a:lnTo>
                  <a:pt x="2032000" y="2599670"/>
                </a:lnTo>
                <a:lnTo>
                  <a:pt x="2047240" y="2603495"/>
                </a:lnTo>
                <a:lnTo>
                  <a:pt x="2061846" y="2607958"/>
                </a:lnTo>
                <a:lnTo>
                  <a:pt x="2073593" y="2612420"/>
                </a:lnTo>
                <a:lnTo>
                  <a:pt x="2080260" y="2614970"/>
                </a:lnTo>
                <a:lnTo>
                  <a:pt x="2082483" y="2616245"/>
                </a:lnTo>
                <a:lnTo>
                  <a:pt x="2083118" y="2616245"/>
                </a:lnTo>
                <a:lnTo>
                  <a:pt x="2086610" y="2618794"/>
                </a:lnTo>
                <a:lnTo>
                  <a:pt x="2088516" y="2619751"/>
                </a:lnTo>
                <a:lnTo>
                  <a:pt x="2090420" y="2621026"/>
                </a:lnTo>
                <a:lnTo>
                  <a:pt x="2095183" y="2622300"/>
                </a:lnTo>
                <a:lnTo>
                  <a:pt x="2100898" y="2622938"/>
                </a:lnTo>
                <a:lnTo>
                  <a:pt x="2106613" y="2622938"/>
                </a:lnTo>
                <a:lnTo>
                  <a:pt x="2112646" y="2622619"/>
                </a:lnTo>
                <a:lnTo>
                  <a:pt x="2118360" y="2621982"/>
                </a:lnTo>
                <a:lnTo>
                  <a:pt x="2124393" y="2620388"/>
                </a:lnTo>
                <a:lnTo>
                  <a:pt x="2129790" y="2618794"/>
                </a:lnTo>
                <a:lnTo>
                  <a:pt x="2135188" y="2616563"/>
                </a:lnTo>
                <a:lnTo>
                  <a:pt x="2139633" y="2614332"/>
                </a:lnTo>
                <a:lnTo>
                  <a:pt x="2143760" y="2612101"/>
                </a:lnTo>
                <a:lnTo>
                  <a:pt x="2146618" y="2609232"/>
                </a:lnTo>
                <a:lnTo>
                  <a:pt x="2147570" y="2607958"/>
                </a:lnTo>
                <a:lnTo>
                  <a:pt x="2148523" y="2606683"/>
                </a:lnTo>
                <a:lnTo>
                  <a:pt x="2148840" y="2605089"/>
                </a:lnTo>
                <a:lnTo>
                  <a:pt x="2148840" y="2604133"/>
                </a:lnTo>
                <a:lnTo>
                  <a:pt x="2148523" y="2602858"/>
                </a:lnTo>
                <a:lnTo>
                  <a:pt x="2148206" y="2601583"/>
                </a:lnTo>
                <a:lnTo>
                  <a:pt x="2146936" y="2600627"/>
                </a:lnTo>
                <a:lnTo>
                  <a:pt x="2145666" y="2599352"/>
                </a:lnTo>
                <a:lnTo>
                  <a:pt x="2141220" y="2596483"/>
                </a:lnTo>
                <a:lnTo>
                  <a:pt x="2136776" y="2593615"/>
                </a:lnTo>
                <a:lnTo>
                  <a:pt x="2131060" y="2591383"/>
                </a:lnTo>
                <a:lnTo>
                  <a:pt x="2125663" y="2588515"/>
                </a:lnTo>
                <a:lnTo>
                  <a:pt x="2112646" y="2583734"/>
                </a:lnTo>
                <a:lnTo>
                  <a:pt x="2098358" y="2579590"/>
                </a:lnTo>
                <a:lnTo>
                  <a:pt x="2083436" y="2575766"/>
                </a:lnTo>
                <a:lnTo>
                  <a:pt x="2067878" y="2572259"/>
                </a:lnTo>
                <a:lnTo>
                  <a:pt x="2052638" y="2569710"/>
                </a:lnTo>
                <a:lnTo>
                  <a:pt x="2038033" y="2567479"/>
                </a:lnTo>
                <a:lnTo>
                  <a:pt x="2018666" y="2565566"/>
                </a:lnTo>
                <a:lnTo>
                  <a:pt x="1998980" y="2564291"/>
                </a:lnTo>
                <a:lnTo>
                  <a:pt x="1998980" y="2546123"/>
                </a:lnTo>
                <a:lnTo>
                  <a:pt x="1998663" y="2545167"/>
                </a:lnTo>
                <a:lnTo>
                  <a:pt x="1997710" y="2543892"/>
                </a:lnTo>
                <a:lnTo>
                  <a:pt x="1996758" y="2542936"/>
                </a:lnTo>
                <a:lnTo>
                  <a:pt x="1995170" y="2542299"/>
                </a:lnTo>
                <a:lnTo>
                  <a:pt x="1992630" y="2541342"/>
                </a:lnTo>
                <a:lnTo>
                  <a:pt x="1990726" y="2540705"/>
                </a:lnTo>
                <a:lnTo>
                  <a:pt x="1987868" y="2540705"/>
                </a:lnTo>
                <a:lnTo>
                  <a:pt x="1985328" y="2540386"/>
                </a:lnTo>
                <a:lnTo>
                  <a:pt x="1938656" y="2540386"/>
                </a:lnTo>
                <a:close/>
                <a:moveTo>
                  <a:pt x="1959293" y="2522537"/>
                </a:moveTo>
                <a:lnTo>
                  <a:pt x="1982788" y="2522856"/>
                </a:lnTo>
                <a:lnTo>
                  <a:pt x="2005966" y="2523493"/>
                </a:lnTo>
                <a:lnTo>
                  <a:pt x="2028826" y="2524450"/>
                </a:lnTo>
                <a:lnTo>
                  <a:pt x="2051368" y="2526043"/>
                </a:lnTo>
                <a:lnTo>
                  <a:pt x="2073910" y="2527637"/>
                </a:lnTo>
                <a:lnTo>
                  <a:pt x="2095500" y="2529868"/>
                </a:lnTo>
                <a:lnTo>
                  <a:pt x="2116773" y="2532737"/>
                </a:lnTo>
                <a:lnTo>
                  <a:pt x="2137728" y="2535605"/>
                </a:lnTo>
                <a:lnTo>
                  <a:pt x="2158048" y="2538793"/>
                </a:lnTo>
                <a:lnTo>
                  <a:pt x="2177733" y="2542299"/>
                </a:lnTo>
                <a:lnTo>
                  <a:pt x="2197100" y="2546123"/>
                </a:lnTo>
                <a:lnTo>
                  <a:pt x="2215516" y="2550586"/>
                </a:lnTo>
                <a:lnTo>
                  <a:pt x="2233613" y="2555367"/>
                </a:lnTo>
                <a:lnTo>
                  <a:pt x="2251076" y="2560148"/>
                </a:lnTo>
                <a:lnTo>
                  <a:pt x="2267586" y="2565247"/>
                </a:lnTo>
                <a:lnTo>
                  <a:pt x="2283778" y="2570666"/>
                </a:lnTo>
                <a:lnTo>
                  <a:pt x="2298700" y="2576403"/>
                </a:lnTo>
                <a:lnTo>
                  <a:pt x="2313306" y="2582140"/>
                </a:lnTo>
                <a:lnTo>
                  <a:pt x="2326640" y="2588515"/>
                </a:lnTo>
                <a:lnTo>
                  <a:pt x="2339658" y="2594889"/>
                </a:lnTo>
                <a:lnTo>
                  <a:pt x="2351723" y="2601583"/>
                </a:lnTo>
                <a:lnTo>
                  <a:pt x="2362518" y="2608914"/>
                </a:lnTo>
                <a:lnTo>
                  <a:pt x="2372996" y="2615607"/>
                </a:lnTo>
                <a:lnTo>
                  <a:pt x="2381886" y="2622938"/>
                </a:lnTo>
                <a:lnTo>
                  <a:pt x="2390140" y="2630587"/>
                </a:lnTo>
                <a:lnTo>
                  <a:pt x="2397443" y="2638237"/>
                </a:lnTo>
                <a:lnTo>
                  <a:pt x="2403793" y="2645568"/>
                </a:lnTo>
                <a:lnTo>
                  <a:pt x="2406016" y="2649711"/>
                </a:lnTo>
                <a:lnTo>
                  <a:pt x="2408873" y="2653855"/>
                </a:lnTo>
                <a:lnTo>
                  <a:pt x="2410778" y="2657998"/>
                </a:lnTo>
                <a:lnTo>
                  <a:pt x="2412683" y="2661823"/>
                </a:lnTo>
                <a:lnTo>
                  <a:pt x="2414270" y="2665967"/>
                </a:lnTo>
                <a:lnTo>
                  <a:pt x="2415540" y="2670110"/>
                </a:lnTo>
                <a:lnTo>
                  <a:pt x="2416810" y="2674254"/>
                </a:lnTo>
                <a:lnTo>
                  <a:pt x="2417446" y="2678397"/>
                </a:lnTo>
                <a:lnTo>
                  <a:pt x="2417763" y="2682541"/>
                </a:lnTo>
                <a:lnTo>
                  <a:pt x="2417763" y="2686684"/>
                </a:lnTo>
                <a:lnTo>
                  <a:pt x="2417763" y="2691147"/>
                </a:lnTo>
                <a:lnTo>
                  <a:pt x="2417446" y="2694971"/>
                </a:lnTo>
                <a:lnTo>
                  <a:pt x="2416810" y="2699434"/>
                </a:lnTo>
                <a:lnTo>
                  <a:pt x="2415540" y="2703896"/>
                </a:lnTo>
                <a:lnTo>
                  <a:pt x="2414270" y="2707721"/>
                </a:lnTo>
                <a:lnTo>
                  <a:pt x="2412683" y="2711864"/>
                </a:lnTo>
                <a:lnTo>
                  <a:pt x="2410778" y="2716008"/>
                </a:lnTo>
                <a:lnTo>
                  <a:pt x="2408873" y="2720151"/>
                </a:lnTo>
                <a:lnTo>
                  <a:pt x="2406016" y="2723976"/>
                </a:lnTo>
                <a:lnTo>
                  <a:pt x="2403793" y="2728120"/>
                </a:lnTo>
                <a:lnTo>
                  <a:pt x="2397443" y="2735769"/>
                </a:lnTo>
                <a:lnTo>
                  <a:pt x="2390140" y="2743419"/>
                </a:lnTo>
                <a:lnTo>
                  <a:pt x="2381886" y="2751068"/>
                </a:lnTo>
                <a:lnTo>
                  <a:pt x="2372996" y="2758080"/>
                </a:lnTo>
                <a:lnTo>
                  <a:pt x="2362518" y="2765093"/>
                </a:lnTo>
                <a:lnTo>
                  <a:pt x="2351723" y="2772105"/>
                </a:lnTo>
                <a:lnTo>
                  <a:pt x="2339658" y="2778798"/>
                </a:lnTo>
                <a:lnTo>
                  <a:pt x="2326640" y="2785173"/>
                </a:lnTo>
                <a:lnTo>
                  <a:pt x="2313306" y="2791229"/>
                </a:lnTo>
                <a:lnTo>
                  <a:pt x="2298700" y="2797284"/>
                </a:lnTo>
                <a:lnTo>
                  <a:pt x="2283778" y="2803340"/>
                </a:lnTo>
                <a:lnTo>
                  <a:pt x="2267586" y="2808440"/>
                </a:lnTo>
                <a:lnTo>
                  <a:pt x="2251076" y="2813540"/>
                </a:lnTo>
                <a:lnTo>
                  <a:pt x="2233613" y="2818640"/>
                </a:lnTo>
                <a:lnTo>
                  <a:pt x="2215516" y="2823102"/>
                </a:lnTo>
                <a:lnTo>
                  <a:pt x="2197100" y="2827245"/>
                </a:lnTo>
                <a:lnTo>
                  <a:pt x="2177733" y="2831389"/>
                </a:lnTo>
                <a:lnTo>
                  <a:pt x="2158048" y="2834895"/>
                </a:lnTo>
                <a:lnTo>
                  <a:pt x="2137728" y="2838401"/>
                </a:lnTo>
                <a:lnTo>
                  <a:pt x="2116773" y="2841270"/>
                </a:lnTo>
                <a:lnTo>
                  <a:pt x="2095500" y="2844138"/>
                </a:lnTo>
                <a:lnTo>
                  <a:pt x="2073910" y="2846051"/>
                </a:lnTo>
                <a:lnTo>
                  <a:pt x="2051368" y="2847963"/>
                </a:lnTo>
                <a:lnTo>
                  <a:pt x="2028826" y="2849238"/>
                </a:lnTo>
                <a:lnTo>
                  <a:pt x="2005966" y="2850513"/>
                </a:lnTo>
                <a:lnTo>
                  <a:pt x="1982788" y="2851150"/>
                </a:lnTo>
                <a:lnTo>
                  <a:pt x="1959293" y="2851150"/>
                </a:lnTo>
                <a:lnTo>
                  <a:pt x="1935480" y="2851150"/>
                </a:lnTo>
                <a:lnTo>
                  <a:pt x="1912303" y="2850513"/>
                </a:lnTo>
                <a:lnTo>
                  <a:pt x="1889443" y="2849238"/>
                </a:lnTo>
                <a:lnTo>
                  <a:pt x="1866900" y="2847963"/>
                </a:lnTo>
                <a:lnTo>
                  <a:pt x="1844358" y="2846051"/>
                </a:lnTo>
                <a:lnTo>
                  <a:pt x="1822768" y="2844138"/>
                </a:lnTo>
                <a:lnTo>
                  <a:pt x="1801496" y="2841270"/>
                </a:lnTo>
                <a:lnTo>
                  <a:pt x="1780540" y="2838401"/>
                </a:lnTo>
                <a:lnTo>
                  <a:pt x="1760220" y="2834895"/>
                </a:lnTo>
                <a:lnTo>
                  <a:pt x="1740536" y="2831389"/>
                </a:lnTo>
                <a:lnTo>
                  <a:pt x="1721168" y="2827245"/>
                </a:lnTo>
                <a:lnTo>
                  <a:pt x="1702753" y="2823102"/>
                </a:lnTo>
                <a:lnTo>
                  <a:pt x="1684656" y="2818640"/>
                </a:lnTo>
                <a:lnTo>
                  <a:pt x="1667193" y="2813540"/>
                </a:lnTo>
                <a:lnTo>
                  <a:pt x="1650683" y="2808440"/>
                </a:lnTo>
                <a:lnTo>
                  <a:pt x="1634490" y="2803340"/>
                </a:lnTo>
                <a:lnTo>
                  <a:pt x="1619568" y="2797284"/>
                </a:lnTo>
                <a:lnTo>
                  <a:pt x="1604963" y="2791229"/>
                </a:lnTo>
                <a:lnTo>
                  <a:pt x="1591628" y="2785173"/>
                </a:lnTo>
                <a:lnTo>
                  <a:pt x="1578610" y="2778798"/>
                </a:lnTo>
                <a:lnTo>
                  <a:pt x="1566863" y="2772105"/>
                </a:lnTo>
                <a:lnTo>
                  <a:pt x="1555750" y="2765093"/>
                </a:lnTo>
                <a:lnTo>
                  <a:pt x="1545273" y="2758080"/>
                </a:lnTo>
                <a:lnTo>
                  <a:pt x="1536383" y="2751068"/>
                </a:lnTo>
                <a:lnTo>
                  <a:pt x="1528128" y="2743419"/>
                </a:lnTo>
                <a:lnTo>
                  <a:pt x="1520826" y="2735769"/>
                </a:lnTo>
                <a:lnTo>
                  <a:pt x="1514793" y="2728120"/>
                </a:lnTo>
                <a:lnTo>
                  <a:pt x="1511936" y="2723976"/>
                </a:lnTo>
                <a:lnTo>
                  <a:pt x="1509396" y="2720151"/>
                </a:lnTo>
                <a:lnTo>
                  <a:pt x="1507490" y="2716008"/>
                </a:lnTo>
                <a:lnTo>
                  <a:pt x="1505586" y="2711864"/>
                </a:lnTo>
                <a:lnTo>
                  <a:pt x="1503998" y="2707721"/>
                </a:lnTo>
                <a:lnTo>
                  <a:pt x="1502410" y="2703896"/>
                </a:lnTo>
                <a:lnTo>
                  <a:pt x="1501776" y="2699434"/>
                </a:lnTo>
                <a:lnTo>
                  <a:pt x="1500823" y="2694971"/>
                </a:lnTo>
                <a:lnTo>
                  <a:pt x="1500506" y="2691147"/>
                </a:lnTo>
                <a:lnTo>
                  <a:pt x="1500188" y="2686684"/>
                </a:lnTo>
                <a:lnTo>
                  <a:pt x="1500506" y="2682541"/>
                </a:lnTo>
                <a:lnTo>
                  <a:pt x="1500823" y="2678397"/>
                </a:lnTo>
                <a:lnTo>
                  <a:pt x="1501776" y="2674254"/>
                </a:lnTo>
                <a:lnTo>
                  <a:pt x="1502410" y="2670110"/>
                </a:lnTo>
                <a:lnTo>
                  <a:pt x="1503998" y="2665967"/>
                </a:lnTo>
                <a:lnTo>
                  <a:pt x="1505586" y="2661823"/>
                </a:lnTo>
                <a:lnTo>
                  <a:pt x="1507490" y="2657998"/>
                </a:lnTo>
                <a:lnTo>
                  <a:pt x="1509396" y="2653855"/>
                </a:lnTo>
                <a:lnTo>
                  <a:pt x="1511936" y="2649711"/>
                </a:lnTo>
                <a:lnTo>
                  <a:pt x="1514793" y="2645568"/>
                </a:lnTo>
                <a:lnTo>
                  <a:pt x="1520826" y="2638237"/>
                </a:lnTo>
                <a:lnTo>
                  <a:pt x="1528128" y="2630587"/>
                </a:lnTo>
                <a:lnTo>
                  <a:pt x="1536383" y="2622938"/>
                </a:lnTo>
                <a:lnTo>
                  <a:pt x="1545273" y="2615607"/>
                </a:lnTo>
                <a:lnTo>
                  <a:pt x="1555750" y="2608914"/>
                </a:lnTo>
                <a:lnTo>
                  <a:pt x="1566863" y="2601583"/>
                </a:lnTo>
                <a:lnTo>
                  <a:pt x="1578610" y="2594889"/>
                </a:lnTo>
                <a:lnTo>
                  <a:pt x="1591628" y="2588515"/>
                </a:lnTo>
                <a:lnTo>
                  <a:pt x="1604963" y="2582140"/>
                </a:lnTo>
                <a:lnTo>
                  <a:pt x="1619568" y="2576403"/>
                </a:lnTo>
                <a:lnTo>
                  <a:pt x="1634490" y="2570666"/>
                </a:lnTo>
                <a:lnTo>
                  <a:pt x="1650683" y="2565247"/>
                </a:lnTo>
                <a:lnTo>
                  <a:pt x="1667193" y="2560148"/>
                </a:lnTo>
                <a:lnTo>
                  <a:pt x="1684656" y="2555367"/>
                </a:lnTo>
                <a:lnTo>
                  <a:pt x="1702753" y="2550586"/>
                </a:lnTo>
                <a:lnTo>
                  <a:pt x="1721168" y="2546123"/>
                </a:lnTo>
                <a:lnTo>
                  <a:pt x="1740536" y="2542299"/>
                </a:lnTo>
                <a:lnTo>
                  <a:pt x="1760220" y="2538793"/>
                </a:lnTo>
                <a:lnTo>
                  <a:pt x="1780540" y="2535605"/>
                </a:lnTo>
                <a:lnTo>
                  <a:pt x="1801496" y="2532737"/>
                </a:lnTo>
                <a:lnTo>
                  <a:pt x="1822768" y="2529868"/>
                </a:lnTo>
                <a:lnTo>
                  <a:pt x="1844358" y="2527637"/>
                </a:lnTo>
                <a:lnTo>
                  <a:pt x="1866900" y="2526043"/>
                </a:lnTo>
                <a:lnTo>
                  <a:pt x="1889443" y="2524450"/>
                </a:lnTo>
                <a:lnTo>
                  <a:pt x="1912303" y="2523493"/>
                </a:lnTo>
                <a:lnTo>
                  <a:pt x="1935480" y="2522856"/>
                </a:lnTo>
                <a:lnTo>
                  <a:pt x="1959293" y="2522537"/>
                </a:lnTo>
                <a:close/>
                <a:moveTo>
                  <a:pt x="2854584" y="2507933"/>
                </a:moveTo>
                <a:lnTo>
                  <a:pt x="2854584" y="2625091"/>
                </a:lnTo>
                <a:lnTo>
                  <a:pt x="2873946" y="2630488"/>
                </a:lnTo>
                <a:lnTo>
                  <a:pt x="2893626" y="2636203"/>
                </a:lnTo>
                <a:lnTo>
                  <a:pt x="2914258" y="2640966"/>
                </a:lnTo>
                <a:lnTo>
                  <a:pt x="2935524" y="2645728"/>
                </a:lnTo>
                <a:lnTo>
                  <a:pt x="2935524" y="2529523"/>
                </a:lnTo>
                <a:lnTo>
                  <a:pt x="2914258" y="2524761"/>
                </a:lnTo>
                <a:lnTo>
                  <a:pt x="2893626" y="2519363"/>
                </a:lnTo>
                <a:lnTo>
                  <a:pt x="2873946" y="2513965"/>
                </a:lnTo>
                <a:lnTo>
                  <a:pt x="2854584" y="2507933"/>
                </a:lnTo>
                <a:close/>
                <a:moveTo>
                  <a:pt x="2692385" y="2444750"/>
                </a:moveTo>
                <a:lnTo>
                  <a:pt x="2692385" y="2542223"/>
                </a:lnTo>
                <a:lnTo>
                  <a:pt x="2695241" y="2545081"/>
                </a:lnTo>
                <a:lnTo>
                  <a:pt x="2698098" y="2548256"/>
                </a:lnTo>
                <a:lnTo>
                  <a:pt x="2705399" y="2554923"/>
                </a:lnTo>
                <a:lnTo>
                  <a:pt x="2714921" y="2561591"/>
                </a:lnTo>
                <a:lnTo>
                  <a:pt x="2725078" y="2568576"/>
                </a:lnTo>
                <a:lnTo>
                  <a:pt x="2737140" y="2576196"/>
                </a:lnTo>
                <a:lnTo>
                  <a:pt x="2748884" y="2582863"/>
                </a:lnTo>
                <a:lnTo>
                  <a:pt x="2761581" y="2589213"/>
                </a:lnTo>
                <a:lnTo>
                  <a:pt x="2773325" y="2595246"/>
                </a:lnTo>
                <a:lnTo>
                  <a:pt x="2773325" y="2486343"/>
                </a:lnTo>
                <a:lnTo>
                  <a:pt x="2758407" y="2480628"/>
                </a:lnTo>
                <a:lnTo>
                  <a:pt x="2744441" y="2475230"/>
                </a:lnTo>
                <a:lnTo>
                  <a:pt x="2732379" y="2469198"/>
                </a:lnTo>
                <a:lnTo>
                  <a:pt x="2721269" y="2464118"/>
                </a:lnTo>
                <a:lnTo>
                  <a:pt x="2712064" y="2458720"/>
                </a:lnTo>
                <a:lnTo>
                  <a:pt x="2704446" y="2453958"/>
                </a:lnTo>
                <a:lnTo>
                  <a:pt x="2697781" y="2449195"/>
                </a:lnTo>
                <a:lnTo>
                  <a:pt x="2692385" y="2444750"/>
                </a:lnTo>
                <a:close/>
                <a:moveTo>
                  <a:pt x="3744614" y="2439353"/>
                </a:moveTo>
                <a:lnTo>
                  <a:pt x="3737949" y="2444433"/>
                </a:lnTo>
                <a:lnTo>
                  <a:pt x="3730648" y="2449195"/>
                </a:lnTo>
                <a:lnTo>
                  <a:pt x="3722713" y="2454275"/>
                </a:lnTo>
                <a:lnTo>
                  <a:pt x="3715095" y="2459038"/>
                </a:lnTo>
                <a:lnTo>
                  <a:pt x="3706524" y="2462848"/>
                </a:lnTo>
                <a:lnTo>
                  <a:pt x="3698907" y="2466975"/>
                </a:lnTo>
                <a:lnTo>
                  <a:pt x="3691289" y="2470468"/>
                </a:lnTo>
                <a:lnTo>
                  <a:pt x="3683671" y="2473325"/>
                </a:lnTo>
                <a:lnTo>
                  <a:pt x="3683671" y="2592706"/>
                </a:lnTo>
                <a:lnTo>
                  <a:pt x="3692558" y="2588578"/>
                </a:lnTo>
                <a:lnTo>
                  <a:pt x="3701128" y="2583816"/>
                </a:lnTo>
                <a:lnTo>
                  <a:pt x="3709381" y="2579053"/>
                </a:lnTo>
                <a:lnTo>
                  <a:pt x="3717634" y="2573973"/>
                </a:lnTo>
                <a:lnTo>
                  <a:pt x="3725252" y="2568258"/>
                </a:lnTo>
                <a:lnTo>
                  <a:pt x="3732235" y="2563178"/>
                </a:lnTo>
                <a:lnTo>
                  <a:pt x="3738901" y="2557781"/>
                </a:lnTo>
                <a:lnTo>
                  <a:pt x="3744614" y="2553018"/>
                </a:lnTo>
                <a:lnTo>
                  <a:pt x="3744614" y="2439353"/>
                </a:lnTo>
                <a:close/>
                <a:moveTo>
                  <a:pt x="3151360" y="2322195"/>
                </a:moveTo>
                <a:lnTo>
                  <a:pt x="3151360" y="2437130"/>
                </a:lnTo>
                <a:lnTo>
                  <a:pt x="3174848" y="2437765"/>
                </a:lnTo>
                <a:lnTo>
                  <a:pt x="3198972" y="2437765"/>
                </a:lnTo>
                <a:lnTo>
                  <a:pt x="3215477" y="2437765"/>
                </a:lnTo>
                <a:lnTo>
                  <a:pt x="3231983" y="2437448"/>
                </a:lnTo>
                <a:lnTo>
                  <a:pt x="3231983" y="2322512"/>
                </a:lnTo>
                <a:lnTo>
                  <a:pt x="3198972" y="2323147"/>
                </a:lnTo>
                <a:lnTo>
                  <a:pt x="3174848" y="2323147"/>
                </a:lnTo>
                <a:lnTo>
                  <a:pt x="3151360" y="2322195"/>
                </a:lnTo>
                <a:close/>
                <a:moveTo>
                  <a:pt x="3815080" y="2317750"/>
                </a:moveTo>
                <a:lnTo>
                  <a:pt x="3816033" y="2325370"/>
                </a:lnTo>
                <a:lnTo>
                  <a:pt x="3816350" y="2332673"/>
                </a:lnTo>
                <a:lnTo>
                  <a:pt x="3816350" y="2483803"/>
                </a:lnTo>
                <a:lnTo>
                  <a:pt x="3816033" y="2484438"/>
                </a:lnTo>
                <a:lnTo>
                  <a:pt x="3815398" y="2493010"/>
                </a:lnTo>
                <a:lnTo>
                  <a:pt x="3814763" y="2498408"/>
                </a:lnTo>
                <a:lnTo>
                  <a:pt x="3813493" y="2504123"/>
                </a:lnTo>
                <a:lnTo>
                  <a:pt x="3811906" y="2509520"/>
                </a:lnTo>
                <a:lnTo>
                  <a:pt x="3810319" y="2514600"/>
                </a:lnTo>
                <a:lnTo>
                  <a:pt x="3808097" y="2520316"/>
                </a:lnTo>
                <a:lnTo>
                  <a:pt x="3805558" y="2525713"/>
                </a:lnTo>
                <a:lnTo>
                  <a:pt x="3803019" y="2530793"/>
                </a:lnTo>
                <a:lnTo>
                  <a:pt x="3799844" y="2536508"/>
                </a:lnTo>
                <a:lnTo>
                  <a:pt x="3796036" y="2541588"/>
                </a:lnTo>
                <a:lnTo>
                  <a:pt x="3792226" y="2546668"/>
                </a:lnTo>
                <a:lnTo>
                  <a:pt x="3788418" y="2551748"/>
                </a:lnTo>
                <a:lnTo>
                  <a:pt x="3783974" y="2556828"/>
                </a:lnTo>
                <a:lnTo>
                  <a:pt x="3779212" y="2561591"/>
                </a:lnTo>
                <a:lnTo>
                  <a:pt x="3774134" y="2566671"/>
                </a:lnTo>
                <a:lnTo>
                  <a:pt x="3768420" y="2571433"/>
                </a:lnTo>
                <a:lnTo>
                  <a:pt x="3763024" y="2576513"/>
                </a:lnTo>
                <a:lnTo>
                  <a:pt x="3750963" y="2586038"/>
                </a:lnTo>
                <a:lnTo>
                  <a:pt x="3737314" y="2595246"/>
                </a:lnTo>
                <a:lnTo>
                  <a:pt x="3722713" y="2604136"/>
                </a:lnTo>
                <a:lnTo>
                  <a:pt x="3707477" y="2613026"/>
                </a:lnTo>
                <a:lnTo>
                  <a:pt x="3690971" y="2621281"/>
                </a:lnTo>
                <a:lnTo>
                  <a:pt x="3673513" y="2628901"/>
                </a:lnTo>
                <a:lnTo>
                  <a:pt x="3655103" y="2636838"/>
                </a:lnTo>
                <a:lnTo>
                  <a:pt x="3635424" y="2644458"/>
                </a:lnTo>
                <a:lnTo>
                  <a:pt x="3615109" y="2651443"/>
                </a:lnTo>
                <a:lnTo>
                  <a:pt x="3593842" y="2658111"/>
                </a:lnTo>
                <a:lnTo>
                  <a:pt x="3571941" y="2664461"/>
                </a:lnTo>
                <a:lnTo>
                  <a:pt x="3549087" y="2670493"/>
                </a:lnTo>
                <a:lnTo>
                  <a:pt x="3525281" y="2675891"/>
                </a:lnTo>
                <a:lnTo>
                  <a:pt x="3501157" y="2680971"/>
                </a:lnTo>
                <a:lnTo>
                  <a:pt x="3476082" y="2685733"/>
                </a:lnTo>
                <a:lnTo>
                  <a:pt x="3450371" y="2689861"/>
                </a:lnTo>
                <a:lnTo>
                  <a:pt x="3424343" y="2693671"/>
                </a:lnTo>
                <a:lnTo>
                  <a:pt x="3397680" y="2697163"/>
                </a:lnTo>
                <a:lnTo>
                  <a:pt x="3370065" y="2700021"/>
                </a:lnTo>
                <a:lnTo>
                  <a:pt x="3341815" y="2702561"/>
                </a:lnTo>
                <a:lnTo>
                  <a:pt x="3313565" y="2704466"/>
                </a:lnTo>
                <a:lnTo>
                  <a:pt x="3284680" y="2705736"/>
                </a:lnTo>
                <a:lnTo>
                  <a:pt x="3255478" y="2706371"/>
                </a:lnTo>
                <a:lnTo>
                  <a:pt x="3225959" y="2706688"/>
                </a:lnTo>
                <a:lnTo>
                  <a:pt x="3195487" y="2706371"/>
                </a:lnTo>
                <a:lnTo>
                  <a:pt x="3165650" y="2705736"/>
                </a:lnTo>
                <a:lnTo>
                  <a:pt x="3136130" y="2704148"/>
                </a:lnTo>
                <a:lnTo>
                  <a:pt x="3106928" y="2701926"/>
                </a:lnTo>
                <a:lnTo>
                  <a:pt x="3078678" y="2699703"/>
                </a:lnTo>
                <a:lnTo>
                  <a:pt x="3050428" y="2696528"/>
                </a:lnTo>
                <a:lnTo>
                  <a:pt x="3022813" y="2693353"/>
                </a:lnTo>
                <a:lnTo>
                  <a:pt x="2996150" y="2688908"/>
                </a:lnTo>
                <a:lnTo>
                  <a:pt x="2970122" y="2684781"/>
                </a:lnTo>
                <a:lnTo>
                  <a:pt x="2944729" y="2680018"/>
                </a:lnTo>
                <a:lnTo>
                  <a:pt x="2919971" y="2674303"/>
                </a:lnTo>
                <a:lnTo>
                  <a:pt x="2895847" y="2668588"/>
                </a:lnTo>
                <a:lnTo>
                  <a:pt x="2872994" y="2662556"/>
                </a:lnTo>
                <a:lnTo>
                  <a:pt x="2850775" y="2655888"/>
                </a:lnTo>
                <a:lnTo>
                  <a:pt x="2829190" y="2648903"/>
                </a:lnTo>
                <a:lnTo>
                  <a:pt x="2808876" y="2641601"/>
                </a:lnTo>
                <a:lnTo>
                  <a:pt x="2789196" y="2633663"/>
                </a:lnTo>
                <a:lnTo>
                  <a:pt x="2770469" y="2625408"/>
                </a:lnTo>
                <a:lnTo>
                  <a:pt x="2753328" y="2617153"/>
                </a:lnTo>
                <a:lnTo>
                  <a:pt x="2736823" y="2608581"/>
                </a:lnTo>
                <a:lnTo>
                  <a:pt x="2721269" y="2599373"/>
                </a:lnTo>
                <a:lnTo>
                  <a:pt x="2706986" y="2590483"/>
                </a:lnTo>
                <a:lnTo>
                  <a:pt x="2693972" y="2580641"/>
                </a:lnTo>
                <a:lnTo>
                  <a:pt x="2688258" y="2575878"/>
                </a:lnTo>
                <a:lnTo>
                  <a:pt x="2682227" y="2570798"/>
                </a:lnTo>
                <a:lnTo>
                  <a:pt x="2676831" y="2566036"/>
                </a:lnTo>
                <a:lnTo>
                  <a:pt x="2671753" y="2560956"/>
                </a:lnTo>
                <a:lnTo>
                  <a:pt x="2666991" y="2555558"/>
                </a:lnTo>
                <a:lnTo>
                  <a:pt x="2662548" y="2550161"/>
                </a:lnTo>
                <a:lnTo>
                  <a:pt x="2658104" y="2545081"/>
                </a:lnTo>
                <a:lnTo>
                  <a:pt x="2654612" y="2540001"/>
                </a:lnTo>
                <a:lnTo>
                  <a:pt x="2651121" y="2534286"/>
                </a:lnTo>
                <a:lnTo>
                  <a:pt x="2647947" y="2528888"/>
                </a:lnTo>
                <a:lnTo>
                  <a:pt x="2645090" y="2523808"/>
                </a:lnTo>
                <a:lnTo>
                  <a:pt x="2642868" y="2518093"/>
                </a:lnTo>
                <a:lnTo>
                  <a:pt x="2640329" y="2512695"/>
                </a:lnTo>
                <a:lnTo>
                  <a:pt x="2638742" y="2506663"/>
                </a:lnTo>
                <a:lnTo>
                  <a:pt x="2637789" y="2501265"/>
                </a:lnTo>
                <a:lnTo>
                  <a:pt x="2636520" y="2495868"/>
                </a:lnTo>
                <a:lnTo>
                  <a:pt x="2636202" y="2489835"/>
                </a:lnTo>
                <a:lnTo>
                  <a:pt x="2635885" y="2484438"/>
                </a:lnTo>
                <a:lnTo>
                  <a:pt x="2635250" y="2484438"/>
                </a:lnTo>
                <a:lnTo>
                  <a:pt x="2635250" y="2375535"/>
                </a:lnTo>
                <a:lnTo>
                  <a:pt x="2646360" y="2383790"/>
                </a:lnTo>
                <a:lnTo>
                  <a:pt x="2657786" y="2392045"/>
                </a:lnTo>
                <a:lnTo>
                  <a:pt x="2670166" y="2399983"/>
                </a:lnTo>
                <a:lnTo>
                  <a:pt x="2683180" y="2407285"/>
                </a:lnTo>
                <a:lnTo>
                  <a:pt x="2696511" y="2414905"/>
                </a:lnTo>
                <a:lnTo>
                  <a:pt x="2710160" y="2421890"/>
                </a:lnTo>
                <a:lnTo>
                  <a:pt x="2724761" y="2429193"/>
                </a:lnTo>
                <a:lnTo>
                  <a:pt x="2740314" y="2435860"/>
                </a:lnTo>
                <a:lnTo>
                  <a:pt x="2755550" y="2442210"/>
                </a:lnTo>
                <a:lnTo>
                  <a:pt x="2771738" y="2448243"/>
                </a:lnTo>
                <a:lnTo>
                  <a:pt x="2788244" y="2453958"/>
                </a:lnTo>
                <a:lnTo>
                  <a:pt x="2805384" y="2459673"/>
                </a:lnTo>
                <a:lnTo>
                  <a:pt x="2822525" y="2465070"/>
                </a:lnTo>
                <a:lnTo>
                  <a:pt x="2840300" y="2470150"/>
                </a:lnTo>
                <a:lnTo>
                  <a:pt x="2858393" y="2474913"/>
                </a:lnTo>
                <a:lnTo>
                  <a:pt x="2877120" y="2479675"/>
                </a:lnTo>
                <a:lnTo>
                  <a:pt x="2895530" y="2483803"/>
                </a:lnTo>
                <a:lnTo>
                  <a:pt x="2914892" y="2487930"/>
                </a:lnTo>
                <a:lnTo>
                  <a:pt x="2934255" y="2491423"/>
                </a:lnTo>
                <a:lnTo>
                  <a:pt x="2953617" y="2494915"/>
                </a:lnTo>
                <a:lnTo>
                  <a:pt x="2973614" y="2498090"/>
                </a:lnTo>
                <a:lnTo>
                  <a:pt x="2993294" y="2501265"/>
                </a:lnTo>
                <a:lnTo>
                  <a:pt x="3013926" y="2503488"/>
                </a:lnTo>
                <a:lnTo>
                  <a:pt x="3033923" y="2506028"/>
                </a:lnTo>
                <a:lnTo>
                  <a:pt x="3054555" y="2508250"/>
                </a:lnTo>
                <a:lnTo>
                  <a:pt x="3074869" y="2509838"/>
                </a:lnTo>
                <a:lnTo>
                  <a:pt x="3095819" y="2511425"/>
                </a:lnTo>
                <a:lnTo>
                  <a:pt x="3116451" y="2512695"/>
                </a:lnTo>
                <a:lnTo>
                  <a:pt x="3137400" y="2513965"/>
                </a:lnTo>
                <a:lnTo>
                  <a:pt x="3158032" y="2514600"/>
                </a:lnTo>
                <a:lnTo>
                  <a:pt x="3178981" y="2514918"/>
                </a:lnTo>
                <a:lnTo>
                  <a:pt x="3199613" y="2514918"/>
                </a:lnTo>
                <a:lnTo>
                  <a:pt x="3224372" y="2514918"/>
                </a:lnTo>
                <a:lnTo>
                  <a:pt x="3249765" y="2514283"/>
                </a:lnTo>
                <a:lnTo>
                  <a:pt x="3274523" y="2513330"/>
                </a:lnTo>
                <a:lnTo>
                  <a:pt x="3299282" y="2511743"/>
                </a:lnTo>
                <a:lnTo>
                  <a:pt x="3324040" y="2510473"/>
                </a:lnTo>
                <a:lnTo>
                  <a:pt x="3348481" y="2507933"/>
                </a:lnTo>
                <a:lnTo>
                  <a:pt x="3372922" y="2505710"/>
                </a:lnTo>
                <a:lnTo>
                  <a:pt x="3397680" y="2502535"/>
                </a:lnTo>
                <a:lnTo>
                  <a:pt x="3421486" y="2499360"/>
                </a:lnTo>
                <a:lnTo>
                  <a:pt x="3445292" y="2495233"/>
                </a:lnTo>
                <a:lnTo>
                  <a:pt x="3468464" y="2491423"/>
                </a:lnTo>
                <a:lnTo>
                  <a:pt x="3491635" y="2486978"/>
                </a:lnTo>
                <a:lnTo>
                  <a:pt x="3514171" y="2481898"/>
                </a:lnTo>
                <a:lnTo>
                  <a:pt x="3536390" y="2476818"/>
                </a:lnTo>
                <a:lnTo>
                  <a:pt x="3557974" y="2471420"/>
                </a:lnTo>
                <a:lnTo>
                  <a:pt x="3579241" y="2465070"/>
                </a:lnTo>
                <a:lnTo>
                  <a:pt x="3599873" y="2458720"/>
                </a:lnTo>
                <a:lnTo>
                  <a:pt x="3619870" y="2452053"/>
                </a:lnTo>
                <a:lnTo>
                  <a:pt x="3639233" y="2444750"/>
                </a:lnTo>
                <a:lnTo>
                  <a:pt x="3657643" y="2437448"/>
                </a:lnTo>
                <a:lnTo>
                  <a:pt x="3676053" y="2429510"/>
                </a:lnTo>
                <a:lnTo>
                  <a:pt x="3692876" y="2421255"/>
                </a:lnTo>
                <a:lnTo>
                  <a:pt x="3709381" y="2412365"/>
                </a:lnTo>
                <a:lnTo>
                  <a:pt x="3724935" y="2403475"/>
                </a:lnTo>
                <a:lnTo>
                  <a:pt x="3739853" y="2393950"/>
                </a:lnTo>
                <a:lnTo>
                  <a:pt x="3753502" y="2384108"/>
                </a:lnTo>
                <a:lnTo>
                  <a:pt x="3766198" y="2374265"/>
                </a:lnTo>
                <a:lnTo>
                  <a:pt x="3772547" y="2368550"/>
                </a:lnTo>
                <a:lnTo>
                  <a:pt x="3777943" y="2363470"/>
                </a:lnTo>
                <a:lnTo>
                  <a:pt x="3783656" y="2358073"/>
                </a:lnTo>
                <a:lnTo>
                  <a:pt x="3789052" y="2352675"/>
                </a:lnTo>
                <a:lnTo>
                  <a:pt x="3793814" y="2346960"/>
                </a:lnTo>
                <a:lnTo>
                  <a:pt x="3798575" y="2341563"/>
                </a:lnTo>
                <a:lnTo>
                  <a:pt x="3803336" y="2335530"/>
                </a:lnTo>
                <a:lnTo>
                  <a:pt x="3807145" y="2329498"/>
                </a:lnTo>
                <a:lnTo>
                  <a:pt x="3811271" y="2323783"/>
                </a:lnTo>
                <a:lnTo>
                  <a:pt x="3815080" y="2317750"/>
                </a:lnTo>
                <a:close/>
                <a:moveTo>
                  <a:pt x="2989478" y="2307907"/>
                </a:moveTo>
                <a:lnTo>
                  <a:pt x="2989478" y="2423478"/>
                </a:lnTo>
                <a:lnTo>
                  <a:pt x="3009158" y="2426018"/>
                </a:lnTo>
                <a:lnTo>
                  <a:pt x="3029472" y="2428240"/>
                </a:lnTo>
                <a:lnTo>
                  <a:pt x="3049469" y="2430780"/>
                </a:lnTo>
                <a:lnTo>
                  <a:pt x="3070419" y="2432685"/>
                </a:lnTo>
                <a:lnTo>
                  <a:pt x="3070419" y="2317432"/>
                </a:lnTo>
                <a:lnTo>
                  <a:pt x="3049469" y="2315527"/>
                </a:lnTo>
                <a:lnTo>
                  <a:pt x="3029472" y="2313305"/>
                </a:lnTo>
                <a:lnTo>
                  <a:pt x="3009158" y="2310765"/>
                </a:lnTo>
                <a:lnTo>
                  <a:pt x="2989478" y="2307907"/>
                </a:lnTo>
                <a:close/>
                <a:moveTo>
                  <a:pt x="2827597" y="2271395"/>
                </a:moveTo>
                <a:lnTo>
                  <a:pt x="2827597" y="2388553"/>
                </a:lnTo>
                <a:lnTo>
                  <a:pt x="2846959" y="2393950"/>
                </a:lnTo>
                <a:lnTo>
                  <a:pt x="2866956" y="2399665"/>
                </a:lnTo>
                <a:lnTo>
                  <a:pt x="2887588" y="2404428"/>
                </a:lnTo>
                <a:lnTo>
                  <a:pt x="2908220" y="2408873"/>
                </a:lnTo>
                <a:lnTo>
                  <a:pt x="2908220" y="2292985"/>
                </a:lnTo>
                <a:lnTo>
                  <a:pt x="2887588" y="2288222"/>
                </a:lnTo>
                <a:lnTo>
                  <a:pt x="2866956" y="2282825"/>
                </a:lnTo>
                <a:lnTo>
                  <a:pt x="2846959" y="2277110"/>
                </a:lnTo>
                <a:lnTo>
                  <a:pt x="2827597" y="2271395"/>
                </a:lnTo>
                <a:close/>
                <a:moveTo>
                  <a:pt x="3717945" y="2227897"/>
                </a:moveTo>
                <a:lnTo>
                  <a:pt x="3711914" y="2232025"/>
                </a:lnTo>
                <a:lnTo>
                  <a:pt x="3704931" y="2235517"/>
                </a:lnTo>
                <a:lnTo>
                  <a:pt x="3696678" y="2239327"/>
                </a:lnTo>
                <a:lnTo>
                  <a:pt x="3688425" y="2242820"/>
                </a:lnTo>
                <a:lnTo>
                  <a:pt x="3671285" y="2249487"/>
                </a:lnTo>
                <a:lnTo>
                  <a:pt x="3656684" y="2255202"/>
                </a:lnTo>
                <a:lnTo>
                  <a:pt x="3656684" y="2356167"/>
                </a:lnTo>
                <a:lnTo>
                  <a:pt x="3665254" y="2351722"/>
                </a:lnTo>
                <a:lnTo>
                  <a:pt x="3674142" y="2347595"/>
                </a:lnTo>
                <a:lnTo>
                  <a:pt x="3682394" y="2342197"/>
                </a:lnTo>
                <a:lnTo>
                  <a:pt x="3690647" y="2337117"/>
                </a:lnTo>
                <a:lnTo>
                  <a:pt x="3698582" y="2331720"/>
                </a:lnTo>
                <a:lnTo>
                  <a:pt x="3705566" y="2326640"/>
                </a:lnTo>
                <a:lnTo>
                  <a:pt x="3711914" y="2321560"/>
                </a:lnTo>
                <a:lnTo>
                  <a:pt x="3717945" y="2316162"/>
                </a:lnTo>
                <a:lnTo>
                  <a:pt x="3717945" y="2227897"/>
                </a:lnTo>
                <a:close/>
                <a:moveTo>
                  <a:pt x="2665715" y="2187575"/>
                </a:moveTo>
                <a:lnTo>
                  <a:pt x="2665715" y="2305685"/>
                </a:lnTo>
                <a:lnTo>
                  <a:pt x="2668254" y="2308542"/>
                </a:lnTo>
                <a:lnTo>
                  <a:pt x="2671429" y="2311717"/>
                </a:lnTo>
                <a:lnTo>
                  <a:pt x="2678729" y="2318385"/>
                </a:lnTo>
                <a:lnTo>
                  <a:pt x="2687934" y="2325052"/>
                </a:lnTo>
                <a:lnTo>
                  <a:pt x="2698726" y="2332037"/>
                </a:lnTo>
                <a:lnTo>
                  <a:pt x="2710153" y="2339657"/>
                </a:lnTo>
                <a:lnTo>
                  <a:pt x="2722215" y="2346325"/>
                </a:lnTo>
                <a:lnTo>
                  <a:pt x="2734594" y="2352675"/>
                </a:lnTo>
                <a:lnTo>
                  <a:pt x="2746656" y="2358390"/>
                </a:lnTo>
                <a:lnTo>
                  <a:pt x="2746656" y="2239327"/>
                </a:lnTo>
                <a:lnTo>
                  <a:pt x="2734594" y="2233612"/>
                </a:lnTo>
                <a:lnTo>
                  <a:pt x="2723167" y="2227580"/>
                </a:lnTo>
                <a:lnTo>
                  <a:pt x="2712058" y="2221230"/>
                </a:lnTo>
                <a:lnTo>
                  <a:pt x="2701583" y="2214562"/>
                </a:lnTo>
                <a:lnTo>
                  <a:pt x="2691743" y="2208212"/>
                </a:lnTo>
                <a:lnTo>
                  <a:pt x="2682538" y="2201545"/>
                </a:lnTo>
                <a:lnTo>
                  <a:pt x="2673650" y="2194560"/>
                </a:lnTo>
                <a:lnTo>
                  <a:pt x="2665715" y="2187575"/>
                </a:lnTo>
                <a:close/>
                <a:moveTo>
                  <a:pt x="2609850" y="2081212"/>
                </a:moveTo>
                <a:lnTo>
                  <a:pt x="2613342" y="2087245"/>
                </a:lnTo>
                <a:lnTo>
                  <a:pt x="2617468" y="2092960"/>
                </a:lnTo>
                <a:lnTo>
                  <a:pt x="2621594" y="2098675"/>
                </a:lnTo>
                <a:lnTo>
                  <a:pt x="2626038" y="2104390"/>
                </a:lnTo>
                <a:lnTo>
                  <a:pt x="2631117" y="2110105"/>
                </a:lnTo>
                <a:lnTo>
                  <a:pt x="2635878" y="2115502"/>
                </a:lnTo>
                <a:lnTo>
                  <a:pt x="2641274" y="2120900"/>
                </a:lnTo>
                <a:lnTo>
                  <a:pt x="2646988" y="2126615"/>
                </a:lnTo>
                <a:lnTo>
                  <a:pt x="2658732" y="2136775"/>
                </a:lnTo>
                <a:lnTo>
                  <a:pt x="2671746" y="2146935"/>
                </a:lnTo>
                <a:lnTo>
                  <a:pt x="2685712" y="2157095"/>
                </a:lnTo>
                <a:lnTo>
                  <a:pt x="2700631" y="2165985"/>
                </a:lnTo>
                <a:lnTo>
                  <a:pt x="2715867" y="2175192"/>
                </a:lnTo>
                <a:lnTo>
                  <a:pt x="2732372" y="2183765"/>
                </a:lnTo>
                <a:lnTo>
                  <a:pt x="2749830" y="2192020"/>
                </a:lnTo>
                <a:lnTo>
                  <a:pt x="2767923" y="2199957"/>
                </a:lnTo>
                <a:lnTo>
                  <a:pt x="2786650" y="2207895"/>
                </a:lnTo>
                <a:lnTo>
                  <a:pt x="2805695" y="2214880"/>
                </a:lnTo>
                <a:lnTo>
                  <a:pt x="2826009" y="2221547"/>
                </a:lnTo>
                <a:lnTo>
                  <a:pt x="2846959" y="2227897"/>
                </a:lnTo>
                <a:lnTo>
                  <a:pt x="2867591" y="2234247"/>
                </a:lnTo>
                <a:lnTo>
                  <a:pt x="2889492" y="2239645"/>
                </a:lnTo>
                <a:lnTo>
                  <a:pt x="2912029" y="2245042"/>
                </a:lnTo>
                <a:lnTo>
                  <a:pt x="2934248" y="2250122"/>
                </a:lnTo>
                <a:lnTo>
                  <a:pt x="2957102" y="2254250"/>
                </a:lnTo>
                <a:lnTo>
                  <a:pt x="2980908" y="2258695"/>
                </a:lnTo>
                <a:lnTo>
                  <a:pt x="3004396" y="2262187"/>
                </a:lnTo>
                <a:lnTo>
                  <a:pt x="3028203" y="2265680"/>
                </a:lnTo>
                <a:lnTo>
                  <a:pt x="3052644" y="2268537"/>
                </a:lnTo>
                <a:lnTo>
                  <a:pt x="3077084" y="2271395"/>
                </a:lnTo>
                <a:lnTo>
                  <a:pt x="3101525" y="2273300"/>
                </a:lnTo>
                <a:lnTo>
                  <a:pt x="3125966" y="2275205"/>
                </a:lnTo>
                <a:lnTo>
                  <a:pt x="3150725" y="2276792"/>
                </a:lnTo>
                <a:lnTo>
                  <a:pt x="3175800" y="2277745"/>
                </a:lnTo>
                <a:lnTo>
                  <a:pt x="3200559" y="2278380"/>
                </a:lnTo>
                <a:lnTo>
                  <a:pt x="3225317" y="2278380"/>
                </a:lnTo>
                <a:lnTo>
                  <a:pt x="3246266" y="2278380"/>
                </a:lnTo>
                <a:lnTo>
                  <a:pt x="3267216" y="2278062"/>
                </a:lnTo>
                <a:lnTo>
                  <a:pt x="3288165" y="2277110"/>
                </a:lnTo>
                <a:lnTo>
                  <a:pt x="3308797" y="2276157"/>
                </a:lnTo>
                <a:lnTo>
                  <a:pt x="3329429" y="2274887"/>
                </a:lnTo>
                <a:lnTo>
                  <a:pt x="3350378" y="2273300"/>
                </a:lnTo>
                <a:lnTo>
                  <a:pt x="3371010" y="2271712"/>
                </a:lnTo>
                <a:lnTo>
                  <a:pt x="3391325" y="2269807"/>
                </a:lnTo>
                <a:lnTo>
                  <a:pt x="3411957" y="2267267"/>
                </a:lnTo>
                <a:lnTo>
                  <a:pt x="3431954" y="2264727"/>
                </a:lnTo>
                <a:lnTo>
                  <a:pt x="3451951" y="2261870"/>
                </a:lnTo>
                <a:lnTo>
                  <a:pt x="3471948" y="2258695"/>
                </a:lnTo>
                <a:lnTo>
                  <a:pt x="3491628" y="2255202"/>
                </a:lnTo>
                <a:lnTo>
                  <a:pt x="3510990" y="2251710"/>
                </a:lnTo>
                <a:lnTo>
                  <a:pt x="3530035" y="2247582"/>
                </a:lnTo>
                <a:lnTo>
                  <a:pt x="3548763" y="2243455"/>
                </a:lnTo>
                <a:lnTo>
                  <a:pt x="3567173" y="2239010"/>
                </a:lnTo>
                <a:lnTo>
                  <a:pt x="3585265" y="2233930"/>
                </a:lnTo>
                <a:lnTo>
                  <a:pt x="3603041" y="2229167"/>
                </a:lnTo>
                <a:lnTo>
                  <a:pt x="3620498" y="2223452"/>
                </a:lnTo>
                <a:lnTo>
                  <a:pt x="3637004" y="2218055"/>
                </a:lnTo>
                <a:lnTo>
                  <a:pt x="3653510" y="2212022"/>
                </a:lnTo>
                <a:lnTo>
                  <a:pt x="3669698" y="2206307"/>
                </a:lnTo>
                <a:lnTo>
                  <a:pt x="3685251" y="2199957"/>
                </a:lnTo>
                <a:lnTo>
                  <a:pt x="3700170" y="2193290"/>
                </a:lnTo>
                <a:lnTo>
                  <a:pt x="3714770" y="2185987"/>
                </a:lnTo>
                <a:lnTo>
                  <a:pt x="3728419" y="2179002"/>
                </a:lnTo>
                <a:lnTo>
                  <a:pt x="3741751" y="2171382"/>
                </a:lnTo>
                <a:lnTo>
                  <a:pt x="3754765" y="2164080"/>
                </a:lnTo>
                <a:lnTo>
                  <a:pt x="3767144" y="2156142"/>
                </a:lnTo>
                <a:lnTo>
                  <a:pt x="3778571" y="2147887"/>
                </a:lnTo>
                <a:lnTo>
                  <a:pt x="3789363" y="2139632"/>
                </a:lnTo>
                <a:lnTo>
                  <a:pt x="3789363" y="2247265"/>
                </a:lnTo>
                <a:lnTo>
                  <a:pt x="3788728" y="2247582"/>
                </a:lnTo>
                <a:lnTo>
                  <a:pt x="3788728" y="2252027"/>
                </a:lnTo>
                <a:lnTo>
                  <a:pt x="3788411" y="2256472"/>
                </a:lnTo>
                <a:lnTo>
                  <a:pt x="3787776" y="2261870"/>
                </a:lnTo>
                <a:lnTo>
                  <a:pt x="3786506" y="2267267"/>
                </a:lnTo>
                <a:lnTo>
                  <a:pt x="3785237" y="2272982"/>
                </a:lnTo>
                <a:lnTo>
                  <a:pt x="3783332" y="2278062"/>
                </a:lnTo>
                <a:lnTo>
                  <a:pt x="3781428" y="2283460"/>
                </a:lnTo>
                <a:lnTo>
                  <a:pt x="3778571" y="2289175"/>
                </a:lnTo>
                <a:lnTo>
                  <a:pt x="3775714" y="2294255"/>
                </a:lnTo>
                <a:lnTo>
                  <a:pt x="3772540" y="2299335"/>
                </a:lnTo>
                <a:lnTo>
                  <a:pt x="3769048" y="2304732"/>
                </a:lnTo>
                <a:lnTo>
                  <a:pt x="3765557" y="2310130"/>
                </a:lnTo>
                <a:lnTo>
                  <a:pt x="3761113" y="2315210"/>
                </a:lnTo>
                <a:lnTo>
                  <a:pt x="3756987" y="2320290"/>
                </a:lnTo>
                <a:lnTo>
                  <a:pt x="3752226" y="2325052"/>
                </a:lnTo>
                <a:lnTo>
                  <a:pt x="3747147" y="2330132"/>
                </a:lnTo>
                <a:lnTo>
                  <a:pt x="3741433" y="2334895"/>
                </a:lnTo>
                <a:lnTo>
                  <a:pt x="3736037" y="2339975"/>
                </a:lnTo>
                <a:lnTo>
                  <a:pt x="3723658" y="2349500"/>
                </a:lnTo>
                <a:lnTo>
                  <a:pt x="3710327" y="2358390"/>
                </a:lnTo>
                <a:lnTo>
                  <a:pt x="3696043" y="2367598"/>
                </a:lnTo>
                <a:lnTo>
                  <a:pt x="3680490" y="2376170"/>
                </a:lnTo>
                <a:lnTo>
                  <a:pt x="3663667" y="2384425"/>
                </a:lnTo>
                <a:lnTo>
                  <a:pt x="3646526" y="2392363"/>
                </a:lnTo>
                <a:lnTo>
                  <a:pt x="3627799" y="2400300"/>
                </a:lnTo>
                <a:lnTo>
                  <a:pt x="3608754" y="2407920"/>
                </a:lnTo>
                <a:lnTo>
                  <a:pt x="3588122" y="2414905"/>
                </a:lnTo>
                <a:lnTo>
                  <a:pt x="3566855" y="2421573"/>
                </a:lnTo>
                <a:lnTo>
                  <a:pt x="3544636" y="2427923"/>
                </a:lnTo>
                <a:lnTo>
                  <a:pt x="3522417" y="2433955"/>
                </a:lnTo>
                <a:lnTo>
                  <a:pt x="3498611" y="2439353"/>
                </a:lnTo>
                <a:lnTo>
                  <a:pt x="3474170" y="2444433"/>
                </a:lnTo>
                <a:lnTo>
                  <a:pt x="3449412" y="2449195"/>
                </a:lnTo>
                <a:lnTo>
                  <a:pt x="3423701" y="2453323"/>
                </a:lnTo>
                <a:lnTo>
                  <a:pt x="3397356" y="2457133"/>
                </a:lnTo>
                <a:lnTo>
                  <a:pt x="3370376" y="2460625"/>
                </a:lnTo>
                <a:lnTo>
                  <a:pt x="3343395" y="2463483"/>
                </a:lnTo>
                <a:lnTo>
                  <a:pt x="3315146" y="2465705"/>
                </a:lnTo>
                <a:lnTo>
                  <a:pt x="3286896" y="2467928"/>
                </a:lnTo>
                <a:lnTo>
                  <a:pt x="3258011" y="2468880"/>
                </a:lnTo>
                <a:lnTo>
                  <a:pt x="3228491" y="2469833"/>
                </a:lnTo>
                <a:lnTo>
                  <a:pt x="3198972" y="2470150"/>
                </a:lnTo>
                <a:lnTo>
                  <a:pt x="3168500" y="2469833"/>
                </a:lnTo>
                <a:lnTo>
                  <a:pt x="3138663" y="2468880"/>
                </a:lnTo>
                <a:lnTo>
                  <a:pt x="3109143" y="2467293"/>
                </a:lnTo>
                <a:lnTo>
                  <a:pt x="3080259" y="2465388"/>
                </a:lnTo>
                <a:lnTo>
                  <a:pt x="3051374" y="2463165"/>
                </a:lnTo>
                <a:lnTo>
                  <a:pt x="3023441" y="2459990"/>
                </a:lnTo>
                <a:lnTo>
                  <a:pt x="2996144" y="2456815"/>
                </a:lnTo>
                <a:lnTo>
                  <a:pt x="2969481" y="2452370"/>
                </a:lnTo>
                <a:lnTo>
                  <a:pt x="2943453" y="2447925"/>
                </a:lnTo>
                <a:lnTo>
                  <a:pt x="2917742" y="2443480"/>
                </a:lnTo>
                <a:lnTo>
                  <a:pt x="2892984" y="2437765"/>
                </a:lnTo>
                <a:lnTo>
                  <a:pt x="2869178" y="2432050"/>
                </a:lnTo>
                <a:lnTo>
                  <a:pt x="2846007" y="2426018"/>
                </a:lnTo>
                <a:lnTo>
                  <a:pt x="2823470" y="2419350"/>
                </a:lnTo>
                <a:lnTo>
                  <a:pt x="2802203" y="2412048"/>
                </a:lnTo>
                <a:lnTo>
                  <a:pt x="2781889" y="2405063"/>
                </a:lnTo>
                <a:lnTo>
                  <a:pt x="2762527" y="2397125"/>
                </a:lnTo>
                <a:lnTo>
                  <a:pt x="2743799" y="2389188"/>
                </a:lnTo>
                <a:lnTo>
                  <a:pt x="2726024" y="2380615"/>
                </a:lnTo>
                <a:lnTo>
                  <a:pt x="2709518" y="2372043"/>
                </a:lnTo>
                <a:lnTo>
                  <a:pt x="2694600" y="2362835"/>
                </a:lnTo>
                <a:lnTo>
                  <a:pt x="2679999" y="2353945"/>
                </a:lnTo>
                <a:lnTo>
                  <a:pt x="2666985" y="2343785"/>
                </a:lnTo>
                <a:lnTo>
                  <a:pt x="2660954" y="2339340"/>
                </a:lnTo>
                <a:lnTo>
                  <a:pt x="2655240" y="2333942"/>
                </a:lnTo>
                <a:lnTo>
                  <a:pt x="2650162" y="2328862"/>
                </a:lnTo>
                <a:lnTo>
                  <a:pt x="2645083" y="2324100"/>
                </a:lnTo>
                <a:lnTo>
                  <a:pt x="2639687" y="2319020"/>
                </a:lnTo>
                <a:lnTo>
                  <a:pt x="2635561" y="2313622"/>
                </a:lnTo>
                <a:lnTo>
                  <a:pt x="2631434" y="2308542"/>
                </a:lnTo>
                <a:lnTo>
                  <a:pt x="2627625" y="2303145"/>
                </a:lnTo>
                <a:lnTo>
                  <a:pt x="2624134" y="2297747"/>
                </a:lnTo>
                <a:lnTo>
                  <a:pt x="2620960" y="2292350"/>
                </a:lnTo>
                <a:lnTo>
                  <a:pt x="2618103" y="2286635"/>
                </a:lnTo>
                <a:lnTo>
                  <a:pt x="2615881" y="2281555"/>
                </a:lnTo>
                <a:lnTo>
                  <a:pt x="2613659" y="2275840"/>
                </a:lnTo>
                <a:lnTo>
                  <a:pt x="2612072" y="2270125"/>
                </a:lnTo>
                <a:lnTo>
                  <a:pt x="2610485" y="2264727"/>
                </a:lnTo>
                <a:lnTo>
                  <a:pt x="2609850" y="2259012"/>
                </a:lnTo>
                <a:lnTo>
                  <a:pt x="2609215" y="2253297"/>
                </a:lnTo>
                <a:lnTo>
                  <a:pt x="2609215" y="2247582"/>
                </a:lnTo>
                <a:lnTo>
                  <a:pt x="2608580" y="2247582"/>
                </a:lnTo>
                <a:lnTo>
                  <a:pt x="2608580" y="2101215"/>
                </a:lnTo>
                <a:lnTo>
                  <a:pt x="2608263" y="2097405"/>
                </a:lnTo>
                <a:lnTo>
                  <a:pt x="2608580" y="2089150"/>
                </a:lnTo>
                <a:lnTo>
                  <a:pt x="2609850" y="2081212"/>
                </a:lnTo>
                <a:close/>
                <a:moveTo>
                  <a:pt x="3270250" y="1882775"/>
                </a:moveTo>
                <a:lnTo>
                  <a:pt x="3307579" y="1890615"/>
                </a:lnTo>
                <a:lnTo>
                  <a:pt x="3314856" y="1892183"/>
                </a:lnTo>
                <a:lnTo>
                  <a:pt x="3321499" y="1894064"/>
                </a:lnTo>
                <a:lnTo>
                  <a:pt x="3326877" y="1895945"/>
                </a:lnTo>
                <a:lnTo>
                  <a:pt x="3331622" y="1898141"/>
                </a:lnTo>
                <a:lnTo>
                  <a:pt x="3336367" y="1900649"/>
                </a:lnTo>
                <a:lnTo>
                  <a:pt x="3340164" y="1902844"/>
                </a:lnTo>
                <a:lnTo>
                  <a:pt x="3348389" y="1908802"/>
                </a:lnTo>
                <a:lnTo>
                  <a:pt x="3351236" y="1911625"/>
                </a:lnTo>
                <a:lnTo>
                  <a:pt x="3353767" y="1914133"/>
                </a:lnTo>
                <a:lnTo>
                  <a:pt x="3355665" y="1916955"/>
                </a:lnTo>
                <a:lnTo>
                  <a:pt x="3356930" y="1919778"/>
                </a:lnTo>
                <a:lnTo>
                  <a:pt x="3357563" y="1922913"/>
                </a:lnTo>
                <a:lnTo>
                  <a:pt x="3357563" y="1925422"/>
                </a:lnTo>
                <a:lnTo>
                  <a:pt x="3357247" y="1928244"/>
                </a:lnTo>
                <a:lnTo>
                  <a:pt x="3355981" y="1931066"/>
                </a:lnTo>
                <a:lnTo>
                  <a:pt x="3354716" y="1933889"/>
                </a:lnTo>
                <a:lnTo>
                  <a:pt x="3352818" y="1936397"/>
                </a:lnTo>
                <a:lnTo>
                  <a:pt x="3350603" y="1939220"/>
                </a:lnTo>
                <a:lnTo>
                  <a:pt x="3347440" y="1941415"/>
                </a:lnTo>
                <a:lnTo>
                  <a:pt x="3344276" y="1943923"/>
                </a:lnTo>
                <a:lnTo>
                  <a:pt x="3340164" y="1945805"/>
                </a:lnTo>
                <a:lnTo>
                  <a:pt x="3336051" y="1947686"/>
                </a:lnTo>
                <a:lnTo>
                  <a:pt x="3331306" y="1949568"/>
                </a:lnTo>
                <a:lnTo>
                  <a:pt x="3324979" y="1951763"/>
                </a:lnTo>
                <a:lnTo>
                  <a:pt x="3318335" y="1953644"/>
                </a:lnTo>
                <a:lnTo>
                  <a:pt x="3310743" y="1955212"/>
                </a:lnTo>
                <a:lnTo>
                  <a:pt x="3303467" y="1956466"/>
                </a:lnTo>
                <a:lnTo>
                  <a:pt x="3295558" y="1957094"/>
                </a:lnTo>
                <a:lnTo>
                  <a:pt x="3287333" y="1958034"/>
                </a:lnTo>
                <a:lnTo>
                  <a:pt x="3270250" y="1958975"/>
                </a:lnTo>
                <a:lnTo>
                  <a:pt x="3270250" y="1882775"/>
                </a:lnTo>
                <a:close/>
                <a:moveTo>
                  <a:pt x="2635250" y="1862137"/>
                </a:moveTo>
                <a:lnTo>
                  <a:pt x="2635885" y="1868810"/>
                </a:lnTo>
                <a:lnTo>
                  <a:pt x="2636520" y="1875166"/>
                </a:lnTo>
                <a:lnTo>
                  <a:pt x="2637789" y="1881521"/>
                </a:lnTo>
                <a:lnTo>
                  <a:pt x="2639694" y="1887559"/>
                </a:lnTo>
                <a:lnTo>
                  <a:pt x="2641598" y="1893914"/>
                </a:lnTo>
                <a:lnTo>
                  <a:pt x="2644455" y="1900270"/>
                </a:lnTo>
                <a:lnTo>
                  <a:pt x="2647629" y="1906307"/>
                </a:lnTo>
                <a:lnTo>
                  <a:pt x="2650803" y="1912663"/>
                </a:lnTo>
                <a:lnTo>
                  <a:pt x="2654612" y="1918383"/>
                </a:lnTo>
                <a:lnTo>
                  <a:pt x="2659056" y="1924420"/>
                </a:lnTo>
                <a:lnTo>
                  <a:pt x="2663817" y="1930458"/>
                </a:lnTo>
                <a:lnTo>
                  <a:pt x="2668896" y="1936178"/>
                </a:lnTo>
                <a:lnTo>
                  <a:pt x="2673975" y="1941898"/>
                </a:lnTo>
                <a:lnTo>
                  <a:pt x="2680005" y="1947618"/>
                </a:lnTo>
                <a:lnTo>
                  <a:pt x="2686354" y="1953338"/>
                </a:lnTo>
                <a:lnTo>
                  <a:pt x="2692385" y="1958740"/>
                </a:lnTo>
                <a:lnTo>
                  <a:pt x="2692385" y="2069006"/>
                </a:lnTo>
                <a:lnTo>
                  <a:pt x="2695241" y="2071549"/>
                </a:lnTo>
                <a:lnTo>
                  <a:pt x="2698098" y="2074726"/>
                </a:lnTo>
                <a:lnTo>
                  <a:pt x="2705399" y="2081400"/>
                </a:lnTo>
                <a:lnTo>
                  <a:pt x="2714921" y="2088391"/>
                </a:lnTo>
                <a:lnTo>
                  <a:pt x="2725078" y="2095699"/>
                </a:lnTo>
                <a:lnTo>
                  <a:pt x="2737140" y="2103008"/>
                </a:lnTo>
                <a:lnTo>
                  <a:pt x="2748884" y="2109681"/>
                </a:lnTo>
                <a:lnTo>
                  <a:pt x="2761581" y="2116354"/>
                </a:lnTo>
                <a:lnTo>
                  <a:pt x="2773325" y="2121757"/>
                </a:lnTo>
                <a:lnTo>
                  <a:pt x="2773325" y="2007994"/>
                </a:lnTo>
                <a:lnTo>
                  <a:pt x="2792370" y="2016256"/>
                </a:lnTo>
                <a:lnTo>
                  <a:pt x="2812050" y="2024201"/>
                </a:lnTo>
                <a:lnTo>
                  <a:pt x="2832999" y="2031827"/>
                </a:lnTo>
                <a:lnTo>
                  <a:pt x="2854584" y="2038818"/>
                </a:lnTo>
                <a:lnTo>
                  <a:pt x="2854584" y="2151945"/>
                </a:lnTo>
                <a:lnTo>
                  <a:pt x="2873946" y="2157347"/>
                </a:lnTo>
                <a:lnTo>
                  <a:pt x="2893626" y="2162749"/>
                </a:lnTo>
                <a:lnTo>
                  <a:pt x="2914258" y="2167516"/>
                </a:lnTo>
                <a:lnTo>
                  <a:pt x="2935524" y="2172282"/>
                </a:lnTo>
                <a:lnTo>
                  <a:pt x="2935524" y="2060744"/>
                </a:lnTo>
                <a:lnTo>
                  <a:pt x="2955204" y="2064558"/>
                </a:lnTo>
                <a:lnTo>
                  <a:pt x="2974884" y="2068371"/>
                </a:lnTo>
                <a:lnTo>
                  <a:pt x="2995198" y="2071549"/>
                </a:lnTo>
                <a:lnTo>
                  <a:pt x="3016148" y="2075362"/>
                </a:lnTo>
                <a:lnTo>
                  <a:pt x="3016148" y="2186900"/>
                </a:lnTo>
                <a:lnTo>
                  <a:pt x="3035827" y="2189442"/>
                </a:lnTo>
                <a:lnTo>
                  <a:pt x="3056142" y="2191666"/>
                </a:lnTo>
                <a:lnTo>
                  <a:pt x="3076456" y="2194208"/>
                </a:lnTo>
                <a:lnTo>
                  <a:pt x="3097406" y="2196115"/>
                </a:lnTo>
                <a:lnTo>
                  <a:pt x="3097406" y="2084577"/>
                </a:lnTo>
                <a:lnTo>
                  <a:pt x="3117085" y="2086166"/>
                </a:lnTo>
                <a:lnTo>
                  <a:pt x="3137400" y="2087437"/>
                </a:lnTo>
                <a:lnTo>
                  <a:pt x="3157715" y="2088708"/>
                </a:lnTo>
                <a:lnTo>
                  <a:pt x="3178346" y="2089344"/>
                </a:lnTo>
                <a:lnTo>
                  <a:pt x="3178346" y="2200246"/>
                </a:lnTo>
                <a:lnTo>
                  <a:pt x="3201835" y="2201199"/>
                </a:lnTo>
                <a:lnTo>
                  <a:pt x="3225959" y="2201199"/>
                </a:lnTo>
                <a:lnTo>
                  <a:pt x="3258970" y="2200882"/>
                </a:lnTo>
                <a:lnTo>
                  <a:pt x="3258970" y="2089344"/>
                </a:lnTo>
                <a:lnTo>
                  <a:pt x="3291029" y="2088708"/>
                </a:lnTo>
                <a:lnTo>
                  <a:pt x="3322135" y="2087119"/>
                </a:lnTo>
                <a:lnTo>
                  <a:pt x="3352925" y="2084577"/>
                </a:lnTo>
                <a:lnTo>
                  <a:pt x="3383396" y="2082035"/>
                </a:lnTo>
                <a:lnTo>
                  <a:pt x="3412916" y="2078540"/>
                </a:lnTo>
                <a:lnTo>
                  <a:pt x="3441801" y="2074091"/>
                </a:lnTo>
                <a:lnTo>
                  <a:pt x="3470051" y="2069642"/>
                </a:lnTo>
                <a:lnTo>
                  <a:pt x="3497348" y="2064558"/>
                </a:lnTo>
                <a:lnTo>
                  <a:pt x="3524011" y="2058520"/>
                </a:lnTo>
                <a:lnTo>
                  <a:pt x="3549722" y="2052482"/>
                </a:lnTo>
                <a:lnTo>
                  <a:pt x="3574480" y="2046127"/>
                </a:lnTo>
                <a:lnTo>
                  <a:pt x="3598604" y="2038500"/>
                </a:lnTo>
                <a:lnTo>
                  <a:pt x="3621457" y="2030874"/>
                </a:lnTo>
                <a:lnTo>
                  <a:pt x="3643042" y="2023247"/>
                </a:lnTo>
                <a:lnTo>
                  <a:pt x="3663991" y="2014350"/>
                </a:lnTo>
                <a:lnTo>
                  <a:pt x="3683671" y="2005770"/>
                </a:lnTo>
                <a:lnTo>
                  <a:pt x="3683671" y="2119532"/>
                </a:lnTo>
                <a:lnTo>
                  <a:pt x="3692558" y="2115083"/>
                </a:lnTo>
                <a:lnTo>
                  <a:pt x="3701128" y="2110635"/>
                </a:lnTo>
                <a:lnTo>
                  <a:pt x="3709381" y="2105550"/>
                </a:lnTo>
                <a:lnTo>
                  <a:pt x="3717634" y="2100466"/>
                </a:lnTo>
                <a:lnTo>
                  <a:pt x="3725252" y="2095064"/>
                </a:lnTo>
                <a:lnTo>
                  <a:pt x="3732235" y="2089979"/>
                </a:lnTo>
                <a:lnTo>
                  <a:pt x="3738901" y="2084577"/>
                </a:lnTo>
                <a:lnTo>
                  <a:pt x="3744614" y="2079493"/>
                </a:lnTo>
                <a:lnTo>
                  <a:pt x="3744614" y="1970179"/>
                </a:lnTo>
                <a:lnTo>
                  <a:pt x="3752867" y="1964142"/>
                </a:lnTo>
                <a:lnTo>
                  <a:pt x="3760802" y="1958104"/>
                </a:lnTo>
                <a:lnTo>
                  <a:pt x="3767786" y="1951749"/>
                </a:lnTo>
                <a:lnTo>
                  <a:pt x="3774769" y="1945393"/>
                </a:lnTo>
                <a:lnTo>
                  <a:pt x="3781117" y="1939038"/>
                </a:lnTo>
                <a:lnTo>
                  <a:pt x="3786830" y="1932365"/>
                </a:lnTo>
                <a:lnTo>
                  <a:pt x="3792226" y="1925691"/>
                </a:lnTo>
                <a:lnTo>
                  <a:pt x="3796988" y="1919018"/>
                </a:lnTo>
                <a:lnTo>
                  <a:pt x="3801432" y="1912027"/>
                </a:lnTo>
                <a:lnTo>
                  <a:pt x="3805240" y="1905354"/>
                </a:lnTo>
                <a:lnTo>
                  <a:pt x="3808415" y="1898363"/>
                </a:lnTo>
                <a:lnTo>
                  <a:pt x="3811271" y="1891372"/>
                </a:lnTo>
                <a:lnTo>
                  <a:pt x="3813176" y="1884063"/>
                </a:lnTo>
                <a:lnTo>
                  <a:pt x="3814763" y="1877072"/>
                </a:lnTo>
                <a:lnTo>
                  <a:pt x="3816033" y="1869446"/>
                </a:lnTo>
                <a:lnTo>
                  <a:pt x="3816350" y="1862455"/>
                </a:lnTo>
                <a:lnTo>
                  <a:pt x="3816350" y="2010536"/>
                </a:lnTo>
                <a:lnTo>
                  <a:pt x="3816033" y="2010854"/>
                </a:lnTo>
                <a:lnTo>
                  <a:pt x="3815398" y="2019434"/>
                </a:lnTo>
                <a:lnTo>
                  <a:pt x="3814763" y="2025154"/>
                </a:lnTo>
                <a:lnTo>
                  <a:pt x="3813493" y="2030556"/>
                </a:lnTo>
                <a:lnTo>
                  <a:pt x="3811906" y="2036276"/>
                </a:lnTo>
                <a:lnTo>
                  <a:pt x="3810319" y="2041678"/>
                </a:lnTo>
                <a:lnTo>
                  <a:pt x="3808097" y="2046762"/>
                </a:lnTo>
                <a:lnTo>
                  <a:pt x="3805558" y="2052482"/>
                </a:lnTo>
                <a:lnTo>
                  <a:pt x="3803019" y="2057567"/>
                </a:lnTo>
                <a:lnTo>
                  <a:pt x="3799844" y="2062969"/>
                </a:lnTo>
                <a:lnTo>
                  <a:pt x="3796036" y="2068053"/>
                </a:lnTo>
                <a:lnTo>
                  <a:pt x="3792226" y="2073137"/>
                </a:lnTo>
                <a:lnTo>
                  <a:pt x="3788418" y="2078540"/>
                </a:lnTo>
                <a:lnTo>
                  <a:pt x="3783974" y="2083624"/>
                </a:lnTo>
                <a:lnTo>
                  <a:pt x="3779212" y="2088391"/>
                </a:lnTo>
                <a:lnTo>
                  <a:pt x="3774134" y="2093475"/>
                </a:lnTo>
                <a:lnTo>
                  <a:pt x="3768420" y="2098241"/>
                </a:lnTo>
                <a:lnTo>
                  <a:pt x="3763024" y="2103326"/>
                </a:lnTo>
                <a:lnTo>
                  <a:pt x="3750963" y="2112859"/>
                </a:lnTo>
                <a:lnTo>
                  <a:pt x="3737314" y="2121757"/>
                </a:lnTo>
                <a:lnTo>
                  <a:pt x="3722713" y="2130972"/>
                </a:lnTo>
                <a:lnTo>
                  <a:pt x="3707477" y="2139552"/>
                </a:lnTo>
                <a:lnTo>
                  <a:pt x="3690971" y="2147814"/>
                </a:lnTo>
                <a:lnTo>
                  <a:pt x="3673513" y="2156076"/>
                </a:lnTo>
                <a:lnTo>
                  <a:pt x="3655103" y="2163702"/>
                </a:lnTo>
                <a:lnTo>
                  <a:pt x="3635424" y="2171011"/>
                </a:lnTo>
                <a:lnTo>
                  <a:pt x="3615109" y="2178320"/>
                </a:lnTo>
                <a:lnTo>
                  <a:pt x="3593842" y="2184993"/>
                </a:lnTo>
                <a:lnTo>
                  <a:pt x="3571941" y="2191349"/>
                </a:lnTo>
                <a:lnTo>
                  <a:pt x="3549087" y="2197068"/>
                </a:lnTo>
                <a:lnTo>
                  <a:pt x="3525281" y="2202788"/>
                </a:lnTo>
                <a:lnTo>
                  <a:pt x="3501157" y="2207873"/>
                </a:lnTo>
                <a:lnTo>
                  <a:pt x="3476082" y="2212639"/>
                </a:lnTo>
                <a:lnTo>
                  <a:pt x="3450371" y="2217088"/>
                </a:lnTo>
                <a:lnTo>
                  <a:pt x="3424343" y="2220584"/>
                </a:lnTo>
                <a:lnTo>
                  <a:pt x="3397680" y="2224079"/>
                </a:lnTo>
                <a:lnTo>
                  <a:pt x="3370065" y="2226939"/>
                </a:lnTo>
                <a:lnTo>
                  <a:pt x="3341815" y="2229163"/>
                </a:lnTo>
                <a:lnTo>
                  <a:pt x="3313565" y="2231070"/>
                </a:lnTo>
                <a:lnTo>
                  <a:pt x="3284680" y="2232341"/>
                </a:lnTo>
                <a:lnTo>
                  <a:pt x="3255478" y="2233294"/>
                </a:lnTo>
                <a:lnTo>
                  <a:pt x="3225959" y="2233612"/>
                </a:lnTo>
                <a:lnTo>
                  <a:pt x="3195487" y="2233294"/>
                </a:lnTo>
                <a:lnTo>
                  <a:pt x="3165650" y="2232341"/>
                </a:lnTo>
                <a:lnTo>
                  <a:pt x="3136130" y="2231070"/>
                </a:lnTo>
                <a:lnTo>
                  <a:pt x="3106928" y="2229163"/>
                </a:lnTo>
                <a:lnTo>
                  <a:pt x="3078678" y="2226303"/>
                </a:lnTo>
                <a:lnTo>
                  <a:pt x="3050428" y="2223761"/>
                </a:lnTo>
                <a:lnTo>
                  <a:pt x="3022813" y="2220266"/>
                </a:lnTo>
                <a:lnTo>
                  <a:pt x="2996150" y="2216135"/>
                </a:lnTo>
                <a:lnTo>
                  <a:pt x="2970122" y="2211368"/>
                </a:lnTo>
                <a:lnTo>
                  <a:pt x="2944729" y="2206602"/>
                </a:lnTo>
                <a:lnTo>
                  <a:pt x="2919971" y="2201199"/>
                </a:lnTo>
                <a:lnTo>
                  <a:pt x="2895847" y="2195797"/>
                </a:lnTo>
                <a:lnTo>
                  <a:pt x="2872994" y="2189442"/>
                </a:lnTo>
                <a:lnTo>
                  <a:pt x="2850775" y="2182769"/>
                </a:lnTo>
                <a:lnTo>
                  <a:pt x="2829190" y="2175460"/>
                </a:lnTo>
                <a:lnTo>
                  <a:pt x="2808876" y="2168469"/>
                </a:lnTo>
                <a:lnTo>
                  <a:pt x="2789196" y="2160525"/>
                </a:lnTo>
                <a:lnTo>
                  <a:pt x="2770469" y="2152580"/>
                </a:lnTo>
                <a:lnTo>
                  <a:pt x="2753328" y="2144001"/>
                </a:lnTo>
                <a:lnTo>
                  <a:pt x="2736823" y="2135103"/>
                </a:lnTo>
                <a:lnTo>
                  <a:pt x="2721269" y="2126205"/>
                </a:lnTo>
                <a:lnTo>
                  <a:pt x="2706986" y="2116990"/>
                </a:lnTo>
                <a:lnTo>
                  <a:pt x="2693972" y="2107139"/>
                </a:lnTo>
                <a:lnTo>
                  <a:pt x="2688258" y="2102372"/>
                </a:lnTo>
                <a:lnTo>
                  <a:pt x="2682227" y="2097288"/>
                </a:lnTo>
                <a:lnTo>
                  <a:pt x="2676831" y="2092522"/>
                </a:lnTo>
                <a:lnTo>
                  <a:pt x="2671753" y="2087437"/>
                </a:lnTo>
                <a:lnTo>
                  <a:pt x="2666991" y="2082353"/>
                </a:lnTo>
                <a:lnTo>
                  <a:pt x="2662548" y="2076951"/>
                </a:lnTo>
                <a:lnTo>
                  <a:pt x="2658104" y="2071549"/>
                </a:lnTo>
                <a:lnTo>
                  <a:pt x="2654612" y="2066464"/>
                </a:lnTo>
                <a:lnTo>
                  <a:pt x="2651121" y="2061062"/>
                </a:lnTo>
                <a:lnTo>
                  <a:pt x="2647947" y="2055342"/>
                </a:lnTo>
                <a:lnTo>
                  <a:pt x="2645090" y="2050258"/>
                </a:lnTo>
                <a:lnTo>
                  <a:pt x="2642868" y="2044856"/>
                </a:lnTo>
                <a:lnTo>
                  <a:pt x="2640329" y="2039454"/>
                </a:lnTo>
                <a:lnTo>
                  <a:pt x="2638742" y="2033416"/>
                </a:lnTo>
                <a:lnTo>
                  <a:pt x="2637789" y="2027696"/>
                </a:lnTo>
                <a:lnTo>
                  <a:pt x="2636520" y="2022294"/>
                </a:lnTo>
                <a:lnTo>
                  <a:pt x="2636202" y="2016256"/>
                </a:lnTo>
                <a:lnTo>
                  <a:pt x="2635885" y="2010854"/>
                </a:lnTo>
                <a:lnTo>
                  <a:pt x="2635250" y="2010854"/>
                </a:lnTo>
                <a:lnTo>
                  <a:pt x="2635250" y="1862137"/>
                </a:lnTo>
                <a:close/>
                <a:moveTo>
                  <a:pt x="3815353" y="1849331"/>
                </a:moveTo>
                <a:lnTo>
                  <a:pt x="3816061" y="1854393"/>
                </a:lnTo>
                <a:lnTo>
                  <a:pt x="3816350" y="1860279"/>
                </a:lnTo>
                <a:lnTo>
                  <a:pt x="3816061" y="1862137"/>
                </a:lnTo>
                <a:lnTo>
                  <a:pt x="3816061" y="1859040"/>
                </a:lnTo>
                <a:lnTo>
                  <a:pt x="3815773" y="1853154"/>
                </a:lnTo>
                <a:lnTo>
                  <a:pt x="3815353" y="1849331"/>
                </a:lnTo>
                <a:close/>
                <a:moveTo>
                  <a:pt x="2636143" y="1848861"/>
                </a:moveTo>
                <a:lnTo>
                  <a:pt x="2635885" y="1853247"/>
                </a:lnTo>
                <a:lnTo>
                  <a:pt x="2635250" y="1859280"/>
                </a:lnTo>
                <a:lnTo>
                  <a:pt x="2635250" y="1854517"/>
                </a:lnTo>
                <a:lnTo>
                  <a:pt x="2636143" y="1848861"/>
                </a:lnTo>
                <a:close/>
                <a:moveTo>
                  <a:pt x="3814618" y="1842622"/>
                </a:moveTo>
                <a:lnTo>
                  <a:pt x="3815195" y="1847888"/>
                </a:lnTo>
                <a:lnTo>
                  <a:pt x="3815353" y="1849331"/>
                </a:lnTo>
                <a:lnTo>
                  <a:pt x="3815195" y="1848198"/>
                </a:lnTo>
                <a:lnTo>
                  <a:pt x="3814618" y="1842622"/>
                </a:lnTo>
                <a:close/>
                <a:moveTo>
                  <a:pt x="2638425" y="1836737"/>
                </a:moveTo>
                <a:lnTo>
                  <a:pt x="2636838" y="1842770"/>
                </a:lnTo>
                <a:lnTo>
                  <a:pt x="2636202" y="1848485"/>
                </a:lnTo>
                <a:lnTo>
                  <a:pt x="2636143" y="1848861"/>
                </a:lnTo>
                <a:lnTo>
                  <a:pt x="2636202" y="1847850"/>
                </a:lnTo>
                <a:lnTo>
                  <a:pt x="2636838" y="1842452"/>
                </a:lnTo>
                <a:lnTo>
                  <a:pt x="2638425" y="1836737"/>
                </a:lnTo>
                <a:close/>
                <a:moveTo>
                  <a:pt x="3187700" y="1751012"/>
                </a:moveTo>
                <a:lnTo>
                  <a:pt x="3187700" y="1827212"/>
                </a:lnTo>
                <a:lnTo>
                  <a:pt x="3172031" y="1824063"/>
                </a:lnTo>
                <a:lnTo>
                  <a:pt x="3153163" y="1820285"/>
                </a:lnTo>
                <a:lnTo>
                  <a:pt x="3144209" y="1818396"/>
                </a:lnTo>
                <a:lnTo>
                  <a:pt x="3136535" y="1816191"/>
                </a:lnTo>
                <a:lnTo>
                  <a:pt x="3129179" y="1813987"/>
                </a:lnTo>
                <a:lnTo>
                  <a:pt x="3122144" y="1811153"/>
                </a:lnTo>
                <a:lnTo>
                  <a:pt x="3115749" y="1808005"/>
                </a:lnTo>
                <a:lnTo>
                  <a:pt x="3109673" y="1804541"/>
                </a:lnTo>
                <a:lnTo>
                  <a:pt x="3106475" y="1801707"/>
                </a:lnTo>
                <a:lnTo>
                  <a:pt x="3103917" y="1799503"/>
                </a:lnTo>
                <a:lnTo>
                  <a:pt x="3101998" y="1796669"/>
                </a:lnTo>
                <a:lnTo>
                  <a:pt x="3100399" y="1793835"/>
                </a:lnTo>
                <a:lnTo>
                  <a:pt x="3099120" y="1791001"/>
                </a:lnTo>
                <a:lnTo>
                  <a:pt x="3098800" y="1788167"/>
                </a:lnTo>
                <a:lnTo>
                  <a:pt x="3098800" y="1785334"/>
                </a:lnTo>
                <a:lnTo>
                  <a:pt x="3099120" y="1782500"/>
                </a:lnTo>
                <a:lnTo>
                  <a:pt x="3099759" y="1779351"/>
                </a:lnTo>
                <a:lnTo>
                  <a:pt x="3101358" y="1777147"/>
                </a:lnTo>
                <a:lnTo>
                  <a:pt x="3103597" y="1774313"/>
                </a:lnTo>
                <a:lnTo>
                  <a:pt x="3105835" y="1771794"/>
                </a:lnTo>
                <a:lnTo>
                  <a:pt x="3108713" y="1769275"/>
                </a:lnTo>
                <a:lnTo>
                  <a:pt x="3112231" y="1767386"/>
                </a:lnTo>
                <a:lnTo>
                  <a:pt x="3116068" y="1765182"/>
                </a:lnTo>
                <a:lnTo>
                  <a:pt x="3120545" y="1763607"/>
                </a:lnTo>
                <a:lnTo>
                  <a:pt x="3127581" y="1760773"/>
                </a:lnTo>
                <a:lnTo>
                  <a:pt x="3135255" y="1758884"/>
                </a:lnTo>
                <a:lnTo>
                  <a:pt x="3143250" y="1756680"/>
                </a:lnTo>
                <a:lnTo>
                  <a:pt x="3151564" y="1755106"/>
                </a:lnTo>
                <a:lnTo>
                  <a:pt x="3160199" y="1753531"/>
                </a:lnTo>
                <a:lnTo>
                  <a:pt x="3169472" y="1752587"/>
                </a:lnTo>
                <a:lnTo>
                  <a:pt x="3178426" y="1751642"/>
                </a:lnTo>
                <a:lnTo>
                  <a:pt x="3187700" y="1751012"/>
                </a:lnTo>
                <a:close/>
                <a:moveTo>
                  <a:pt x="3203106" y="1692876"/>
                </a:moveTo>
                <a:lnTo>
                  <a:pt x="3200250" y="1693193"/>
                </a:lnTo>
                <a:lnTo>
                  <a:pt x="3197710" y="1693827"/>
                </a:lnTo>
                <a:lnTo>
                  <a:pt x="3194854" y="1694144"/>
                </a:lnTo>
                <a:lnTo>
                  <a:pt x="3192949" y="1694778"/>
                </a:lnTo>
                <a:lnTo>
                  <a:pt x="3191045" y="1696045"/>
                </a:lnTo>
                <a:lnTo>
                  <a:pt x="3189458" y="1697313"/>
                </a:lnTo>
                <a:lnTo>
                  <a:pt x="3188506" y="1698581"/>
                </a:lnTo>
                <a:lnTo>
                  <a:pt x="3188188" y="1699532"/>
                </a:lnTo>
                <a:lnTo>
                  <a:pt x="3188188" y="1720450"/>
                </a:lnTo>
                <a:lnTo>
                  <a:pt x="3171684" y="1721718"/>
                </a:lnTo>
                <a:lnTo>
                  <a:pt x="3155179" y="1723620"/>
                </a:lnTo>
                <a:lnTo>
                  <a:pt x="3139309" y="1726155"/>
                </a:lnTo>
                <a:lnTo>
                  <a:pt x="3123756" y="1728691"/>
                </a:lnTo>
                <a:lnTo>
                  <a:pt x="3108838" y="1731860"/>
                </a:lnTo>
                <a:lnTo>
                  <a:pt x="3095190" y="1735347"/>
                </a:lnTo>
                <a:lnTo>
                  <a:pt x="3081542" y="1739784"/>
                </a:lnTo>
                <a:lnTo>
                  <a:pt x="3069480" y="1744538"/>
                </a:lnTo>
                <a:lnTo>
                  <a:pt x="3061228" y="1748342"/>
                </a:lnTo>
                <a:lnTo>
                  <a:pt x="3053293" y="1752462"/>
                </a:lnTo>
                <a:lnTo>
                  <a:pt x="3046310" y="1756582"/>
                </a:lnTo>
                <a:lnTo>
                  <a:pt x="3040280" y="1761019"/>
                </a:lnTo>
                <a:lnTo>
                  <a:pt x="3034884" y="1765774"/>
                </a:lnTo>
                <a:lnTo>
                  <a:pt x="3030440" y="1770528"/>
                </a:lnTo>
                <a:lnTo>
                  <a:pt x="3026949" y="1775282"/>
                </a:lnTo>
                <a:lnTo>
                  <a:pt x="3024092" y="1780353"/>
                </a:lnTo>
                <a:lnTo>
                  <a:pt x="3022505" y="1785107"/>
                </a:lnTo>
                <a:lnTo>
                  <a:pt x="3021235" y="1790179"/>
                </a:lnTo>
                <a:lnTo>
                  <a:pt x="3021235" y="1794933"/>
                </a:lnTo>
                <a:lnTo>
                  <a:pt x="3022505" y="1800004"/>
                </a:lnTo>
                <a:lnTo>
                  <a:pt x="3024092" y="1805075"/>
                </a:lnTo>
                <a:lnTo>
                  <a:pt x="3026949" y="1809829"/>
                </a:lnTo>
                <a:lnTo>
                  <a:pt x="3030758" y="1814583"/>
                </a:lnTo>
                <a:lnTo>
                  <a:pt x="3035519" y="1819338"/>
                </a:lnTo>
                <a:lnTo>
                  <a:pt x="3040597" y="1823775"/>
                </a:lnTo>
                <a:lnTo>
                  <a:pt x="3046310" y="1827578"/>
                </a:lnTo>
                <a:lnTo>
                  <a:pt x="3052976" y="1831065"/>
                </a:lnTo>
                <a:lnTo>
                  <a:pt x="3059958" y="1835185"/>
                </a:lnTo>
                <a:lnTo>
                  <a:pt x="3067893" y="1838354"/>
                </a:lnTo>
                <a:lnTo>
                  <a:pt x="3076146" y="1841524"/>
                </a:lnTo>
                <a:lnTo>
                  <a:pt x="3084716" y="1844059"/>
                </a:lnTo>
                <a:lnTo>
                  <a:pt x="3094555" y="1846595"/>
                </a:lnTo>
                <a:lnTo>
                  <a:pt x="3130104" y="1853885"/>
                </a:lnTo>
                <a:lnTo>
                  <a:pt x="3188188" y="1865929"/>
                </a:lnTo>
                <a:lnTo>
                  <a:pt x="3188188" y="1956259"/>
                </a:lnTo>
                <a:lnTo>
                  <a:pt x="3173588" y="1954357"/>
                </a:lnTo>
                <a:lnTo>
                  <a:pt x="3159305" y="1952455"/>
                </a:lnTo>
                <a:lnTo>
                  <a:pt x="3152005" y="1951187"/>
                </a:lnTo>
                <a:lnTo>
                  <a:pt x="3144070" y="1949603"/>
                </a:lnTo>
                <a:lnTo>
                  <a:pt x="3127565" y="1945799"/>
                </a:lnTo>
                <a:lnTo>
                  <a:pt x="3111695" y="1941362"/>
                </a:lnTo>
                <a:lnTo>
                  <a:pt x="3098681" y="1936608"/>
                </a:lnTo>
                <a:lnTo>
                  <a:pt x="3095190" y="1935657"/>
                </a:lnTo>
                <a:lnTo>
                  <a:pt x="3091699" y="1934072"/>
                </a:lnTo>
                <a:lnTo>
                  <a:pt x="3088842" y="1932805"/>
                </a:lnTo>
                <a:lnTo>
                  <a:pt x="3088524" y="1932488"/>
                </a:lnTo>
                <a:lnTo>
                  <a:pt x="3084398" y="1929952"/>
                </a:lnTo>
                <a:lnTo>
                  <a:pt x="3082176" y="1928684"/>
                </a:lnTo>
                <a:lnTo>
                  <a:pt x="3079637" y="1927733"/>
                </a:lnTo>
                <a:lnTo>
                  <a:pt x="3077415" y="1926783"/>
                </a:lnTo>
                <a:lnTo>
                  <a:pt x="3074559" y="1926149"/>
                </a:lnTo>
                <a:lnTo>
                  <a:pt x="3068211" y="1925198"/>
                </a:lnTo>
                <a:lnTo>
                  <a:pt x="3061863" y="1924881"/>
                </a:lnTo>
                <a:lnTo>
                  <a:pt x="3055197" y="1925515"/>
                </a:lnTo>
                <a:lnTo>
                  <a:pt x="3048532" y="1926466"/>
                </a:lnTo>
                <a:lnTo>
                  <a:pt x="3042184" y="1928050"/>
                </a:lnTo>
                <a:lnTo>
                  <a:pt x="3035836" y="1929952"/>
                </a:lnTo>
                <a:lnTo>
                  <a:pt x="3030123" y="1932488"/>
                </a:lnTo>
                <a:lnTo>
                  <a:pt x="3025044" y="1934706"/>
                </a:lnTo>
                <a:lnTo>
                  <a:pt x="3020918" y="1937559"/>
                </a:lnTo>
                <a:lnTo>
                  <a:pt x="3017427" y="1940728"/>
                </a:lnTo>
                <a:lnTo>
                  <a:pt x="3016157" y="1941679"/>
                </a:lnTo>
                <a:lnTo>
                  <a:pt x="3015522" y="1943264"/>
                </a:lnTo>
                <a:lnTo>
                  <a:pt x="3015205" y="1944849"/>
                </a:lnTo>
                <a:lnTo>
                  <a:pt x="3015205" y="1946116"/>
                </a:lnTo>
                <a:lnTo>
                  <a:pt x="3015205" y="1947701"/>
                </a:lnTo>
                <a:lnTo>
                  <a:pt x="3015840" y="1948969"/>
                </a:lnTo>
                <a:lnTo>
                  <a:pt x="3017109" y="1950554"/>
                </a:lnTo>
                <a:lnTo>
                  <a:pt x="3018696" y="1951504"/>
                </a:lnTo>
                <a:lnTo>
                  <a:pt x="3025044" y="1955625"/>
                </a:lnTo>
                <a:lnTo>
                  <a:pt x="3032027" y="1959428"/>
                </a:lnTo>
                <a:lnTo>
                  <a:pt x="3039962" y="1962915"/>
                </a:lnTo>
                <a:lnTo>
                  <a:pt x="3048532" y="1966084"/>
                </a:lnTo>
                <a:lnTo>
                  <a:pt x="3057737" y="1969253"/>
                </a:lnTo>
                <a:lnTo>
                  <a:pt x="3067576" y="1972106"/>
                </a:lnTo>
                <a:lnTo>
                  <a:pt x="3077733" y="1974959"/>
                </a:lnTo>
                <a:lnTo>
                  <a:pt x="3088842" y="1977177"/>
                </a:lnTo>
                <a:lnTo>
                  <a:pt x="3100268" y="1979713"/>
                </a:lnTo>
                <a:lnTo>
                  <a:pt x="3111695" y="1981614"/>
                </a:lnTo>
                <a:lnTo>
                  <a:pt x="3123756" y="1983516"/>
                </a:lnTo>
                <a:lnTo>
                  <a:pt x="3136452" y="1985101"/>
                </a:lnTo>
                <a:lnTo>
                  <a:pt x="3149148" y="1986369"/>
                </a:lnTo>
                <a:lnTo>
                  <a:pt x="3162162" y="1987636"/>
                </a:lnTo>
                <a:lnTo>
                  <a:pt x="3188188" y="1989538"/>
                </a:lnTo>
                <a:lnTo>
                  <a:pt x="3188188" y="2009823"/>
                </a:lnTo>
                <a:lnTo>
                  <a:pt x="3188506" y="2011407"/>
                </a:lnTo>
                <a:lnTo>
                  <a:pt x="3189458" y="2012675"/>
                </a:lnTo>
                <a:lnTo>
                  <a:pt x="3191045" y="2013626"/>
                </a:lnTo>
                <a:lnTo>
                  <a:pt x="3192949" y="2014577"/>
                </a:lnTo>
                <a:lnTo>
                  <a:pt x="3194854" y="2015528"/>
                </a:lnTo>
                <a:lnTo>
                  <a:pt x="3197710" y="2015845"/>
                </a:lnTo>
                <a:lnTo>
                  <a:pt x="3200250" y="2016162"/>
                </a:lnTo>
                <a:lnTo>
                  <a:pt x="3203106" y="2016479"/>
                </a:lnTo>
                <a:lnTo>
                  <a:pt x="3254843" y="2016479"/>
                </a:lnTo>
                <a:lnTo>
                  <a:pt x="3258017" y="2016162"/>
                </a:lnTo>
                <a:lnTo>
                  <a:pt x="3260556" y="2015845"/>
                </a:lnTo>
                <a:lnTo>
                  <a:pt x="3263413" y="2015528"/>
                </a:lnTo>
                <a:lnTo>
                  <a:pt x="3265317" y="2014577"/>
                </a:lnTo>
                <a:lnTo>
                  <a:pt x="3267539" y="2013626"/>
                </a:lnTo>
                <a:lnTo>
                  <a:pt x="3269126" y="2012675"/>
                </a:lnTo>
                <a:lnTo>
                  <a:pt x="3269761" y="2011407"/>
                </a:lnTo>
                <a:lnTo>
                  <a:pt x="3270078" y="2009823"/>
                </a:lnTo>
                <a:lnTo>
                  <a:pt x="3270078" y="1988587"/>
                </a:lnTo>
                <a:lnTo>
                  <a:pt x="3286265" y="1987636"/>
                </a:lnTo>
                <a:lnTo>
                  <a:pt x="3302136" y="1986369"/>
                </a:lnTo>
                <a:lnTo>
                  <a:pt x="3317371" y="1984467"/>
                </a:lnTo>
                <a:lnTo>
                  <a:pt x="3331971" y="1981931"/>
                </a:lnTo>
                <a:lnTo>
                  <a:pt x="3345937" y="1979079"/>
                </a:lnTo>
                <a:lnTo>
                  <a:pt x="3358950" y="1976543"/>
                </a:lnTo>
                <a:lnTo>
                  <a:pt x="3370694" y="1973057"/>
                </a:lnTo>
                <a:lnTo>
                  <a:pt x="3381486" y="1968937"/>
                </a:lnTo>
                <a:lnTo>
                  <a:pt x="3390056" y="1965450"/>
                </a:lnTo>
                <a:lnTo>
                  <a:pt x="3398308" y="1961964"/>
                </a:lnTo>
                <a:lnTo>
                  <a:pt x="3405291" y="1957843"/>
                </a:lnTo>
                <a:lnTo>
                  <a:pt x="3411956" y="1953723"/>
                </a:lnTo>
                <a:lnTo>
                  <a:pt x="3417670" y="1949286"/>
                </a:lnTo>
                <a:lnTo>
                  <a:pt x="3422748" y="1944849"/>
                </a:lnTo>
                <a:lnTo>
                  <a:pt x="3427192" y="1940094"/>
                </a:lnTo>
                <a:lnTo>
                  <a:pt x="3430683" y="1935657"/>
                </a:lnTo>
                <a:lnTo>
                  <a:pt x="3433540" y="1930903"/>
                </a:lnTo>
                <a:lnTo>
                  <a:pt x="3435444" y="1926149"/>
                </a:lnTo>
                <a:lnTo>
                  <a:pt x="3436396" y="1921078"/>
                </a:lnTo>
                <a:lnTo>
                  <a:pt x="3437031" y="1916323"/>
                </a:lnTo>
                <a:lnTo>
                  <a:pt x="3436079" y="1910935"/>
                </a:lnTo>
                <a:lnTo>
                  <a:pt x="3434492" y="1905864"/>
                </a:lnTo>
                <a:lnTo>
                  <a:pt x="3432270" y="1901110"/>
                </a:lnTo>
                <a:lnTo>
                  <a:pt x="3429096" y="1896039"/>
                </a:lnTo>
                <a:lnTo>
                  <a:pt x="3426557" y="1893820"/>
                </a:lnTo>
                <a:lnTo>
                  <a:pt x="3424335" y="1890968"/>
                </a:lnTo>
                <a:lnTo>
                  <a:pt x="3418304" y="1886530"/>
                </a:lnTo>
                <a:lnTo>
                  <a:pt x="3411639" y="1882093"/>
                </a:lnTo>
                <a:lnTo>
                  <a:pt x="3404339" y="1877973"/>
                </a:lnTo>
                <a:lnTo>
                  <a:pt x="3395451" y="1874169"/>
                </a:lnTo>
                <a:lnTo>
                  <a:pt x="3385929" y="1870683"/>
                </a:lnTo>
                <a:lnTo>
                  <a:pt x="3375772" y="1866880"/>
                </a:lnTo>
                <a:lnTo>
                  <a:pt x="3365298" y="1863710"/>
                </a:lnTo>
                <a:lnTo>
                  <a:pt x="3354189" y="1860541"/>
                </a:lnTo>
                <a:lnTo>
                  <a:pt x="3342763" y="1858005"/>
                </a:lnTo>
                <a:lnTo>
                  <a:pt x="3318640" y="1852300"/>
                </a:lnTo>
                <a:lnTo>
                  <a:pt x="3294200" y="1847546"/>
                </a:lnTo>
                <a:lnTo>
                  <a:pt x="3270078" y="1843426"/>
                </a:lnTo>
                <a:lnTo>
                  <a:pt x="3270078" y="1752779"/>
                </a:lnTo>
                <a:lnTo>
                  <a:pt x="3291026" y="1755631"/>
                </a:lnTo>
                <a:lnTo>
                  <a:pt x="3298961" y="1756582"/>
                </a:lnTo>
                <a:lnTo>
                  <a:pt x="3306896" y="1758801"/>
                </a:lnTo>
                <a:lnTo>
                  <a:pt x="3323719" y="1762921"/>
                </a:lnTo>
                <a:lnTo>
                  <a:pt x="3339589" y="1767992"/>
                </a:lnTo>
                <a:lnTo>
                  <a:pt x="3352920" y="1772746"/>
                </a:lnTo>
                <a:lnTo>
                  <a:pt x="3360537" y="1775599"/>
                </a:lnTo>
                <a:lnTo>
                  <a:pt x="3363076" y="1777184"/>
                </a:lnTo>
                <a:lnTo>
                  <a:pt x="3367203" y="1779402"/>
                </a:lnTo>
                <a:lnTo>
                  <a:pt x="3369424" y="1780670"/>
                </a:lnTo>
                <a:lnTo>
                  <a:pt x="3371964" y="1781938"/>
                </a:lnTo>
                <a:lnTo>
                  <a:pt x="3374186" y="1783206"/>
                </a:lnTo>
                <a:lnTo>
                  <a:pt x="3377042" y="1783523"/>
                </a:lnTo>
                <a:lnTo>
                  <a:pt x="3383390" y="1784157"/>
                </a:lnTo>
                <a:lnTo>
                  <a:pt x="3389738" y="1784790"/>
                </a:lnTo>
                <a:lnTo>
                  <a:pt x="3396404" y="1784157"/>
                </a:lnTo>
                <a:lnTo>
                  <a:pt x="3403069" y="1783206"/>
                </a:lnTo>
                <a:lnTo>
                  <a:pt x="3409417" y="1781621"/>
                </a:lnTo>
                <a:lnTo>
                  <a:pt x="3415765" y="1779402"/>
                </a:lnTo>
                <a:lnTo>
                  <a:pt x="3421478" y="1777184"/>
                </a:lnTo>
                <a:lnTo>
                  <a:pt x="3426557" y="1774965"/>
                </a:lnTo>
                <a:lnTo>
                  <a:pt x="3430683" y="1772113"/>
                </a:lnTo>
                <a:lnTo>
                  <a:pt x="3434174" y="1769260"/>
                </a:lnTo>
                <a:lnTo>
                  <a:pt x="3435127" y="1767675"/>
                </a:lnTo>
                <a:lnTo>
                  <a:pt x="3436079" y="1766091"/>
                </a:lnTo>
                <a:lnTo>
                  <a:pt x="3436396" y="1765140"/>
                </a:lnTo>
                <a:lnTo>
                  <a:pt x="3436396" y="1763555"/>
                </a:lnTo>
                <a:lnTo>
                  <a:pt x="3436079" y="1761970"/>
                </a:lnTo>
                <a:lnTo>
                  <a:pt x="3435761" y="1760702"/>
                </a:lnTo>
                <a:lnTo>
                  <a:pt x="3434492" y="1759118"/>
                </a:lnTo>
                <a:lnTo>
                  <a:pt x="3432905" y="1757850"/>
                </a:lnTo>
                <a:lnTo>
                  <a:pt x="3428144" y="1754997"/>
                </a:lnTo>
                <a:lnTo>
                  <a:pt x="3423065" y="1752145"/>
                </a:lnTo>
                <a:lnTo>
                  <a:pt x="3417352" y="1749292"/>
                </a:lnTo>
                <a:lnTo>
                  <a:pt x="3410369" y="1746440"/>
                </a:lnTo>
                <a:lnTo>
                  <a:pt x="3403386" y="1743587"/>
                </a:lnTo>
                <a:lnTo>
                  <a:pt x="3396404" y="1741369"/>
                </a:lnTo>
                <a:lnTo>
                  <a:pt x="3380534" y="1736614"/>
                </a:lnTo>
                <a:lnTo>
                  <a:pt x="3363711" y="1732177"/>
                </a:lnTo>
                <a:lnTo>
                  <a:pt x="3346572" y="1728374"/>
                </a:lnTo>
                <a:lnTo>
                  <a:pt x="3329749" y="1725204"/>
                </a:lnTo>
                <a:lnTo>
                  <a:pt x="3313562" y="1723303"/>
                </a:lnTo>
                <a:lnTo>
                  <a:pt x="3292296" y="1720767"/>
                </a:lnTo>
                <a:lnTo>
                  <a:pt x="3270078" y="1719182"/>
                </a:lnTo>
                <a:lnTo>
                  <a:pt x="3270078" y="1699532"/>
                </a:lnTo>
                <a:lnTo>
                  <a:pt x="3269761" y="1698581"/>
                </a:lnTo>
                <a:lnTo>
                  <a:pt x="3269126" y="1697313"/>
                </a:lnTo>
                <a:lnTo>
                  <a:pt x="3267539" y="1696045"/>
                </a:lnTo>
                <a:lnTo>
                  <a:pt x="3265317" y="1694778"/>
                </a:lnTo>
                <a:lnTo>
                  <a:pt x="3263413" y="1694144"/>
                </a:lnTo>
                <a:lnTo>
                  <a:pt x="3260556" y="1693827"/>
                </a:lnTo>
                <a:lnTo>
                  <a:pt x="3258017" y="1693193"/>
                </a:lnTo>
                <a:lnTo>
                  <a:pt x="3254843" y="1692876"/>
                </a:lnTo>
                <a:lnTo>
                  <a:pt x="3203106" y="1692876"/>
                </a:lnTo>
                <a:close/>
                <a:moveTo>
                  <a:pt x="3225959" y="1673225"/>
                </a:moveTo>
                <a:lnTo>
                  <a:pt x="3251986" y="1673542"/>
                </a:lnTo>
                <a:lnTo>
                  <a:pt x="3278013" y="1674493"/>
                </a:lnTo>
                <a:lnTo>
                  <a:pt x="3303722" y="1675444"/>
                </a:lnTo>
                <a:lnTo>
                  <a:pt x="3328480" y="1677028"/>
                </a:lnTo>
                <a:lnTo>
                  <a:pt x="3353237" y="1679247"/>
                </a:lnTo>
                <a:lnTo>
                  <a:pt x="3377360" y="1681466"/>
                </a:lnTo>
                <a:lnTo>
                  <a:pt x="3401165" y="1684318"/>
                </a:lnTo>
                <a:lnTo>
                  <a:pt x="3424335" y="1687805"/>
                </a:lnTo>
                <a:lnTo>
                  <a:pt x="3446870" y="1691291"/>
                </a:lnTo>
                <a:lnTo>
                  <a:pt x="3468771" y="1695411"/>
                </a:lnTo>
                <a:lnTo>
                  <a:pt x="3490037" y="1699532"/>
                </a:lnTo>
                <a:lnTo>
                  <a:pt x="3510668" y="1704286"/>
                </a:lnTo>
                <a:lnTo>
                  <a:pt x="3530664" y="1709357"/>
                </a:lnTo>
                <a:lnTo>
                  <a:pt x="3550026" y="1715062"/>
                </a:lnTo>
                <a:lnTo>
                  <a:pt x="3568752" y="1720450"/>
                </a:lnTo>
                <a:lnTo>
                  <a:pt x="3586527" y="1726789"/>
                </a:lnTo>
                <a:lnTo>
                  <a:pt x="3603349" y="1733128"/>
                </a:lnTo>
                <a:lnTo>
                  <a:pt x="3619219" y="1739467"/>
                </a:lnTo>
                <a:lnTo>
                  <a:pt x="3634454" y="1746440"/>
                </a:lnTo>
                <a:lnTo>
                  <a:pt x="3648738" y="1753413"/>
                </a:lnTo>
                <a:lnTo>
                  <a:pt x="3661751" y="1760702"/>
                </a:lnTo>
                <a:lnTo>
                  <a:pt x="3673812" y="1768626"/>
                </a:lnTo>
                <a:lnTo>
                  <a:pt x="3685239" y="1776550"/>
                </a:lnTo>
                <a:lnTo>
                  <a:pt x="3695713" y="1784157"/>
                </a:lnTo>
                <a:lnTo>
                  <a:pt x="3704600" y="1792397"/>
                </a:lnTo>
                <a:lnTo>
                  <a:pt x="3708726" y="1796834"/>
                </a:lnTo>
                <a:lnTo>
                  <a:pt x="3712535" y="1800955"/>
                </a:lnTo>
                <a:lnTo>
                  <a:pt x="3716027" y="1805075"/>
                </a:lnTo>
                <a:lnTo>
                  <a:pt x="3719518" y="1809512"/>
                </a:lnTo>
                <a:lnTo>
                  <a:pt x="3722375" y="1813950"/>
                </a:lnTo>
                <a:lnTo>
                  <a:pt x="3725231" y="1818704"/>
                </a:lnTo>
                <a:lnTo>
                  <a:pt x="3727453" y="1822824"/>
                </a:lnTo>
                <a:lnTo>
                  <a:pt x="3729357" y="1827261"/>
                </a:lnTo>
                <a:lnTo>
                  <a:pt x="3731579" y="1832015"/>
                </a:lnTo>
                <a:lnTo>
                  <a:pt x="3733166" y="1836136"/>
                </a:lnTo>
                <a:lnTo>
                  <a:pt x="3733801" y="1840890"/>
                </a:lnTo>
                <a:lnTo>
                  <a:pt x="3735071" y="1845644"/>
                </a:lnTo>
                <a:lnTo>
                  <a:pt x="3735388" y="1850081"/>
                </a:lnTo>
                <a:lnTo>
                  <a:pt x="3735388" y="1854836"/>
                </a:lnTo>
                <a:lnTo>
                  <a:pt x="3735388" y="1859590"/>
                </a:lnTo>
                <a:lnTo>
                  <a:pt x="3735071" y="1864344"/>
                </a:lnTo>
                <a:lnTo>
                  <a:pt x="3733801" y="1869098"/>
                </a:lnTo>
                <a:lnTo>
                  <a:pt x="3733166" y="1873219"/>
                </a:lnTo>
                <a:lnTo>
                  <a:pt x="3731579" y="1877973"/>
                </a:lnTo>
                <a:lnTo>
                  <a:pt x="3729357" y="1882727"/>
                </a:lnTo>
                <a:lnTo>
                  <a:pt x="3727453" y="1887164"/>
                </a:lnTo>
                <a:lnTo>
                  <a:pt x="3725231" y="1891285"/>
                </a:lnTo>
                <a:lnTo>
                  <a:pt x="3722375" y="1895722"/>
                </a:lnTo>
                <a:lnTo>
                  <a:pt x="3719518" y="1900476"/>
                </a:lnTo>
                <a:lnTo>
                  <a:pt x="3716027" y="1904913"/>
                </a:lnTo>
                <a:lnTo>
                  <a:pt x="3712535" y="1908717"/>
                </a:lnTo>
                <a:lnTo>
                  <a:pt x="3708726" y="1913154"/>
                </a:lnTo>
                <a:lnTo>
                  <a:pt x="3704600" y="1917274"/>
                </a:lnTo>
                <a:lnTo>
                  <a:pt x="3695713" y="1925515"/>
                </a:lnTo>
                <a:lnTo>
                  <a:pt x="3685239" y="1933438"/>
                </a:lnTo>
                <a:lnTo>
                  <a:pt x="3673812" y="1941362"/>
                </a:lnTo>
                <a:lnTo>
                  <a:pt x="3661751" y="1948969"/>
                </a:lnTo>
                <a:lnTo>
                  <a:pt x="3648738" y="1956259"/>
                </a:lnTo>
                <a:lnTo>
                  <a:pt x="3634454" y="1963548"/>
                </a:lnTo>
                <a:lnTo>
                  <a:pt x="3619219" y="1970521"/>
                </a:lnTo>
                <a:lnTo>
                  <a:pt x="3603349" y="1976860"/>
                </a:lnTo>
                <a:lnTo>
                  <a:pt x="3586527" y="1983199"/>
                </a:lnTo>
                <a:lnTo>
                  <a:pt x="3568752" y="1989538"/>
                </a:lnTo>
                <a:lnTo>
                  <a:pt x="3550026" y="1994926"/>
                </a:lnTo>
                <a:lnTo>
                  <a:pt x="3530664" y="2000631"/>
                </a:lnTo>
                <a:lnTo>
                  <a:pt x="3510668" y="2005702"/>
                </a:lnTo>
                <a:lnTo>
                  <a:pt x="3490037" y="2010457"/>
                </a:lnTo>
                <a:lnTo>
                  <a:pt x="3468771" y="2014577"/>
                </a:lnTo>
                <a:lnTo>
                  <a:pt x="3446870" y="2018697"/>
                </a:lnTo>
                <a:lnTo>
                  <a:pt x="3424335" y="2022184"/>
                </a:lnTo>
                <a:lnTo>
                  <a:pt x="3401165" y="2025670"/>
                </a:lnTo>
                <a:lnTo>
                  <a:pt x="3377360" y="2028523"/>
                </a:lnTo>
                <a:lnTo>
                  <a:pt x="3353237" y="2030741"/>
                </a:lnTo>
                <a:lnTo>
                  <a:pt x="3328480" y="2032643"/>
                </a:lnTo>
                <a:lnTo>
                  <a:pt x="3303722" y="2034228"/>
                </a:lnTo>
                <a:lnTo>
                  <a:pt x="3278013" y="2035495"/>
                </a:lnTo>
                <a:lnTo>
                  <a:pt x="3251986" y="2036446"/>
                </a:lnTo>
                <a:lnTo>
                  <a:pt x="3225959" y="2036763"/>
                </a:lnTo>
                <a:lnTo>
                  <a:pt x="3199615" y="2036446"/>
                </a:lnTo>
                <a:lnTo>
                  <a:pt x="3173905" y="2035495"/>
                </a:lnTo>
                <a:lnTo>
                  <a:pt x="3148196" y="2034228"/>
                </a:lnTo>
                <a:lnTo>
                  <a:pt x="3123121" y="2032643"/>
                </a:lnTo>
                <a:lnTo>
                  <a:pt x="3098681" y="2030741"/>
                </a:lnTo>
                <a:lnTo>
                  <a:pt x="3074241" y="2028523"/>
                </a:lnTo>
                <a:lnTo>
                  <a:pt x="3050436" y="2025670"/>
                </a:lnTo>
                <a:lnTo>
                  <a:pt x="3027584" y="2022184"/>
                </a:lnTo>
                <a:lnTo>
                  <a:pt x="3004731" y="2018697"/>
                </a:lnTo>
                <a:lnTo>
                  <a:pt x="2983147" y="2014577"/>
                </a:lnTo>
                <a:lnTo>
                  <a:pt x="2961564" y="2010457"/>
                </a:lnTo>
                <a:lnTo>
                  <a:pt x="2940933" y="2005702"/>
                </a:lnTo>
                <a:lnTo>
                  <a:pt x="2920937" y="2000631"/>
                </a:lnTo>
                <a:lnTo>
                  <a:pt x="2901575" y="1994926"/>
                </a:lnTo>
                <a:lnTo>
                  <a:pt x="2883483" y="1989538"/>
                </a:lnTo>
                <a:lnTo>
                  <a:pt x="2865709" y="1983199"/>
                </a:lnTo>
                <a:lnTo>
                  <a:pt x="2848569" y="1976860"/>
                </a:lnTo>
                <a:lnTo>
                  <a:pt x="2832382" y="1970521"/>
                </a:lnTo>
                <a:lnTo>
                  <a:pt x="2817464" y="1963548"/>
                </a:lnTo>
                <a:lnTo>
                  <a:pt x="2803181" y="1956259"/>
                </a:lnTo>
                <a:lnTo>
                  <a:pt x="2789850" y="1948969"/>
                </a:lnTo>
                <a:lnTo>
                  <a:pt x="2777789" y="1941362"/>
                </a:lnTo>
                <a:lnTo>
                  <a:pt x="2766362" y="1933438"/>
                </a:lnTo>
                <a:lnTo>
                  <a:pt x="2755888" y="1925515"/>
                </a:lnTo>
                <a:lnTo>
                  <a:pt x="2747001" y="1917274"/>
                </a:lnTo>
                <a:lnTo>
                  <a:pt x="2742875" y="1913154"/>
                </a:lnTo>
                <a:lnTo>
                  <a:pt x="2739066" y="1908717"/>
                </a:lnTo>
                <a:lnTo>
                  <a:pt x="2735574" y="1904913"/>
                </a:lnTo>
                <a:lnTo>
                  <a:pt x="2732400" y="1900476"/>
                </a:lnTo>
                <a:lnTo>
                  <a:pt x="2729226" y="1895722"/>
                </a:lnTo>
                <a:lnTo>
                  <a:pt x="2726370" y="1891285"/>
                </a:lnTo>
                <a:lnTo>
                  <a:pt x="2724148" y="1887164"/>
                </a:lnTo>
                <a:lnTo>
                  <a:pt x="2722244" y="1882727"/>
                </a:lnTo>
                <a:lnTo>
                  <a:pt x="2720022" y="1877973"/>
                </a:lnTo>
                <a:lnTo>
                  <a:pt x="2718435" y="1873219"/>
                </a:lnTo>
                <a:lnTo>
                  <a:pt x="2717800" y="1869098"/>
                </a:lnTo>
                <a:lnTo>
                  <a:pt x="2716530" y="1864344"/>
                </a:lnTo>
                <a:lnTo>
                  <a:pt x="2716213" y="1859590"/>
                </a:lnTo>
                <a:lnTo>
                  <a:pt x="2716213" y="1854836"/>
                </a:lnTo>
                <a:lnTo>
                  <a:pt x="2716213" y="1850081"/>
                </a:lnTo>
                <a:lnTo>
                  <a:pt x="2716530" y="1845644"/>
                </a:lnTo>
                <a:lnTo>
                  <a:pt x="2717800" y="1840890"/>
                </a:lnTo>
                <a:lnTo>
                  <a:pt x="2718435" y="1836136"/>
                </a:lnTo>
                <a:lnTo>
                  <a:pt x="2720022" y="1832015"/>
                </a:lnTo>
                <a:lnTo>
                  <a:pt x="2722244" y="1827261"/>
                </a:lnTo>
                <a:lnTo>
                  <a:pt x="2724148" y="1822824"/>
                </a:lnTo>
                <a:lnTo>
                  <a:pt x="2726370" y="1818704"/>
                </a:lnTo>
                <a:lnTo>
                  <a:pt x="2729226" y="1813950"/>
                </a:lnTo>
                <a:lnTo>
                  <a:pt x="2732400" y="1809512"/>
                </a:lnTo>
                <a:lnTo>
                  <a:pt x="2735574" y="1805075"/>
                </a:lnTo>
                <a:lnTo>
                  <a:pt x="2739066" y="1800955"/>
                </a:lnTo>
                <a:lnTo>
                  <a:pt x="2742875" y="1796834"/>
                </a:lnTo>
                <a:lnTo>
                  <a:pt x="2747001" y="1792397"/>
                </a:lnTo>
                <a:lnTo>
                  <a:pt x="2755888" y="1784157"/>
                </a:lnTo>
                <a:lnTo>
                  <a:pt x="2766362" y="1776550"/>
                </a:lnTo>
                <a:lnTo>
                  <a:pt x="2777789" y="1768626"/>
                </a:lnTo>
                <a:lnTo>
                  <a:pt x="2789850" y="1760702"/>
                </a:lnTo>
                <a:lnTo>
                  <a:pt x="2803181" y="1753413"/>
                </a:lnTo>
                <a:lnTo>
                  <a:pt x="2817464" y="1746440"/>
                </a:lnTo>
                <a:lnTo>
                  <a:pt x="2832382" y="1739467"/>
                </a:lnTo>
                <a:lnTo>
                  <a:pt x="2848569" y="1733128"/>
                </a:lnTo>
                <a:lnTo>
                  <a:pt x="2865709" y="1726789"/>
                </a:lnTo>
                <a:lnTo>
                  <a:pt x="2883483" y="1720450"/>
                </a:lnTo>
                <a:lnTo>
                  <a:pt x="2901575" y="1715062"/>
                </a:lnTo>
                <a:lnTo>
                  <a:pt x="2920937" y="1709357"/>
                </a:lnTo>
                <a:lnTo>
                  <a:pt x="2940933" y="1704286"/>
                </a:lnTo>
                <a:lnTo>
                  <a:pt x="2961564" y="1699532"/>
                </a:lnTo>
                <a:lnTo>
                  <a:pt x="2983147" y="1695411"/>
                </a:lnTo>
                <a:lnTo>
                  <a:pt x="3004731" y="1691291"/>
                </a:lnTo>
                <a:lnTo>
                  <a:pt x="3027584" y="1687805"/>
                </a:lnTo>
                <a:lnTo>
                  <a:pt x="3050436" y="1684318"/>
                </a:lnTo>
                <a:lnTo>
                  <a:pt x="3074241" y="1681466"/>
                </a:lnTo>
                <a:lnTo>
                  <a:pt x="3098681" y="1679247"/>
                </a:lnTo>
                <a:lnTo>
                  <a:pt x="3123121" y="1677028"/>
                </a:lnTo>
                <a:lnTo>
                  <a:pt x="3148196" y="1675444"/>
                </a:lnTo>
                <a:lnTo>
                  <a:pt x="3173905" y="1674493"/>
                </a:lnTo>
                <a:lnTo>
                  <a:pt x="3199615" y="1673542"/>
                </a:lnTo>
                <a:lnTo>
                  <a:pt x="3225959" y="1673225"/>
                </a:lnTo>
                <a:close/>
                <a:moveTo>
                  <a:pt x="3454389" y="0"/>
                </a:moveTo>
                <a:lnTo>
                  <a:pt x="3461374" y="0"/>
                </a:lnTo>
                <a:lnTo>
                  <a:pt x="3468995" y="635"/>
                </a:lnTo>
                <a:lnTo>
                  <a:pt x="3475981" y="1587"/>
                </a:lnTo>
                <a:lnTo>
                  <a:pt x="3482966" y="3174"/>
                </a:lnTo>
                <a:lnTo>
                  <a:pt x="3490270" y="5079"/>
                </a:lnTo>
                <a:lnTo>
                  <a:pt x="3497255" y="7300"/>
                </a:lnTo>
                <a:lnTo>
                  <a:pt x="3503923" y="9839"/>
                </a:lnTo>
                <a:lnTo>
                  <a:pt x="3510591" y="13013"/>
                </a:lnTo>
                <a:lnTo>
                  <a:pt x="3517259" y="16505"/>
                </a:lnTo>
                <a:lnTo>
                  <a:pt x="3523610" y="20314"/>
                </a:lnTo>
                <a:lnTo>
                  <a:pt x="3529643" y="24757"/>
                </a:lnTo>
                <a:lnTo>
                  <a:pt x="3535676" y="29518"/>
                </a:lnTo>
                <a:lnTo>
                  <a:pt x="3541074" y="34596"/>
                </a:lnTo>
                <a:lnTo>
                  <a:pt x="3546472" y="39992"/>
                </a:lnTo>
                <a:lnTo>
                  <a:pt x="3551235" y="45705"/>
                </a:lnTo>
                <a:lnTo>
                  <a:pt x="3555998" y="51418"/>
                </a:lnTo>
                <a:lnTo>
                  <a:pt x="3560443" y="57766"/>
                </a:lnTo>
                <a:lnTo>
                  <a:pt x="3564254" y="64113"/>
                </a:lnTo>
                <a:lnTo>
                  <a:pt x="3567746" y="70779"/>
                </a:lnTo>
                <a:lnTo>
                  <a:pt x="3570922" y="77444"/>
                </a:lnTo>
                <a:lnTo>
                  <a:pt x="3573462" y="84109"/>
                </a:lnTo>
                <a:lnTo>
                  <a:pt x="3575684" y="91410"/>
                </a:lnTo>
                <a:lnTo>
                  <a:pt x="3577590" y="98709"/>
                </a:lnTo>
                <a:lnTo>
                  <a:pt x="3579177" y="106009"/>
                </a:lnTo>
                <a:lnTo>
                  <a:pt x="3580448" y="113309"/>
                </a:lnTo>
                <a:lnTo>
                  <a:pt x="3580765" y="120927"/>
                </a:lnTo>
                <a:lnTo>
                  <a:pt x="3581400" y="128544"/>
                </a:lnTo>
                <a:lnTo>
                  <a:pt x="3580765" y="136162"/>
                </a:lnTo>
                <a:lnTo>
                  <a:pt x="3530913" y="1012801"/>
                </a:lnTo>
                <a:lnTo>
                  <a:pt x="3529960" y="1019149"/>
                </a:lnTo>
                <a:lnTo>
                  <a:pt x="3529326" y="1025814"/>
                </a:lnTo>
                <a:lnTo>
                  <a:pt x="3528055" y="1032162"/>
                </a:lnTo>
                <a:lnTo>
                  <a:pt x="3526785" y="1038510"/>
                </a:lnTo>
                <a:lnTo>
                  <a:pt x="3524880" y="1044541"/>
                </a:lnTo>
                <a:lnTo>
                  <a:pt x="3522975" y="1050254"/>
                </a:lnTo>
                <a:lnTo>
                  <a:pt x="3520434" y="1056284"/>
                </a:lnTo>
                <a:lnTo>
                  <a:pt x="3518212" y="1062315"/>
                </a:lnTo>
                <a:lnTo>
                  <a:pt x="3515354" y="1067710"/>
                </a:lnTo>
                <a:lnTo>
                  <a:pt x="3512179" y="1072789"/>
                </a:lnTo>
                <a:lnTo>
                  <a:pt x="3508686" y="1077867"/>
                </a:lnTo>
                <a:lnTo>
                  <a:pt x="3505193" y="1083263"/>
                </a:lnTo>
                <a:lnTo>
                  <a:pt x="3501700" y="1087706"/>
                </a:lnTo>
                <a:lnTo>
                  <a:pt x="3497572" y="1092467"/>
                </a:lnTo>
                <a:lnTo>
                  <a:pt x="3493445" y="1096910"/>
                </a:lnTo>
                <a:lnTo>
                  <a:pt x="3488999" y="1101354"/>
                </a:lnTo>
                <a:lnTo>
                  <a:pt x="3484554" y="1105163"/>
                </a:lnTo>
                <a:lnTo>
                  <a:pt x="3479791" y="1108654"/>
                </a:lnTo>
                <a:lnTo>
                  <a:pt x="3474710" y="1112463"/>
                </a:lnTo>
                <a:lnTo>
                  <a:pt x="3469630" y="1115319"/>
                </a:lnTo>
                <a:lnTo>
                  <a:pt x="3464550" y="1118493"/>
                </a:lnTo>
                <a:lnTo>
                  <a:pt x="3459152" y="1121350"/>
                </a:lnTo>
                <a:lnTo>
                  <a:pt x="3453436" y="1123889"/>
                </a:lnTo>
                <a:lnTo>
                  <a:pt x="3448038" y="1126111"/>
                </a:lnTo>
                <a:lnTo>
                  <a:pt x="3442005" y="1128015"/>
                </a:lnTo>
                <a:lnTo>
                  <a:pt x="3435972" y="1129602"/>
                </a:lnTo>
                <a:lnTo>
                  <a:pt x="3430256" y="1130871"/>
                </a:lnTo>
                <a:lnTo>
                  <a:pt x="3423906" y="1132141"/>
                </a:lnTo>
                <a:lnTo>
                  <a:pt x="3417873" y="1132776"/>
                </a:lnTo>
                <a:lnTo>
                  <a:pt x="3411522" y="1133093"/>
                </a:lnTo>
                <a:lnTo>
                  <a:pt x="3405490" y="1133093"/>
                </a:lnTo>
                <a:lnTo>
                  <a:pt x="3398504" y="1132776"/>
                </a:lnTo>
                <a:lnTo>
                  <a:pt x="3392471" y="1132458"/>
                </a:lnTo>
                <a:lnTo>
                  <a:pt x="3386120" y="1131189"/>
                </a:lnTo>
                <a:lnTo>
                  <a:pt x="3379770" y="1129919"/>
                </a:lnTo>
                <a:lnTo>
                  <a:pt x="3373736" y="1128332"/>
                </a:lnTo>
                <a:lnTo>
                  <a:pt x="3368021" y="1126745"/>
                </a:lnTo>
                <a:lnTo>
                  <a:pt x="3361988" y="1124524"/>
                </a:lnTo>
                <a:lnTo>
                  <a:pt x="3356590" y="1122302"/>
                </a:lnTo>
                <a:lnTo>
                  <a:pt x="3350874" y="1119763"/>
                </a:lnTo>
                <a:lnTo>
                  <a:pt x="3345476" y="1116589"/>
                </a:lnTo>
                <a:lnTo>
                  <a:pt x="3340396" y="1113415"/>
                </a:lnTo>
                <a:lnTo>
                  <a:pt x="3334998" y="1109924"/>
                </a:lnTo>
                <a:lnTo>
                  <a:pt x="3330553" y="1106432"/>
                </a:lnTo>
                <a:lnTo>
                  <a:pt x="3325790" y="1102306"/>
                </a:lnTo>
                <a:lnTo>
                  <a:pt x="3321344" y="1098497"/>
                </a:lnTo>
                <a:lnTo>
                  <a:pt x="3316899" y="1094054"/>
                </a:lnTo>
                <a:lnTo>
                  <a:pt x="3312771" y="1089293"/>
                </a:lnTo>
                <a:lnTo>
                  <a:pt x="3308961" y="1084849"/>
                </a:lnTo>
                <a:lnTo>
                  <a:pt x="3305150" y="1080089"/>
                </a:lnTo>
                <a:lnTo>
                  <a:pt x="3301975" y="1074693"/>
                </a:lnTo>
                <a:lnTo>
                  <a:pt x="3298482" y="1069615"/>
                </a:lnTo>
                <a:lnTo>
                  <a:pt x="3295625" y="1064219"/>
                </a:lnTo>
                <a:lnTo>
                  <a:pt x="3293084" y="1058823"/>
                </a:lnTo>
                <a:lnTo>
                  <a:pt x="3290544" y="1053110"/>
                </a:lnTo>
                <a:lnTo>
                  <a:pt x="3288639" y="1047397"/>
                </a:lnTo>
                <a:lnTo>
                  <a:pt x="3286734" y="1041367"/>
                </a:lnTo>
                <a:lnTo>
                  <a:pt x="3285146" y="1035019"/>
                </a:lnTo>
                <a:lnTo>
                  <a:pt x="3283558" y="1028988"/>
                </a:lnTo>
                <a:lnTo>
                  <a:pt x="3282606" y="1022640"/>
                </a:lnTo>
                <a:lnTo>
                  <a:pt x="3281971" y="1015975"/>
                </a:lnTo>
                <a:lnTo>
                  <a:pt x="3281654" y="1009627"/>
                </a:lnTo>
                <a:lnTo>
                  <a:pt x="3281018" y="1003597"/>
                </a:lnTo>
                <a:lnTo>
                  <a:pt x="3281654" y="996614"/>
                </a:lnTo>
                <a:lnTo>
                  <a:pt x="3306103" y="573529"/>
                </a:lnTo>
                <a:lnTo>
                  <a:pt x="3299118" y="568768"/>
                </a:lnTo>
                <a:lnTo>
                  <a:pt x="2057582" y="2162081"/>
                </a:lnTo>
                <a:lnTo>
                  <a:pt x="2052502" y="2168112"/>
                </a:lnTo>
                <a:lnTo>
                  <a:pt x="2047422" y="2173825"/>
                </a:lnTo>
                <a:lnTo>
                  <a:pt x="2042024" y="2178903"/>
                </a:lnTo>
                <a:lnTo>
                  <a:pt x="2036626" y="2183981"/>
                </a:lnTo>
                <a:lnTo>
                  <a:pt x="2030592" y="2188742"/>
                </a:lnTo>
                <a:lnTo>
                  <a:pt x="2024877" y="2193186"/>
                </a:lnTo>
                <a:lnTo>
                  <a:pt x="2018844" y="2197629"/>
                </a:lnTo>
                <a:lnTo>
                  <a:pt x="2012493" y="2201121"/>
                </a:lnTo>
                <a:lnTo>
                  <a:pt x="2006143" y="2204612"/>
                </a:lnTo>
                <a:lnTo>
                  <a:pt x="1999475" y="2207786"/>
                </a:lnTo>
                <a:lnTo>
                  <a:pt x="1992807" y="2210642"/>
                </a:lnTo>
                <a:lnTo>
                  <a:pt x="1986139" y="2213182"/>
                </a:lnTo>
                <a:lnTo>
                  <a:pt x="1979470" y="2215403"/>
                </a:lnTo>
                <a:lnTo>
                  <a:pt x="1972485" y="2217308"/>
                </a:lnTo>
                <a:lnTo>
                  <a:pt x="1965499" y="2218577"/>
                </a:lnTo>
                <a:lnTo>
                  <a:pt x="1958514" y="2219529"/>
                </a:lnTo>
                <a:lnTo>
                  <a:pt x="1951528" y="2220482"/>
                </a:lnTo>
                <a:lnTo>
                  <a:pt x="1944225" y="2221116"/>
                </a:lnTo>
                <a:lnTo>
                  <a:pt x="1937239" y="2221116"/>
                </a:lnTo>
                <a:lnTo>
                  <a:pt x="1929619" y="2221116"/>
                </a:lnTo>
                <a:lnTo>
                  <a:pt x="1922633" y="2220482"/>
                </a:lnTo>
                <a:lnTo>
                  <a:pt x="1915647" y="2219529"/>
                </a:lnTo>
                <a:lnTo>
                  <a:pt x="1908344" y="2218577"/>
                </a:lnTo>
                <a:lnTo>
                  <a:pt x="1901358" y="2216990"/>
                </a:lnTo>
                <a:lnTo>
                  <a:pt x="1894690" y="2214769"/>
                </a:lnTo>
                <a:lnTo>
                  <a:pt x="1887387" y="2212547"/>
                </a:lnTo>
                <a:lnTo>
                  <a:pt x="1880402" y="2210008"/>
                </a:lnTo>
                <a:lnTo>
                  <a:pt x="1873734" y="2207151"/>
                </a:lnTo>
                <a:lnTo>
                  <a:pt x="1867066" y="2203977"/>
                </a:lnTo>
                <a:lnTo>
                  <a:pt x="1860715" y="2199851"/>
                </a:lnTo>
                <a:lnTo>
                  <a:pt x="1854047" y="2196042"/>
                </a:lnTo>
                <a:lnTo>
                  <a:pt x="1847696" y="2191599"/>
                </a:lnTo>
                <a:lnTo>
                  <a:pt x="1229469" y="1731062"/>
                </a:lnTo>
                <a:lnTo>
                  <a:pt x="271487" y="2768937"/>
                </a:lnTo>
                <a:lnTo>
                  <a:pt x="266406" y="2774967"/>
                </a:lnTo>
                <a:lnTo>
                  <a:pt x="260691" y="2780680"/>
                </a:lnTo>
                <a:lnTo>
                  <a:pt x="254975" y="2785759"/>
                </a:lnTo>
                <a:lnTo>
                  <a:pt x="248942" y="2791154"/>
                </a:lnTo>
                <a:lnTo>
                  <a:pt x="242592" y="2795915"/>
                </a:lnTo>
                <a:lnTo>
                  <a:pt x="236241" y="2800041"/>
                </a:lnTo>
                <a:lnTo>
                  <a:pt x="230208" y="2804167"/>
                </a:lnTo>
                <a:lnTo>
                  <a:pt x="223223" y="2807659"/>
                </a:lnTo>
                <a:lnTo>
                  <a:pt x="216554" y="2810833"/>
                </a:lnTo>
                <a:lnTo>
                  <a:pt x="209886" y="2814007"/>
                </a:lnTo>
                <a:lnTo>
                  <a:pt x="202901" y="2816228"/>
                </a:lnTo>
                <a:lnTo>
                  <a:pt x="195915" y="2818767"/>
                </a:lnTo>
                <a:lnTo>
                  <a:pt x="188612" y="2820354"/>
                </a:lnTo>
                <a:lnTo>
                  <a:pt x="181309" y="2821941"/>
                </a:lnTo>
                <a:lnTo>
                  <a:pt x="174006" y="2822894"/>
                </a:lnTo>
                <a:lnTo>
                  <a:pt x="166703" y="2823846"/>
                </a:lnTo>
                <a:lnTo>
                  <a:pt x="159082" y="2824163"/>
                </a:lnTo>
                <a:lnTo>
                  <a:pt x="152096" y="2824163"/>
                </a:lnTo>
                <a:lnTo>
                  <a:pt x="144476" y="2823846"/>
                </a:lnTo>
                <a:lnTo>
                  <a:pt x="136855" y="2823528"/>
                </a:lnTo>
                <a:lnTo>
                  <a:pt x="129552" y="2822259"/>
                </a:lnTo>
                <a:lnTo>
                  <a:pt x="122249" y="2820672"/>
                </a:lnTo>
                <a:lnTo>
                  <a:pt x="114945" y="2819085"/>
                </a:lnTo>
                <a:lnTo>
                  <a:pt x="107642" y="2816546"/>
                </a:lnTo>
                <a:lnTo>
                  <a:pt x="100657" y="2814324"/>
                </a:lnTo>
                <a:lnTo>
                  <a:pt x="93671" y="2811467"/>
                </a:lnTo>
                <a:lnTo>
                  <a:pt x="87003" y="2807976"/>
                </a:lnTo>
                <a:lnTo>
                  <a:pt x="80335" y="2804485"/>
                </a:lnTo>
                <a:lnTo>
                  <a:pt x="73349" y="2800359"/>
                </a:lnTo>
                <a:lnTo>
                  <a:pt x="66681" y="2796233"/>
                </a:lnTo>
                <a:lnTo>
                  <a:pt x="60331" y="2791472"/>
                </a:lnTo>
                <a:lnTo>
                  <a:pt x="54298" y="2785759"/>
                </a:lnTo>
                <a:lnTo>
                  <a:pt x="48265" y="2780680"/>
                </a:lnTo>
                <a:lnTo>
                  <a:pt x="42867" y="2774967"/>
                </a:lnTo>
                <a:lnTo>
                  <a:pt x="37469" y="2768937"/>
                </a:lnTo>
                <a:lnTo>
                  <a:pt x="32388" y="2762906"/>
                </a:lnTo>
                <a:lnTo>
                  <a:pt x="28260" y="2756876"/>
                </a:lnTo>
                <a:lnTo>
                  <a:pt x="23815" y="2749893"/>
                </a:lnTo>
                <a:lnTo>
                  <a:pt x="19687" y="2743228"/>
                </a:lnTo>
                <a:lnTo>
                  <a:pt x="16194" y="2736563"/>
                </a:lnTo>
                <a:lnTo>
                  <a:pt x="13019" y="2729580"/>
                </a:lnTo>
                <a:lnTo>
                  <a:pt x="10479" y="2722280"/>
                </a:lnTo>
                <a:lnTo>
                  <a:pt x="7938" y="2715297"/>
                </a:lnTo>
                <a:lnTo>
                  <a:pt x="5716" y="2708315"/>
                </a:lnTo>
                <a:lnTo>
                  <a:pt x="3811" y="2700697"/>
                </a:lnTo>
                <a:lnTo>
                  <a:pt x="2540" y="2693080"/>
                </a:lnTo>
                <a:lnTo>
                  <a:pt x="1270" y="2685780"/>
                </a:lnTo>
                <a:lnTo>
                  <a:pt x="635" y="2678162"/>
                </a:lnTo>
                <a:lnTo>
                  <a:pt x="0" y="2670228"/>
                </a:lnTo>
                <a:lnTo>
                  <a:pt x="0" y="2662927"/>
                </a:lnTo>
                <a:lnTo>
                  <a:pt x="0" y="2655310"/>
                </a:lnTo>
                <a:lnTo>
                  <a:pt x="953" y="2648010"/>
                </a:lnTo>
                <a:lnTo>
                  <a:pt x="1588" y="2640075"/>
                </a:lnTo>
                <a:lnTo>
                  <a:pt x="3176" y="2632458"/>
                </a:lnTo>
                <a:lnTo>
                  <a:pt x="4763" y="2625158"/>
                </a:lnTo>
                <a:lnTo>
                  <a:pt x="6668" y="2617858"/>
                </a:lnTo>
                <a:lnTo>
                  <a:pt x="9526" y="2610558"/>
                </a:lnTo>
                <a:lnTo>
                  <a:pt x="12384" y="2603258"/>
                </a:lnTo>
                <a:lnTo>
                  <a:pt x="15559" y="2596275"/>
                </a:lnTo>
                <a:lnTo>
                  <a:pt x="19052" y="2588975"/>
                </a:lnTo>
                <a:lnTo>
                  <a:pt x="22545" y="2582310"/>
                </a:lnTo>
                <a:lnTo>
                  <a:pt x="26990" y="2575644"/>
                </a:lnTo>
                <a:lnTo>
                  <a:pt x="31753" y="2569297"/>
                </a:lnTo>
                <a:lnTo>
                  <a:pt x="36516" y="2562631"/>
                </a:lnTo>
                <a:lnTo>
                  <a:pt x="1086264" y="1414621"/>
                </a:lnTo>
                <a:lnTo>
                  <a:pt x="1091027" y="1408908"/>
                </a:lnTo>
                <a:lnTo>
                  <a:pt x="1096742" y="1403829"/>
                </a:lnTo>
                <a:lnTo>
                  <a:pt x="1101823" y="1398751"/>
                </a:lnTo>
                <a:lnTo>
                  <a:pt x="1107221" y="1393990"/>
                </a:lnTo>
                <a:lnTo>
                  <a:pt x="1113254" y="1389229"/>
                </a:lnTo>
                <a:lnTo>
                  <a:pt x="1119287" y="1385103"/>
                </a:lnTo>
                <a:lnTo>
                  <a:pt x="1125002" y="1381295"/>
                </a:lnTo>
                <a:lnTo>
                  <a:pt x="1131353" y="1377803"/>
                </a:lnTo>
                <a:lnTo>
                  <a:pt x="1137703" y="1374629"/>
                </a:lnTo>
                <a:lnTo>
                  <a:pt x="1144054" y="1371455"/>
                </a:lnTo>
                <a:lnTo>
                  <a:pt x="1150722" y="1368599"/>
                </a:lnTo>
                <a:lnTo>
                  <a:pt x="1157390" y="1366694"/>
                </a:lnTo>
                <a:lnTo>
                  <a:pt x="1164058" y="1364790"/>
                </a:lnTo>
                <a:lnTo>
                  <a:pt x="1170726" y="1362568"/>
                </a:lnTo>
                <a:lnTo>
                  <a:pt x="1177394" y="1361616"/>
                </a:lnTo>
                <a:lnTo>
                  <a:pt x="1184698" y="1360347"/>
                </a:lnTo>
                <a:lnTo>
                  <a:pt x="1191683" y="1360029"/>
                </a:lnTo>
                <a:lnTo>
                  <a:pt x="1198351" y="1359712"/>
                </a:lnTo>
                <a:lnTo>
                  <a:pt x="1205654" y="1359077"/>
                </a:lnTo>
                <a:lnTo>
                  <a:pt x="1212640" y="1359712"/>
                </a:lnTo>
                <a:lnTo>
                  <a:pt x="1219626" y="1360347"/>
                </a:lnTo>
                <a:lnTo>
                  <a:pt x="1226294" y="1361299"/>
                </a:lnTo>
                <a:lnTo>
                  <a:pt x="1233597" y="1362251"/>
                </a:lnTo>
                <a:lnTo>
                  <a:pt x="1240582" y="1363838"/>
                </a:lnTo>
                <a:lnTo>
                  <a:pt x="1247251" y="1365742"/>
                </a:lnTo>
                <a:lnTo>
                  <a:pt x="1253919" y="1368281"/>
                </a:lnTo>
                <a:lnTo>
                  <a:pt x="1260904" y="1371138"/>
                </a:lnTo>
                <a:lnTo>
                  <a:pt x="1267572" y="1373677"/>
                </a:lnTo>
                <a:lnTo>
                  <a:pt x="1274240" y="1376851"/>
                </a:lnTo>
                <a:lnTo>
                  <a:pt x="1280591" y="1380977"/>
                </a:lnTo>
                <a:lnTo>
                  <a:pt x="1286942" y="1384786"/>
                </a:lnTo>
                <a:lnTo>
                  <a:pt x="1292975" y="1389229"/>
                </a:lnTo>
                <a:lnTo>
                  <a:pt x="1907709" y="1846910"/>
                </a:lnTo>
                <a:lnTo>
                  <a:pt x="3043507" y="389124"/>
                </a:lnTo>
                <a:lnTo>
                  <a:pt x="3023186" y="374841"/>
                </a:lnTo>
                <a:lnTo>
                  <a:pt x="2660568" y="470377"/>
                </a:lnTo>
                <a:lnTo>
                  <a:pt x="2654853" y="471646"/>
                </a:lnTo>
                <a:lnTo>
                  <a:pt x="2648502" y="472598"/>
                </a:lnTo>
                <a:lnTo>
                  <a:pt x="2642152" y="473551"/>
                </a:lnTo>
                <a:lnTo>
                  <a:pt x="2635801" y="473868"/>
                </a:lnTo>
                <a:lnTo>
                  <a:pt x="2629450" y="474185"/>
                </a:lnTo>
                <a:lnTo>
                  <a:pt x="2623418" y="473868"/>
                </a:lnTo>
                <a:lnTo>
                  <a:pt x="2617384" y="473551"/>
                </a:lnTo>
                <a:lnTo>
                  <a:pt x="2611352" y="472598"/>
                </a:lnTo>
                <a:lnTo>
                  <a:pt x="2605318" y="471964"/>
                </a:lnTo>
                <a:lnTo>
                  <a:pt x="2599603" y="470377"/>
                </a:lnTo>
                <a:lnTo>
                  <a:pt x="2593570" y="468790"/>
                </a:lnTo>
                <a:lnTo>
                  <a:pt x="2587537" y="466885"/>
                </a:lnTo>
                <a:lnTo>
                  <a:pt x="2582139" y="464346"/>
                </a:lnTo>
                <a:lnTo>
                  <a:pt x="2576741" y="462124"/>
                </a:lnTo>
                <a:lnTo>
                  <a:pt x="2571660" y="459268"/>
                </a:lnTo>
                <a:lnTo>
                  <a:pt x="2565945" y="456094"/>
                </a:lnTo>
                <a:lnTo>
                  <a:pt x="2560864" y="452920"/>
                </a:lnTo>
                <a:lnTo>
                  <a:pt x="2556102" y="449429"/>
                </a:lnTo>
                <a:lnTo>
                  <a:pt x="2551339" y="445937"/>
                </a:lnTo>
                <a:lnTo>
                  <a:pt x="2546576" y="441811"/>
                </a:lnTo>
                <a:lnTo>
                  <a:pt x="2542448" y="437685"/>
                </a:lnTo>
                <a:lnTo>
                  <a:pt x="2538002" y="433242"/>
                </a:lnTo>
                <a:lnTo>
                  <a:pt x="2533875" y="428481"/>
                </a:lnTo>
                <a:lnTo>
                  <a:pt x="2530064" y="423402"/>
                </a:lnTo>
                <a:lnTo>
                  <a:pt x="2526572" y="418324"/>
                </a:lnTo>
                <a:lnTo>
                  <a:pt x="2523396" y="413246"/>
                </a:lnTo>
                <a:lnTo>
                  <a:pt x="2520221" y="407533"/>
                </a:lnTo>
                <a:lnTo>
                  <a:pt x="2517363" y="402137"/>
                </a:lnTo>
                <a:lnTo>
                  <a:pt x="2514823" y="396107"/>
                </a:lnTo>
                <a:lnTo>
                  <a:pt x="2512283" y="390394"/>
                </a:lnTo>
                <a:lnTo>
                  <a:pt x="2510378" y="384046"/>
                </a:lnTo>
                <a:lnTo>
                  <a:pt x="2508472" y="377698"/>
                </a:lnTo>
                <a:lnTo>
                  <a:pt x="2507202" y="371350"/>
                </a:lnTo>
                <a:lnTo>
                  <a:pt x="2505932" y="364685"/>
                </a:lnTo>
                <a:lnTo>
                  <a:pt x="2505297" y="358337"/>
                </a:lnTo>
                <a:lnTo>
                  <a:pt x="2504980" y="351989"/>
                </a:lnTo>
                <a:lnTo>
                  <a:pt x="2504344" y="345641"/>
                </a:lnTo>
                <a:lnTo>
                  <a:pt x="2504344" y="339293"/>
                </a:lnTo>
                <a:lnTo>
                  <a:pt x="2505297" y="332946"/>
                </a:lnTo>
                <a:lnTo>
                  <a:pt x="2505615" y="326915"/>
                </a:lnTo>
                <a:lnTo>
                  <a:pt x="2506885" y="320567"/>
                </a:lnTo>
                <a:lnTo>
                  <a:pt x="2508155" y="314537"/>
                </a:lnTo>
                <a:lnTo>
                  <a:pt x="2509425" y="308506"/>
                </a:lnTo>
                <a:lnTo>
                  <a:pt x="2511648" y="302793"/>
                </a:lnTo>
                <a:lnTo>
                  <a:pt x="2513870" y="296763"/>
                </a:lnTo>
                <a:lnTo>
                  <a:pt x="2516410" y="291367"/>
                </a:lnTo>
                <a:lnTo>
                  <a:pt x="2518633" y="285654"/>
                </a:lnTo>
                <a:lnTo>
                  <a:pt x="2521808" y="280576"/>
                </a:lnTo>
                <a:lnTo>
                  <a:pt x="2524984" y="275180"/>
                </a:lnTo>
                <a:lnTo>
                  <a:pt x="2528159" y="270102"/>
                </a:lnTo>
                <a:lnTo>
                  <a:pt x="2531970" y="265341"/>
                </a:lnTo>
                <a:lnTo>
                  <a:pt x="2535462" y="260580"/>
                </a:lnTo>
                <a:lnTo>
                  <a:pt x="2539908" y="256136"/>
                </a:lnTo>
                <a:lnTo>
                  <a:pt x="2544353" y="251693"/>
                </a:lnTo>
                <a:lnTo>
                  <a:pt x="2548481" y="247567"/>
                </a:lnTo>
                <a:lnTo>
                  <a:pt x="2553244" y="243441"/>
                </a:lnTo>
                <a:lnTo>
                  <a:pt x="2558642" y="239949"/>
                </a:lnTo>
                <a:lnTo>
                  <a:pt x="2563722" y="236458"/>
                </a:lnTo>
                <a:lnTo>
                  <a:pt x="2568803" y="233284"/>
                </a:lnTo>
                <a:lnTo>
                  <a:pt x="2574201" y="230428"/>
                </a:lnTo>
                <a:lnTo>
                  <a:pt x="2579916" y="227889"/>
                </a:lnTo>
                <a:lnTo>
                  <a:pt x="2585632" y="225349"/>
                </a:lnTo>
                <a:lnTo>
                  <a:pt x="2591982" y="223445"/>
                </a:lnTo>
                <a:lnTo>
                  <a:pt x="2598015" y="221541"/>
                </a:lnTo>
                <a:lnTo>
                  <a:pt x="3425176" y="4126"/>
                </a:lnTo>
                <a:lnTo>
                  <a:pt x="3432162" y="2222"/>
                </a:lnTo>
                <a:lnTo>
                  <a:pt x="3439782" y="952"/>
                </a:lnTo>
                <a:lnTo>
                  <a:pt x="3446768" y="318"/>
                </a:lnTo>
                <a:lnTo>
                  <a:pt x="345438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64" grpId="0"/>
      <p:bldP spid="13" grpId="0" bldLvl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ísḻíde"/>
          <p:cNvSpPr/>
          <p:nvPr/>
        </p:nvSpPr>
        <p:spPr>
          <a:xfrm>
            <a:off x="837308" y="5681483"/>
            <a:ext cx="10790763" cy="825477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 altLang="zh-CN" sz="2000" b="1" dirty="0"/>
          </a:p>
        </p:txBody>
      </p:sp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政策优势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POLICI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îślïḑé"/>
          <p:cNvSpPr txBox="1"/>
          <p:nvPr>
            <p:custDataLst>
              <p:tags r:id="rId1"/>
            </p:custDataLst>
          </p:nvPr>
        </p:nvSpPr>
        <p:spPr>
          <a:xfrm>
            <a:off x="3216275" y="1209675"/>
            <a:ext cx="1856740" cy="52197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p>
            <a:r>
              <a:rPr lang="zh-CN" altLang="en-US" sz="28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CN" altLang="en-US" sz="2800" b="1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区外</a:t>
            </a:r>
            <a:endParaRPr lang="zh-CN" altLang="en-US" sz="2800" b="1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îšḷíḓe"/>
          <p:cNvSpPr txBox="1"/>
          <p:nvPr>
            <p:custDataLst>
              <p:tags r:id="rId2"/>
            </p:custDataLst>
          </p:nvPr>
        </p:nvSpPr>
        <p:spPr>
          <a:xfrm>
            <a:off x="8184515" y="1219200"/>
            <a:ext cx="1814195" cy="52197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p>
            <a:r>
              <a:rPr lang="zh-CN" altLang="en-US" sz="28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CN" altLang="en-US" sz="2800" b="1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区内</a:t>
            </a:r>
            <a:endParaRPr lang="zh-CN" altLang="en-US" sz="2800" b="1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8" name="组合 57"/>
          <p:cNvGrpSpPr/>
          <p:nvPr/>
        </p:nvGrpSpPr>
        <p:grpSpPr>
          <a:xfrm>
            <a:off x="1661795" y="1875155"/>
            <a:ext cx="10045699" cy="3599815"/>
            <a:chOff x="192205" y="1812777"/>
            <a:chExt cx="11120005" cy="3599815"/>
          </a:xfrm>
        </p:grpSpPr>
        <p:sp>
          <p:nvSpPr>
            <p:cNvPr id="13" name="iŝļíde"/>
            <p:cNvSpPr/>
            <p:nvPr>
              <p:custDataLst>
                <p:tags r:id="rId3"/>
              </p:custDataLst>
            </p:nvPr>
          </p:nvSpPr>
          <p:spPr>
            <a:xfrm>
              <a:off x="192205" y="2754482"/>
              <a:ext cx="7296889" cy="767715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179705"/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ísḻíde"/>
            <p:cNvSpPr/>
            <p:nvPr>
              <p:custDataLst>
                <p:tags r:id="rId4"/>
              </p:custDataLst>
            </p:nvPr>
          </p:nvSpPr>
          <p:spPr>
            <a:xfrm>
              <a:off x="5540632" y="2754482"/>
              <a:ext cx="5771578" cy="767715"/>
            </a:xfrm>
            <a:prstGeom prst="roundRect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 altLang="zh-CN" sz="2000" b="1" dirty="0"/>
            </a:p>
          </p:txBody>
        </p:sp>
        <p:sp>
          <p:nvSpPr>
            <p:cNvPr id="21" name="文本框 20"/>
            <p:cNvSpPr txBox="1"/>
            <p:nvPr>
              <p:custDataLst>
                <p:tags r:id="rId5"/>
              </p:custDataLst>
            </p:nvPr>
          </p:nvSpPr>
          <p:spPr>
            <a:xfrm>
              <a:off x="1195959" y="2929107"/>
              <a:ext cx="2773675" cy="398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30% </a:t>
              </a:r>
              <a:r>
                <a:rPr lang="zh-CN" altLang="en-US" sz="20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企业所得税</a:t>
              </a:r>
              <a:endPara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39" name="文本框 38"/>
            <p:cNvSpPr txBox="1"/>
            <p:nvPr>
              <p:custDataLst>
                <p:tags r:id="rId6"/>
              </p:custDataLst>
            </p:nvPr>
          </p:nvSpPr>
          <p:spPr>
            <a:xfrm>
              <a:off x="5740259" y="2859257"/>
              <a:ext cx="5160751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免</a:t>
              </a:r>
              <a:r>
                <a:rPr lang="en-US" altLang="zh-CN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企业所得税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iŝļíde"/>
            <p:cNvSpPr/>
            <p:nvPr>
              <p:custDataLst>
                <p:tags r:id="rId7"/>
              </p:custDataLst>
            </p:nvPr>
          </p:nvSpPr>
          <p:spPr>
            <a:xfrm>
              <a:off x="192205" y="3677772"/>
              <a:ext cx="7325005" cy="173482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179705"/>
              <a:endParaRPr kumimoji="0" lang="en-US" b="1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ísḻíde"/>
            <p:cNvSpPr/>
            <p:nvPr>
              <p:custDataLst>
                <p:tags r:id="rId8"/>
              </p:custDataLst>
            </p:nvPr>
          </p:nvSpPr>
          <p:spPr>
            <a:xfrm>
              <a:off x="5541335" y="3677772"/>
              <a:ext cx="5770875" cy="1727200"/>
            </a:xfrm>
            <a:prstGeom prst="roundRect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 altLang="zh-CN" sz="2000" b="1" dirty="0"/>
            </a:p>
          </p:txBody>
        </p:sp>
        <p:sp>
          <p:nvSpPr>
            <p:cNvPr id="17" name="文本框 16"/>
            <p:cNvSpPr txBox="1"/>
            <p:nvPr>
              <p:custDataLst>
                <p:tags r:id="rId9"/>
              </p:custDataLst>
            </p:nvPr>
          </p:nvSpPr>
          <p:spPr>
            <a:xfrm>
              <a:off x="587943" y="3750797"/>
              <a:ext cx="4832493" cy="1630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just"/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各级地方政府的各项税费，如</a:t>
              </a:r>
              <a:r>
                <a: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3%</a:t>
              </a:r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印花税，</a:t>
              </a:r>
              <a:r>
                <a: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10%</a:t>
              </a:r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股息预扣税</a:t>
              </a:r>
              <a:r>
                <a: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,5%</a:t>
              </a:r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发展税等。</a:t>
              </a:r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以及其他可能费用：</a:t>
              </a:r>
              <a:b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</a:br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如房产税，环境税，特许经营费，特殊行业牌照费等</a:t>
              </a:r>
              <a:endPara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40" name="文本框 39"/>
            <p:cNvSpPr txBox="1"/>
            <p:nvPr>
              <p:custDataLst>
                <p:tags r:id="rId10"/>
              </p:custDataLst>
            </p:nvPr>
          </p:nvSpPr>
          <p:spPr>
            <a:xfrm>
              <a:off x="5818281" y="3786357"/>
              <a:ext cx="5236665" cy="159194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p>
              <a:pPr algn="ctr"/>
              <a:r>
                <a:rPr lang="zh-CN" altLang="en-US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免</a:t>
              </a:r>
              <a:r>
                <a:rPr lang="en-US" altLang="zh-CN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征各项税费杂费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iŝḻîḑè"/>
            <p:cNvSpPr/>
            <p:nvPr>
              <p:custDataLst>
                <p:tags r:id="rId11"/>
              </p:custDataLst>
            </p:nvPr>
          </p:nvSpPr>
          <p:spPr>
            <a:xfrm>
              <a:off x="192205" y="1812777"/>
              <a:ext cx="7339063" cy="767715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179705"/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íś1ïďé"/>
            <p:cNvSpPr/>
            <p:nvPr>
              <p:custDataLst>
                <p:tags r:id="rId12"/>
              </p:custDataLst>
            </p:nvPr>
          </p:nvSpPr>
          <p:spPr>
            <a:xfrm>
              <a:off x="5479480" y="1812777"/>
              <a:ext cx="5832028" cy="767715"/>
            </a:xfrm>
            <a:prstGeom prst="roundRect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 altLang="zh-CN" sz="2000" b="1" dirty="0"/>
            </a:p>
          </p:txBody>
        </p:sp>
        <p:sp>
          <p:nvSpPr>
            <p:cNvPr id="37" name="文本框 36"/>
            <p:cNvSpPr txBox="1"/>
            <p:nvPr>
              <p:custDataLst>
                <p:tags r:id="rId13"/>
              </p:custDataLst>
            </p:nvPr>
          </p:nvSpPr>
          <p:spPr>
            <a:xfrm>
              <a:off x="5740962" y="1918187"/>
              <a:ext cx="5313282" cy="521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免</a:t>
              </a:r>
              <a:r>
                <a:rPr lang="en-US" altLang="zh-CN" sz="28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进口关税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文本框 50"/>
            <p:cNvSpPr txBox="1"/>
            <p:nvPr>
              <p:custDataLst>
                <p:tags r:id="rId14"/>
              </p:custDataLst>
            </p:nvPr>
          </p:nvSpPr>
          <p:spPr>
            <a:xfrm>
              <a:off x="1195958" y="1977877"/>
              <a:ext cx="3056244" cy="398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5%-35% </a:t>
              </a:r>
              <a:r>
                <a:rPr lang="zh-CN" altLang="en-US" sz="20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进口关税</a:t>
              </a:r>
              <a:endPara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1070202" y="5894166"/>
            <a:ext cx="103249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若出口到当地市场，则需缴纳：</a:t>
            </a:r>
            <a:r>
              <a:rPr lang="en-US" altLang="zh-CN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7.5%</a:t>
            </a:r>
            <a:r>
              <a:rPr lang="zh-CN" altLang="en-US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增值税</a:t>
            </a:r>
            <a:r>
              <a:rPr lang="en-US" altLang="zh-CN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&amp;</a:t>
            </a:r>
            <a:r>
              <a:rPr lang="zh-CN" altLang="en-US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进口原材料关税。若出口到境外则全免。</a:t>
            </a:r>
            <a:endParaRPr lang="zh-CN" altLang="en-US" sz="20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/>
          <p:cNvSpPr/>
          <p:nvPr/>
        </p:nvSpPr>
        <p:spPr>
          <a:xfrm>
            <a:off x="4892558" y="972607"/>
            <a:ext cx="2448272" cy="244827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标题 4"/>
          <p:cNvSpPr txBox="1"/>
          <p:nvPr/>
        </p:nvSpPr>
        <p:spPr>
          <a:xfrm>
            <a:off x="4945459" y="3819612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概况</a:t>
            </a:r>
            <a:endParaRPr lang="zh-CN" altLang="en-US" sz="24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椭圆 23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椭圆 24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椭圆 25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椭圆 26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椭圆 27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椭圆 28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椭圆 29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椭圆 30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椭圆 31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椭圆 32"/>
          <p:cNvSpPr>
            <a:spLocks noChangeAspect="1"/>
          </p:cNvSpPr>
          <p:nvPr/>
        </p:nvSpPr>
        <p:spPr>
          <a:xfrm>
            <a:off x="6097595" y="836712"/>
            <a:ext cx="72000" cy="72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标题 4"/>
          <p:cNvSpPr txBox="1"/>
          <p:nvPr/>
        </p:nvSpPr>
        <p:spPr>
          <a:xfrm>
            <a:off x="4945459" y="2780928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章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KSO_Shape"/>
          <p:cNvSpPr/>
          <p:nvPr/>
        </p:nvSpPr>
        <p:spPr bwMode="auto">
          <a:xfrm>
            <a:off x="5204676" y="1484784"/>
            <a:ext cx="1741748" cy="1196000"/>
          </a:xfrm>
          <a:custGeom>
            <a:avLst/>
            <a:gdLst>
              <a:gd name="T0" fmla="*/ 2147483646 w 112"/>
              <a:gd name="T1" fmla="*/ 2147483646 h 77"/>
              <a:gd name="T2" fmla="*/ 2147483646 w 112"/>
              <a:gd name="T3" fmla="*/ 2147483646 h 77"/>
              <a:gd name="T4" fmla="*/ 2147483646 w 112"/>
              <a:gd name="T5" fmla="*/ 2147483646 h 77"/>
              <a:gd name="T6" fmla="*/ 2147483646 w 112"/>
              <a:gd name="T7" fmla="*/ 2147483646 h 77"/>
              <a:gd name="T8" fmla="*/ 2147483646 w 112"/>
              <a:gd name="T9" fmla="*/ 2147483646 h 77"/>
              <a:gd name="T10" fmla="*/ 0 w 112"/>
              <a:gd name="T11" fmla="*/ 2147483646 h 77"/>
              <a:gd name="T12" fmla="*/ 2147483646 w 112"/>
              <a:gd name="T13" fmla="*/ 2147483646 h 77"/>
              <a:gd name="T14" fmla="*/ 2147483646 w 112"/>
              <a:gd name="T15" fmla="*/ 2147483646 h 77"/>
              <a:gd name="T16" fmla="*/ 2147483646 w 112"/>
              <a:gd name="T17" fmla="*/ 2147483646 h 77"/>
              <a:gd name="T18" fmla="*/ 2147483646 w 112"/>
              <a:gd name="T19" fmla="*/ 2147483646 h 77"/>
              <a:gd name="T20" fmla="*/ 2147483646 w 112"/>
              <a:gd name="T21" fmla="*/ 2147483646 h 77"/>
              <a:gd name="T22" fmla="*/ 2147483646 w 112"/>
              <a:gd name="T23" fmla="*/ 2147483646 h 77"/>
              <a:gd name="T24" fmla="*/ 2147483646 w 112"/>
              <a:gd name="T25" fmla="*/ 2147483646 h 77"/>
              <a:gd name="T26" fmla="*/ 2147483646 w 112"/>
              <a:gd name="T27" fmla="*/ 2147483646 h 77"/>
              <a:gd name="T28" fmla="*/ 2147483646 w 112"/>
              <a:gd name="T29" fmla="*/ 2147483646 h 77"/>
              <a:gd name="T30" fmla="*/ 2147483646 w 112"/>
              <a:gd name="T31" fmla="*/ 2147483646 h 77"/>
              <a:gd name="T32" fmla="*/ 2147483646 w 112"/>
              <a:gd name="T33" fmla="*/ 2147483646 h 77"/>
              <a:gd name="T34" fmla="*/ 2147483646 w 112"/>
              <a:gd name="T35" fmla="*/ 2147483646 h 77"/>
              <a:gd name="T36" fmla="*/ 2147483646 w 112"/>
              <a:gd name="T37" fmla="*/ 2147483646 h 77"/>
              <a:gd name="T38" fmla="*/ 2147483646 w 112"/>
              <a:gd name="T39" fmla="*/ 2147483646 h 77"/>
              <a:gd name="T40" fmla="*/ 2147483646 w 112"/>
              <a:gd name="T41" fmla="*/ 2147483646 h 77"/>
              <a:gd name="T42" fmla="*/ 2147483646 w 112"/>
              <a:gd name="T43" fmla="*/ 2147483646 h 77"/>
              <a:gd name="T44" fmla="*/ 2147483646 w 112"/>
              <a:gd name="T45" fmla="*/ 2147483646 h 77"/>
              <a:gd name="T46" fmla="*/ 2147483646 w 112"/>
              <a:gd name="T47" fmla="*/ 2147483646 h 77"/>
              <a:gd name="T48" fmla="*/ 2147483646 w 112"/>
              <a:gd name="T49" fmla="*/ 2147483646 h 77"/>
              <a:gd name="T50" fmla="*/ 2147483646 w 112"/>
              <a:gd name="T51" fmla="*/ 2147483646 h 77"/>
              <a:gd name="T52" fmla="*/ 2147483646 w 112"/>
              <a:gd name="T53" fmla="*/ 2147483646 h 77"/>
              <a:gd name="T54" fmla="*/ 2147483646 w 112"/>
              <a:gd name="T55" fmla="*/ 2147483646 h 77"/>
              <a:gd name="T56" fmla="*/ 2147483646 w 112"/>
              <a:gd name="T57" fmla="*/ 2147483646 h 77"/>
              <a:gd name="T58" fmla="*/ 2147483646 w 112"/>
              <a:gd name="T59" fmla="*/ 2147483646 h 77"/>
              <a:gd name="T60" fmla="*/ 2147483646 w 112"/>
              <a:gd name="T61" fmla="*/ 2147483646 h 77"/>
              <a:gd name="T62" fmla="*/ 2147483646 w 112"/>
              <a:gd name="T63" fmla="*/ 2147483646 h 77"/>
              <a:gd name="T64" fmla="*/ 2147483646 w 112"/>
              <a:gd name="T65" fmla="*/ 2147483646 h 77"/>
              <a:gd name="T66" fmla="*/ 2147483646 w 112"/>
              <a:gd name="T67" fmla="*/ 2147483646 h 77"/>
              <a:gd name="T68" fmla="*/ 2147483646 w 112"/>
              <a:gd name="T69" fmla="*/ 2147483646 h 77"/>
              <a:gd name="T70" fmla="*/ 2147483646 w 112"/>
              <a:gd name="T71" fmla="*/ 2147483646 h 77"/>
              <a:gd name="T72" fmla="*/ 2147483646 w 112"/>
              <a:gd name="T73" fmla="*/ 2147483646 h 77"/>
              <a:gd name="T74" fmla="*/ 2147483646 w 112"/>
              <a:gd name="T75" fmla="*/ 2147483646 h 77"/>
              <a:gd name="T76" fmla="*/ 2147483646 w 112"/>
              <a:gd name="T77" fmla="*/ 2147483646 h 77"/>
              <a:gd name="T78" fmla="*/ 2147483646 w 112"/>
              <a:gd name="T79" fmla="*/ 2147483646 h 77"/>
              <a:gd name="T80" fmla="*/ 2147483646 w 112"/>
              <a:gd name="T81" fmla="*/ 2147483646 h 77"/>
              <a:gd name="T82" fmla="*/ 2147483646 w 112"/>
              <a:gd name="T83" fmla="*/ 2147483646 h 77"/>
              <a:gd name="T84" fmla="*/ 2147483646 w 112"/>
              <a:gd name="T85" fmla="*/ 2147483646 h 77"/>
              <a:gd name="T86" fmla="*/ 2147483646 w 112"/>
              <a:gd name="T87" fmla="*/ 2147483646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sp>
        <p:nvSpPr>
          <p:cNvPr id="36" name="椭圆 35"/>
          <p:cNvSpPr/>
          <p:nvPr/>
        </p:nvSpPr>
        <p:spPr>
          <a:xfrm>
            <a:off x="4996314" y="1076363"/>
            <a:ext cx="2240761" cy="2240761"/>
          </a:xfrm>
          <a:prstGeom prst="ellipse">
            <a:avLst/>
          </a:prstGeom>
          <a:noFill/>
          <a:ln w="31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7" name="直接连接符 36"/>
          <p:cNvCxnSpPr/>
          <p:nvPr/>
        </p:nvCxnSpPr>
        <p:spPr>
          <a:xfrm>
            <a:off x="4808413" y="4293096"/>
            <a:ext cx="2477306" cy="0"/>
          </a:xfrm>
          <a:prstGeom prst="line">
            <a:avLst/>
          </a:prstGeom>
          <a:ln>
            <a:solidFill>
              <a:srgbClr val="2C363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4" grpId="0"/>
      <p:bldP spid="35" grpId="0" bldLvl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政策优势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POLICI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îślïḑé"/>
          <p:cNvSpPr txBox="1"/>
          <p:nvPr>
            <p:custDataLst>
              <p:tags r:id="rId1"/>
            </p:custDataLst>
          </p:nvPr>
        </p:nvSpPr>
        <p:spPr>
          <a:xfrm>
            <a:off x="3032760" y="1149350"/>
            <a:ext cx="1856740" cy="52197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p>
            <a:r>
              <a:rPr lang="zh-CN" altLang="en-US" sz="28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CN" altLang="en-US" sz="2800" b="1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区外</a:t>
            </a:r>
            <a:endParaRPr lang="zh-CN" altLang="en-US" sz="2800" b="1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îšḷíḓe"/>
          <p:cNvSpPr txBox="1"/>
          <p:nvPr>
            <p:custDataLst>
              <p:tags r:id="rId2"/>
            </p:custDataLst>
          </p:nvPr>
        </p:nvSpPr>
        <p:spPr>
          <a:xfrm>
            <a:off x="7164070" y="1149350"/>
            <a:ext cx="1814195" cy="52197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p>
            <a:r>
              <a:rPr lang="zh-CN" altLang="en-US" sz="28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CN" altLang="en-US" sz="2800" b="1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区内</a:t>
            </a:r>
            <a:endParaRPr lang="zh-CN" altLang="en-US" sz="2800" b="1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 rot="0">
            <a:off x="1856740" y="1969770"/>
            <a:ext cx="8575040" cy="2514600"/>
            <a:chOff x="6042591" y="2780196"/>
            <a:chExt cx="6240363" cy="2514601"/>
          </a:xfrm>
        </p:grpSpPr>
        <p:grpSp>
          <p:nvGrpSpPr>
            <p:cNvPr id="25" name="组合 24"/>
            <p:cNvGrpSpPr/>
            <p:nvPr/>
          </p:nvGrpSpPr>
          <p:grpSpPr>
            <a:xfrm>
              <a:off x="6042591" y="2780196"/>
              <a:ext cx="6240363" cy="2514601"/>
              <a:chOff x="566597" y="1497372"/>
              <a:chExt cx="11252710" cy="2004538"/>
            </a:xfrm>
          </p:grpSpPr>
          <p:sp>
            <p:nvSpPr>
              <p:cNvPr id="26" name="ïSlidê"/>
              <p:cNvSpPr/>
              <p:nvPr>
                <p:custDataLst>
                  <p:tags r:id="rId3"/>
                </p:custDataLst>
              </p:nvPr>
            </p:nvSpPr>
            <p:spPr>
              <a:xfrm>
                <a:off x="566597" y="2749196"/>
                <a:ext cx="6964614" cy="739047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marL="179705"/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ísḷíḓe"/>
              <p:cNvSpPr/>
              <p:nvPr>
                <p:custDataLst>
                  <p:tags r:id="rId4"/>
                </p:custDataLst>
              </p:nvPr>
            </p:nvSpPr>
            <p:spPr>
              <a:xfrm>
                <a:off x="5475781" y="2762863"/>
                <a:ext cx="6342381" cy="739047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en-US" altLang="zh-CN" sz="2000" b="1" dirty="0"/>
              </a:p>
            </p:txBody>
          </p:sp>
          <p:sp>
            <p:nvSpPr>
              <p:cNvPr id="28" name="iŝḻîḑè"/>
              <p:cNvSpPr/>
              <p:nvPr>
                <p:custDataLst>
                  <p:tags r:id="rId5"/>
                </p:custDataLst>
              </p:nvPr>
            </p:nvSpPr>
            <p:spPr>
              <a:xfrm>
                <a:off x="566597" y="1497372"/>
                <a:ext cx="6964614" cy="739047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marL="179705"/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íś1ïďé"/>
              <p:cNvSpPr/>
              <p:nvPr>
                <p:custDataLst>
                  <p:tags r:id="rId6"/>
                </p:custDataLst>
              </p:nvPr>
            </p:nvSpPr>
            <p:spPr>
              <a:xfrm>
                <a:off x="5475781" y="1501422"/>
                <a:ext cx="6343526" cy="739047"/>
              </a:xfrm>
              <a:prstGeom prst="roundRect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en-US" altLang="zh-CN" sz="2000" b="1" dirty="0"/>
              </a:p>
            </p:txBody>
          </p:sp>
        </p:grpSp>
        <p:sp>
          <p:nvSpPr>
            <p:cNvPr id="30" name="文本框 29"/>
            <p:cNvSpPr txBox="1"/>
            <p:nvPr>
              <p:custDataLst>
                <p:tags r:id="rId7"/>
              </p:custDataLst>
            </p:nvPr>
          </p:nvSpPr>
          <p:spPr>
            <a:xfrm>
              <a:off x="9174081" y="3011336"/>
              <a:ext cx="2712085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4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</a:t>
              </a:r>
              <a:r>
                <a:rPr lang="zh-CN" altLang="en-US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外籍员工</a:t>
              </a:r>
              <a:r>
                <a:rPr lang="zh-CN" altLang="en-US" sz="24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配额限制</a:t>
              </a:r>
              <a:endParaRPr lang="zh-CN" altLang="en-US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文本框 30"/>
            <p:cNvSpPr txBox="1"/>
            <p:nvPr>
              <p:custDataLst>
                <p:tags r:id="rId8"/>
              </p:custDataLst>
            </p:nvPr>
          </p:nvSpPr>
          <p:spPr>
            <a:xfrm>
              <a:off x="6299063" y="2805596"/>
              <a:ext cx="2387272" cy="829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聘用外籍员工需要申请配额</a:t>
              </a:r>
              <a:endPara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文本框 31"/>
            <p:cNvSpPr txBox="1"/>
            <p:nvPr>
              <p:custDataLst>
                <p:tags r:id="rId9"/>
              </p:custDataLst>
            </p:nvPr>
          </p:nvSpPr>
          <p:spPr>
            <a:xfrm>
              <a:off x="8955554" y="4376587"/>
              <a:ext cx="3124835" cy="829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400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无工会</a:t>
              </a:r>
              <a:endPara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algn="ctr"/>
              <a:r>
                <a:rPr lang="zh-CN" altLang="en-US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禁止罢工</a:t>
              </a:r>
              <a:r>
                <a:rPr lang="en-US" altLang="zh-CN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,</a:t>
              </a:r>
              <a:r>
                <a:rPr lang="zh-CN" altLang="en-US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保障生产效率</a:t>
              </a:r>
              <a:endPara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33" name="文本框 32"/>
            <p:cNvSpPr txBox="1"/>
            <p:nvPr>
              <p:custDataLst>
                <p:tags r:id="rId10"/>
              </p:custDataLst>
            </p:nvPr>
          </p:nvSpPr>
          <p:spPr>
            <a:xfrm>
              <a:off x="6478362" y="4385477"/>
              <a:ext cx="2060096" cy="829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能罢工，生产效率得不到保障</a:t>
              </a:r>
              <a:endPara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ïSlidê"/>
          <p:cNvSpPr/>
          <p:nvPr/>
        </p:nvSpPr>
        <p:spPr>
          <a:xfrm>
            <a:off x="1856740" y="5046345"/>
            <a:ext cx="6255385" cy="927100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179705"/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7" name="ísḷíḓe"/>
          <p:cNvSpPr/>
          <p:nvPr/>
        </p:nvSpPr>
        <p:spPr>
          <a:xfrm>
            <a:off x="5665470" y="5063490"/>
            <a:ext cx="4765675" cy="927100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 altLang="zh-CN" sz="2000" b="1" dirty="0"/>
          </a:p>
        </p:txBody>
      </p:sp>
      <p:sp>
        <p:nvSpPr>
          <p:cNvPr id="48" name="文本框 47"/>
          <p:cNvSpPr txBox="1"/>
          <p:nvPr/>
        </p:nvSpPr>
        <p:spPr>
          <a:xfrm>
            <a:off x="6026150" y="5119370"/>
            <a:ext cx="40195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自贸区内设有服务公司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无需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全英文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工作环境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2689225" y="5297805"/>
            <a:ext cx="23272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英文工作</a:t>
            </a: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境</a:t>
            </a:r>
            <a:endParaRPr lang="zh-CN" alt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/>
      <p:bldP spid="4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圆角矩形 5"/>
          <p:cNvSpPr/>
          <p:nvPr/>
        </p:nvSpPr>
        <p:spPr>
          <a:xfrm rot="1680000">
            <a:off x="9222105" y="3294380"/>
            <a:ext cx="76200" cy="139065"/>
          </a:xfrm>
          <a:prstGeom prst="roundRect">
            <a:avLst>
              <a:gd name="adj" fmla="val 50000"/>
            </a:avLst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3" name="Picture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398905" y="898525"/>
            <a:ext cx="9483090" cy="5096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辐射市场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MARKET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2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53656" y="2597101"/>
            <a:ext cx="233382" cy="358066"/>
          </a:xfrm>
          <a:prstGeom prst="rect">
            <a:avLst/>
          </a:prstGeom>
        </p:spPr>
      </p:pic>
      <p:pic>
        <p:nvPicPr>
          <p:cNvPr id="13" name="Picture 28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65411" y="3503881"/>
            <a:ext cx="233382" cy="358066"/>
          </a:xfrm>
          <a:prstGeom prst="rect">
            <a:avLst/>
          </a:prstGeom>
        </p:spPr>
      </p:pic>
      <p:pic>
        <p:nvPicPr>
          <p:cNvPr id="14" name="Picture 2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02826" y="3146376"/>
            <a:ext cx="233382" cy="358066"/>
          </a:xfrm>
          <a:prstGeom prst="rect">
            <a:avLst/>
          </a:prstGeom>
        </p:spPr>
      </p:pic>
      <p:cxnSp>
        <p:nvCxnSpPr>
          <p:cNvPr id="20" name="曲线连接符 19"/>
          <p:cNvCxnSpPr>
            <a:endCxn id="14" idx="0"/>
          </p:cNvCxnSpPr>
          <p:nvPr/>
        </p:nvCxnSpPr>
        <p:spPr>
          <a:xfrm rot="16200000" flipV="1">
            <a:off x="5774055" y="3192145"/>
            <a:ext cx="746125" cy="654685"/>
          </a:xfrm>
          <a:prstGeom prst="curvedConnector3">
            <a:avLst>
              <a:gd name="adj1" fmla="val 131915"/>
            </a:avLst>
          </a:prstGeom>
          <a:ln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曲线连接符 27"/>
          <p:cNvCxnSpPr/>
          <p:nvPr/>
        </p:nvCxnSpPr>
        <p:spPr>
          <a:xfrm rot="10800000">
            <a:off x="3686810" y="2823210"/>
            <a:ext cx="2720975" cy="1045845"/>
          </a:xfrm>
          <a:prstGeom prst="curvedConnector3">
            <a:avLst>
              <a:gd name="adj1" fmla="val 49988"/>
            </a:avLst>
          </a:prstGeom>
          <a:ln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曲线连接符 28"/>
          <p:cNvCxnSpPr>
            <a:endCxn id="13" idx="0"/>
          </p:cNvCxnSpPr>
          <p:nvPr/>
        </p:nvCxnSpPr>
        <p:spPr>
          <a:xfrm rot="16200000" flipV="1">
            <a:off x="6139815" y="3546475"/>
            <a:ext cx="358140" cy="273685"/>
          </a:xfrm>
          <a:prstGeom prst="curvedConnector3">
            <a:avLst>
              <a:gd name="adj1" fmla="val 166578"/>
            </a:avLst>
          </a:prstGeom>
          <a:ln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8" name="Picture 28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646686" y="2788236"/>
            <a:ext cx="233382" cy="358066"/>
          </a:xfrm>
          <a:prstGeom prst="rect">
            <a:avLst/>
          </a:prstGeom>
        </p:spPr>
      </p:pic>
      <p:cxnSp>
        <p:nvCxnSpPr>
          <p:cNvPr id="30" name="曲线连接符 29"/>
          <p:cNvCxnSpPr>
            <a:endCxn id="38" idx="1"/>
          </p:cNvCxnSpPr>
          <p:nvPr/>
        </p:nvCxnSpPr>
        <p:spPr>
          <a:xfrm flipV="1">
            <a:off x="6529070" y="2967355"/>
            <a:ext cx="2117725" cy="894715"/>
          </a:xfrm>
          <a:prstGeom prst="curvedConnector3">
            <a:avLst>
              <a:gd name="adj1" fmla="val 50015"/>
            </a:avLst>
          </a:prstGeom>
          <a:ln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7" name="五角星 46"/>
          <p:cNvSpPr/>
          <p:nvPr>
            <p:custDataLst>
              <p:tags r:id="rId8"/>
            </p:custDataLst>
          </p:nvPr>
        </p:nvSpPr>
        <p:spPr>
          <a:xfrm>
            <a:off x="6242050" y="3648710"/>
            <a:ext cx="385445" cy="372745"/>
          </a:xfrm>
          <a:prstGeom prst="star5">
            <a:avLst>
              <a:gd name="adj" fmla="val 33199"/>
              <a:gd name="hf" fmla="val 105146"/>
              <a:gd name="vf" fmla="val 11055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gradFill>
                <a:gsLst>
                  <a:gs pos="0">
                    <a:srgbClr val="14CD68"/>
                  </a:gs>
                  <a:gs pos="100000">
                    <a:srgbClr val="0B6E38"/>
                  </a:gs>
                </a:gsLst>
                <a:lin scaled="0"/>
              </a:gradFill>
            </a:endParaRPr>
          </a:p>
        </p:txBody>
      </p:sp>
      <p:sp>
        <p:nvSpPr>
          <p:cNvPr id="31" name="TextBox 29"/>
          <p:cNvSpPr txBox="1"/>
          <p:nvPr>
            <p:custDataLst>
              <p:tags r:id="rId9"/>
            </p:custDataLst>
          </p:nvPr>
        </p:nvSpPr>
        <p:spPr>
          <a:xfrm>
            <a:off x="864235" y="5128895"/>
            <a:ext cx="3041015" cy="119888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algn="just" eaLnBrk="0" hangingPunct="0"/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西非共同体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尼日利亚原产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可自由销往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15</a:t>
            </a:r>
            <a:r>
              <a:rPr lang="zh-CN" altLang="en-US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个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西非经济共同体国家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享受关税同盟准则，无需关税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</p:txBody>
      </p:sp>
      <p:cxnSp>
        <p:nvCxnSpPr>
          <p:cNvPr id="32" name="直接连接符 31"/>
          <p:cNvCxnSpPr/>
          <p:nvPr>
            <p:custDataLst>
              <p:tags r:id="rId10"/>
            </p:custDataLst>
          </p:nvPr>
        </p:nvCxnSpPr>
        <p:spPr>
          <a:xfrm flipV="1">
            <a:off x="864235" y="5101590"/>
            <a:ext cx="2938145" cy="4445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>
            <p:custDataLst>
              <p:tags r:id="rId11"/>
            </p:custDataLst>
          </p:nvPr>
        </p:nvCxnSpPr>
        <p:spPr>
          <a:xfrm flipH="1">
            <a:off x="847725" y="5101590"/>
            <a:ext cx="8255" cy="1117600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0"/>
          <p:cNvSpPr txBox="1"/>
          <p:nvPr>
            <p:custDataLst>
              <p:tags r:id="rId12"/>
            </p:custDataLst>
          </p:nvPr>
        </p:nvSpPr>
        <p:spPr>
          <a:xfrm>
            <a:off x="5860415" y="5333365"/>
            <a:ext cx="3265170" cy="119888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algn="just" fontAlgn="auto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当地市场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产品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增值达到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 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35%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即可视为尼日利亚原产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可</a:t>
            </a:r>
            <a:r>
              <a:rPr lang="en-US" altLang="zh-CN" b="1" dirty="0">
                <a:solidFill>
                  <a:srgbClr val="A5002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100%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销往本地市场，且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只需按照原材料进口税率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税。</a:t>
            </a:r>
            <a:endParaRPr lang="zh-CN" altLang="en-US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</p:txBody>
      </p:sp>
      <p:cxnSp>
        <p:nvCxnSpPr>
          <p:cNvPr id="35" name="直接连接符 34"/>
          <p:cNvCxnSpPr/>
          <p:nvPr>
            <p:custDataLst>
              <p:tags r:id="rId13"/>
            </p:custDataLst>
          </p:nvPr>
        </p:nvCxnSpPr>
        <p:spPr>
          <a:xfrm>
            <a:off x="5894070" y="5302250"/>
            <a:ext cx="3134995" cy="9525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>
            <p:custDataLst>
              <p:tags r:id="rId14"/>
            </p:custDataLst>
          </p:nvPr>
        </p:nvCxnSpPr>
        <p:spPr>
          <a:xfrm>
            <a:off x="5894070" y="5299710"/>
            <a:ext cx="8255" cy="1092200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27"/>
          <p:cNvSpPr txBox="1"/>
          <p:nvPr>
            <p:custDataLst>
              <p:tags r:id="rId15"/>
            </p:custDataLst>
          </p:nvPr>
        </p:nvSpPr>
        <p:spPr>
          <a:xfrm>
            <a:off x="335915" y="3648710"/>
            <a:ext cx="3185160" cy="92202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algn="just" eaLnBrk="0" hangingPunct="0"/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欧美市场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尼日利亚原产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可销往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欧美市场，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不受配额限制且享受最优惠关税待遇。</a:t>
            </a:r>
            <a:endParaRPr lang="zh-CN" altLang="en-US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</p:txBody>
      </p:sp>
      <p:cxnSp>
        <p:nvCxnSpPr>
          <p:cNvPr id="39" name="直接连接符 38"/>
          <p:cNvCxnSpPr/>
          <p:nvPr>
            <p:custDataLst>
              <p:tags r:id="rId16"/>
            </p:custDataLst>
          </p:nvPr>
        </p:nvCxnSpPr>
        <p:spPr>
          <a:xfrm>
            <a:off x="408940" y="3629660"/>
            <a:ext cx="3001010" cy="0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/>
          <p:nvPr>
            <p:custDataLst>
              <p:tags r:id="rId17"/>
            </p:custDataLst>
          </p:nvPr>
        </p:nvCxnSpPr>
        <p:spPr>
          <a:xfrm>
            <a:off x="367665" y="3629660"/>
            <a:ext cx="8255" cy="791845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27"/>
          <p:cNvSpPr txBox="1"/>
          <p:nvPr>
            <p:custDataLst>
              <p:tags r:id="rId18"/>
            </p:custDataLst>
          </p:nvPr>
        </p:nvSpPr>
        <p:spPr>
          <a:xfrm>
            <a:off x="9203055" y="2898140"/>
            <a:ext cx="2806065" cy="119888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algn="just" eaLnBrk="0" hangingPunct="0"/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中国市场：</a:t>
            </a: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非洲当地原料或农产品在合作区内加工出口销售回国内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促进中非双边贸易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互补性。</a:t>
            </a:r>
            <a:endParaRPr lang="zh-CN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</p:txBody>
      </p:sp>
      <p:cxnSp>
        <p:nvCxnSpPr>
          <p:cNvPr id="51" name="直接连接符 50"/>
          <p:cNvCxnSpPr/>
          <p:nvPr>
            <p:custDataLst>
              <p:tags r:id="rId19"/>
            </p:custDataLst>
          </p:nvPr>
        </p:nvCxnSpPr>
        <p:spPr>
          <a:xfrm>
            <a:off x="9211310" y="2898140"/>
            <a:ext cx="2730500" cy="8255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>
            <p:custDataLst>
              <p:tags r:id="rId20"/>
            </p:custDataLst>
          </p:nvPr>
        </p:nvCxnSpPr>
        <p:spPr>
          <a:xfrm>
            <a:off x="9203055" y="2927350"/>
            <a:ext cx="12065" cy="1026795"/>
          </a:xfrm>
          <a:prstGeom prst="line">
            <a:avLst/>
          </a:prstGeom>
          <a:ln w="1587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圆角矩形 6"/>
          <p:cNvSpPr/>
          <p:nvPr/>
        </p:nvSpPr>
        <p:spPr>
          <a:xfrm>
            <a:off x="8865235" y="3530600"/>
            <a:ext cx="79375" cy="76200"/>
          </a:xfrm>
          <a:prstGeom prst="roundRect">
            <a:avLst>
              <a:gd name="adj" fmla="val 42016"/>
            </a:avLst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政策优势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POLICI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图片 2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2037715" y="848360"/>
            <a:ext cx="4203700" cy="259588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037715" y="3554730"/>
            <a:ext cx="4203700" cy="2674620"/>
          </a:xfrm>
          <a:prstGeom prst="rect">
            <a:avLst/>
          </a:prstGeom>
        </p:spPr>
      </p:pic>
      <p:sp>
        <p:nvSpPr>
          <p:cNvPr id="40" name="TextBox 7"/>
          <p:cNvSpPr txBox="1"/>
          <p:nvPr/>
        </p:nvSpPr>
        <p:spPr>
          <a:xfrm>
            <a:off x="6241415" y="848360"/>
            <a:ext cx="4608195" cy="25958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noAutofit/>
          </a:bodyPr>
          <a:p>
            <a:pPr algn="just" eaLnBrk="0" hangingPunct="0"/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ctr" eaLnBrk="0" hangingPunct="0">
              <a:buClrTx/>
              <a:buSzTx/>
              <a:buFontTx/>
            </a:pPr>
            <a:endParaRPr lang="zh-CN" sz="2000" dirty="0">
              <a:solidFill>
                <a:schemeClr val="accent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 Light" panose="020B0502040204020203" charset="-122"/>
            </a:endParaRPr>
          </a:p>
          <a:p>
            <a:pPr algn="ctr" eaLnBrk="0" hangingPunct="0">
              <a:buClrTx/>
              <a:buSzTx/>
              <a:buFontTx/>
            </a:pP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 Light" panose="020B0502040204020203" charset="-122"/>
              </a:rPr>
              <a:t>合作区公司可独资、合资或</a:t>
            </a:r>
            <a:r>
              <a:rPr lang="zh-CN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 Light" panose="020B0502040204020203" charset="-122"/>
              </a:rPr>
              <a:t>100%外资</a:t>
            </a:r>
            <a:endParaRPr 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 Light" panose="020B0502040204020203" charset="-122"/>
            </a:endParaRPr>
          </a:p>
          <a:p>
            <a:pPr algn="just" eaLnBrk="0" hangingPunct="0"/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endParaRPr lang="en-US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extBox 3"/>
          <p:cNvSpPr txBox="1"/>
          <p:nvPr/>
        </p:nvSpPr>
        <p:spPr>
          <a:xfrm>
            <a:off x="6241415" y="3554095"/>
            <a:ext cx="4608195" cy="267589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noAutofit/>
          </a:bodyPr>
          <a:p>
            <a:pPr algn="just" eaLnBrk="0" hangingPunct="0"/>
            <a:endParaRPr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0" hangingPunct="0"/>
            <a:endParaRPr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0" hangingPunct="0"/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企业可免税进口车辆自用，</a:t>
            </a:r>
            <a:endParaRPr 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algn="ctr" eaLnBrk="0" hangingPunct="0"/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且车辆可享受尼日利亚政府车牌待遇</a:t>
            </a:r>
            <a:endParaRPr 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2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园区服务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SERVIC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文本框 21"/>
          <p:cNvSpPr txBox="1"/>
          <p:nvPr/>
        </p:nvSpPr>
        <p:spPr>
          <a:xfrm>
            <a:off x="6818545" y="815682"/>
            <a:ext cx="398978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站式服务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TextBox 2"/>
          <p:cNvSpPr txBox="1"/>
          <p:nvPr/>
        </p:nvSpPr>
        <p:spPr>
          <a:xfrm>
            <a:off x="6374765" y="1701165"/>
            <a:ext cx="4951095" cy="479996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just" eaLnBrk="0" hangingPunct="0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合作区内提供一站式服务，管理公司与园区职能部门包括尼日利亚派驻合作区管理局、海关、警察、移民局、国安局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合署办公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。所有相关手续园区内解决。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为货物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进口清关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和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出口报税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提供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绿色通道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，方便快捷。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代办企业注册、证照变更、环评、员工绿卡等手续，极大限度地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节省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企业入园投资的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时间成本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。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eaLnBrk="0" hangingPunct="0"/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2277169" y="2473887"/>
            <a:ext cx="2355231" cy="2016224"/>
            <a:chOff x="4080498" y="3429000"/>
            <a:chExt cx="2355231" cy="2016224"/>
          </a:xfrm>
        </p:grpSpPr>
        <p:pic>
          <p:nvPicPr>
            <p:cNvPr id="71" name="图片 70" descr="82906048213684384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4650695" y="3747465"/>
              <a:ext cx="1488440" cy="993140"/>
            </a:xfrm>
            <a:prstGeom prst="rect">
              <a:avLst/>
            </a:prstGeom>
          </p:spPr>
        </p:pic>
        <p:cxnSp>
          <p:nvCxnSpPr>
            <p:cNvPr id="77" name="直接连接符 76"/>
            <p:cNvCxnSpPr/>
            <p:nvPr/>
          </p:nvCxnSpPr>
          <p:spPr>
            <a:xfrm>
              <a:off x="4080498" y="4149080"/>
              <a:ext cx="863508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dash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直接连接符 77"/>
            <p:cNvCxnSpPr/>
            <p:nvPr/>
          </p:nvCxnSpPr>
          <p:spPr>
            <a:xfrm>
              <a:off x="5787656" y="4149080"/>
              <a:ext cx="648073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dash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直接连接符 78"/>
            <p:cNvCxnSpPr>
              <a:stCxn id="71" idx="0"/>
            </p:cNvCxnSpPr>
            <p:nvPr/>
          </p:nvCxnSpPr>
          <p:spPr>
            <a:xfrm flipV="1">
              <a:off x="5394915" y="3429000"/>
              <a:ext cx="0" cy="318465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dash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直接连接符 83"/>
            <p:cNvCxnSpPr/>
            <p:nvPr/>
          </p:nvCxnSpPr>
          <p:spPr>
            <a:xfrm flipV="1">
              <a:off x="4650986" y="4740606"/>
              <a:ext cx="393571" cy="704618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dash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直接连接符 84"/>
            <p:cNvCxnSpPr/>
            <p:nvPr/>
          </p:nvCxnSpPr>
          <p:spPr>
            <a:xfrm flipH="1" flipV="1">
              <a:off x="5669850" y="4600912"/>
              <a:ext cx="524510" cy="78232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dash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4670" y="1299845"/>
            <a:ext cx="986790" cy="107124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046605" y="4581525"/>
            <a:ext cx="892175" cy="10287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33" name="图片 3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4874895" y="2708910"/>
            <a:ext cx="899795" cy="99758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pic>
        <p:nvPicPr>
          <p:cNvPr id="34" name="图片 3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805" y="4509135"/>
            <a:ext cx="1264285" cy="1052830"/>
          </a:xfrm>
          <a:prstGeom prst="rect">
            <a:avLst/>
          </a:prstGeom>
        </p:spPr>
      </p:pic>
      <p:pic>
        <p:nvPicPr>
          <p:cNvPr id="35" name="图片 37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46200" y="2599055"/>
            <a:ext cx="895985" cy="1078230"/>
          </a:xfrm>
          <a:prstGeom prst="rect">
            <a:avLst/>
          </a:prstGeom>
          <a:noFill/>
          <a:ln w="12700">
            <a:noFill/>
          </a:ln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园区服务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SERVIC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文本框 12"/>
          <p:cNvSpPr txBox="1"/>
          <p:nvPr/>
        </p:nvSpPr>
        <p:spPr>
          <a:xfrm>
            <a:off x="1387475" y="1303020"/>
            <a:ext cx="50336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合作区内完成进口清关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出口报税</a:t>
            </a:r>
            <a:endParaRPr lang="zh-CN" altLang="en-US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相关流程</a:t>
            </a:r>
            <a:endParaRPr lang="zh-CN" altLang="en-US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387474" y="2652354"/>
            <a:ext cx="2304044" cy="3068283"/>
          </a:xfrm>
          <a:prstGeom prst="rect">
            <a:avLst/>
          </a:prstGeom>
          <a:solidFill>
            <a:srgbClr val="C00000"/>
          </a:solidFill>
          <a:ln w="12401" cap="flat">
            <a:noFill/>
            <a:prstDash val="solid"/>
            <a:miter/>
          </a:ln>
        </p:spPr>
        <p:txBody>
          <a:bodyPr rtlCol="0" anchor="ctr"/>
          <a:p>
            <a:pPr algn="l"/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387474" y="2858735"/>
            <a:ext cx="2304044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A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提交进口清关文件 </a:t>
            </a:r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B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合作区内清关公司清关</a:t>
            </a:r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C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货物从港口运往合作区内再进行开柜检查</a:t>
            </a:r>
            <a:r>
              <a:rPr lang="zh-CN" altLang="en-US" b="1" dirty="0">
                <a:solidFill>
                  <a:srgbClr val="FFFF00"/>
                </a:solidFill>
                <a:latin typeface="Calibri Light" panose="020F0302020204030204" charset="0"/>
                <a:ea typeface="微软雅黑 Light" panose="020B0502040204020203" charset="-122"/>
              </a:rPr>
              <a:t>（无需经港口查验）</a:t>
            </a:r>
            <a:endParaRPr lang="zh-CN" altLang="en-US" b="1" dirty="0">
              <a:solidFill>
                <a:srgbClr val="FFFF00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endParaRPr lang="zh-CN" altLang="en-US" b="1" dirty="0">
              <a:solidFill>
                <a:srgbClr val="FFFF00"/>
              </a:solidFill>
              <a:latin typeface="Calibri Light" panose="020F0302020204030204" charset="0"/>
              <a:ea typeface="微软雅黑 Light" panose="020B0502040204020203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062399" y="2651934"/>
            <a:ext cx="2304044" cy="3068283"/>
          </a:xfrm>
          <a:prstGeom prst="rect">
            <a:avLst/>
          </a:prstGeom>
          <a:solidFill>
            <a:srgbClr val="C00000"/>
          </a:solidFill>
          <a:ln w="12401" cap="flat">
            <a:noFill/>
            <a:prstDash val="solid"/>
            <a:miter/>
          </a:ln>
        </p:spPr>
        <p:txBody>
          <a:bodyPr rtlCol="0" anchor="ctr"/>
          <a:p>
            <a:pPr algn="l"/>
            <a:endParaRPr lang="zh-CN" altLang="en-US" dirty="0"/>
          </a:p>
        </p:txBody>
      </p:sp>
      <p:sp>
        <p:nvSpPr>
          <p:cNvPr id="18" name="文本框 17"/>
          <p:cNvSpPr txBox="1"/>
          <p:nvPr/>
        </p:nvSpPr>
        <p:spPr>
          <a:xfrm>
            <a:off x="4062399" y="2858315"/>
            <a:ext cx="2304044" cy="24453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A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提交出口报税文件</a:t>
            </a:r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B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合作区内清关公司清关</a:t>
            </a:r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C.</a:t>
            </a:r>
            <a:r>
              <a:rPr lang="zh-CN" altLang="en-US" b="1" dirty="0">
                <a:solidFill>
                  <a:schemeClr val="bg1"/>
                </a:solidFill>
                <a:latin typeface="Calibri Light" panose="020F0302020204030204" charset="0"/>
                <a:ea typeface="微软雅黑 Light" panose="020B0502040204020203" charset="-122"/>
              </a:rPr>
              <a:t>企业按合作区运营规程出货</a:t>
            </a:r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  <a:p>
            <a:endParaRPr lang="zh-CN" altLang="en-US" b="1" dirty="0">
              <a:solidFill>
                <a:schemeClr val="bg1"/>
              </a:solidFill>
              <a:latin typeface="Calibri Light" panose="020F0302020204030204" charset="0"/>
              <a:ea typeface="微软雅黑 Light" panose="020B0502040204020203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140" y="501015"/>
            <a:ext cx="5483860" cy="6356985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 animBg="1"/>
      <p:bldP spid="15" grpId="0"/>
      <p:bldP spid="16" grpId="0" animBg="1"/>
      <p:bldP spid="1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38350" y="3444875"/>
            <a:ext cx="4234180" cy="2765425"/>
          </a:xfrm>
          <a:prstGeom prst="rect">
            <a:avLst/>
          </a:prstGeom>
        </p:spPr>
      </p:pic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园区服务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SERVICES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4"/>
          <p:cNvGrpSpPr/>
          <p:nvPr/>
        </p:nvGrpSpPr>
        <p:grpSpPr>
          <a:xfrm>
            <a:off x="2038350" y="834390"/>
            <a:ext cx="4203065" cy="2519680"/>
            <a:chOff x="1700213" y="1454150"/>
            <a:chExt cx="8077200" cy="5292725"/>
          </a:xfrm>
        </p:grpSpPr>
        <p:pic>
          <p:nvPicPr>
            <p:cNvPr id="12" name="图片 16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3"/>
            <a:stretch>
              <a:fillRect/>
            </a:stretch>
          </p:blipFill>
          <p:spPr>
            <a:xfrm>
              <a:off x="6167438" y="1454150"/>
              <a:ext cx="3609975" cy="2352675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13" name="图片 14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5"/>
            <a:stretch>
              <a:fillRect/>
            </a:stretch>
          </p:blipFill>
          <p:spPr>
            <a:xfrm>
              <a:off x="1701800" y="1454150"/>
              <a:ext cx="3578225" cy="2332038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14" name="图片 17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/>
            <a:srcRect/>
            <a:stretch>
              <a:fillRect/>
            </a:stretch>
          </p:blipFill>
          <p:spPr>
            <a:xfrm>
              <a:off x="1700213" y="4400550"/>
              <a:ext cx="3579812" cy="2346325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" name="右箭头 19"/>
            <p:cNvSpPr/>
            <p:nvPr>
              <p:custDataLst>
                <p:tags r:id="rId8"/>
              </p:custDataLst>
            </p:nvPr>
          </p:nvSpPr>
          <p:spPr>
            <a:xfrm>
              <a:off x="5280425" y="2431069"/>
              <a:ext cx="886363" cy="4558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" name="下箭头 21"/>
            <p:cNvSpPr/>
            <p:nvPr>
              <p:custDataLst>
                <p:tags r:id="rId9"/>
              </p:custDataLst>
            </p:nvPr>
          </p:nvSpPr>
          <p:spPr>
            <a:xfrm>
              <a:off x="7809167" y="3807436"/>
              <a:ext cx="395386" cy="594836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左箭头 24"/>
            <p:cNvSpPr/>
            <p:nvPr>
              <p:custDataLst>
                <p:tags r:id="rId10"/>
              </p:custDataLst>
            </p:nvPr>
          </p:nvSpPr>
          <p:spPr>
            <a:xfrm>
              <a:off x="5280425" y="5691802"/>
              <a:ext cx="886363" cy="473264"/>
            </a:xfrm>
            <a:prstGeom prst="lef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8" name="TextBox 7"/>
          <p:cNvSpPr txBox="1"/>
          <p:nvPr/>
        </p:nvSpPr>
        <p:spPr>
          <a:xfrm>
            <a:off x="6241415" y="848360"/>
            <a:ext cx="4608195" cy="250571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noAutofit/>
          </a:bodyPr>
          <a:lstStyle/>
          <a:p>
            <a:pPr algn="just" ea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建设审批流程便利快捷，入驻企业只需提交图纸，由管理公司与园区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NEPZA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（出口加工区管理局）</a:t>
            </a: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审批通过即可开工建设。</a:t>
            </a:r>
            <a:endParaRPr 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等线" panose="02010600030101010101" pitchFamily="2" charset="-122"/>
            </a:endParaRPr>
          </a:p>
          <a:p>
            <a:pPr algn="just" eaLnBrk="0" hangingPunct="0"/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 panose="02010600030101010101" pitchFamily="2" charset="-122"/>
            </a:endParaRPr>
          </a:p>
          <a:p>
            <a:pPr algn="just" eaLnBrk="0" hangingPunct="0"/>
            <a:endParaRPr lang="en-US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3"/>
          <p:cNvSpPr txBox="1"/>
          <p:nvPr/>
        </p:nvSpPr>
        <p:spPr>
          <a:xfrm>
            <a:off x="6241415" y="3444240"/>
            <a:ext cx="4608195" cy="2785745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noAutofit/>
          </a:bodyPr>
          <a:lstStyle/>
          <a:p>
            <a:pPr algn="just" eaLnBrk="0" hangingPunct="0"/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与园区警察局构建“双重”安全保卫机制，</a:t>
            </a: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现园区内共有特警、士兵、州政府警察和安保人员</a:t>
            </a:r>
            <a:r>
              <a:rPr lang="en-US" altLang="zh-CN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3</a:t>
            </a:r>
            <a:r>
              <a:rPr lang="zh-CN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00余人</a:t>
            </a: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。安保队伍执行</a:t>
            </a:r>
            <a:r>
              <a:rPr lang="zh-CN" sz="24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24小时轮班制</a:t>
            </a:r>
            <a:r>
              <a:rPr 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等线" panose="02010600030101010101" pitchFamily="2" charset="-122"/>
              </a:rPr>
              <a:t>，负责合作区安全保卫工作，并设置特勤中队处理合作区内突发事件。</a:t>
            </a:r>
            <a:endParaRPr 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等线" panose="02010600030101010101" pitchFamily="2" charset="-122"/>
            </a:endParaRPr>
          </a:p>
        </p:txBody>
      </p:sp>
      <p:pic>
        <p:nvPicPr>
          <p:cNvPr id="20" name="图片 15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4358640" y="2134235"/>
            <a:ext cx="1824990" cy="108394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ldLvl="0" animBg="1"/>
      <p:bldP spid="18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税仓项目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"/>
          <a:srcRect l="6537" t="6556" r="11164" b="5843"/>
          <a:stretch>
            <a:fillRect/>
          </a:stretch>
        </p:blipFill>
        <p:spPr>
          <a:xfrm>
            <a:off x="9037092" y="1202158"/>
            <a:ext cx="3119745" cy="2075466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562242" y="1340236"/>
            <a:ext cx="4565932" cy="43268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400" b="0" i="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5</a:t>
            </a:r>
            <a:r>
              <a:rPr lang="zh-CN" altLang="en-US" sz="2400" b="0" i="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正式运营</a:t>
            </a:r>
            <a:endParaRPr lang="en-US" altLang="zh-CN" sz="2400" b="0" i="0" dirty="0">
              <a:solidFill>
                <a:schemeClr val="accent1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lang="zh-CN" altLang="en-US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支持企业贸易活动</a:t>
            </a: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lang="zh-CN" altLang="en-US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升进出口效率</a:t>
            </a: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奠定</a:t>
            </a:r>
            <a:r>
              <a:rPr lang="zh-CN" altLang="en-US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后续仓储、电子商务等项目基础</a:t>
            </a: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lang="zh-CN" altLang="en-US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供更全面的支持和服务</a:t>
            </a: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10"/>
              </a:spcBef>
              <a:spcAft>
                <a:spcPts val="10"/>
              </a:spcAft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lang="zh-CN" altLang="en-US" sz="20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推动尼日利亚与中国经贸交流</a:t>
            </a:r>
            <a:endParaRPr lang="en-US" altLang="zh-CN" sz="2000" b="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5587701" y="1202157"/>
            <a:ext cx="6569136" cy="4904622"/>
            <a:chOff x="5845050" y="402625"/>
            <a:chExt cx="8106910" cy="6052749"/>
          </a:xfrm>
        </p:grpSpPr>
        <p:pic>
          <p:nvPicPr>
            <p:cNvPr id="5" name="图片 4" descr="一群人站在房子前面&#10;&#10;中度可信度描述已自动生成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5050" y="402625"/>
              <a:ext cx="3900044" cy="2594575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 rotWithShape="1">
            <a:blip r:embed="rId1"/>
            <a:srcRect l="6537" t="6556" r="11164" b="5843"/>
            <a:stretch>
              <a:fillRect/>
            </a:stretch>
          </p:blipFill>
          <p:spPr>
            <a:xfrm>
              <a:off x="10101912" y="402626"/>
              <a:ext cx="3850048" cy="2561314"/>
            </a:xfrm>
            <a:prstGeom prst="rect">
              <a:avLst/>
            </a:prstGeom>
          </p:spPr>
        </p:pic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3"/>
            <a:srcRect t="10226" b="9878"/>
            <a:stretch>
              <a:fillRect/>
            </a:stretch>
          </p:blipFill>
          <p:spPr>
            <a:xfrm>
              <a:off x="5845051" y="3218078"/>
              <a:ext cx="8106909" cy="3237296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文网络课堂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文本框 6"/>
          <p:cNvSpPr txBox="1"/>
          <p:nvPr/>
        </p:nvSpPr>
        <p:spPr>
          <a:xfrm>
            <a:off x="670126" y="4173558"/>
            <a:ext cx="10850043" cy="1691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6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“网络中文课堂”项目以汉语培训为契机，以“</a:t>
            </a:r>
            <a:r>
              <a:rPr lang="zh-CN" altLang="en-US" sz="2600" b="0" i="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中文</a:t>
            </a:r>
            <a:r>
              <a:rPr lang="en-US" altLang="zh-CN" sz="2600" b="0" i="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+</a:t>
            </a:r>
            <a:r>
              <a:rPr lang="zh-CN" altLang="en-US" sz="2600" b="0" i="0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职业技能</a:t>
            </a:r>
            <a:r>
              <a:rPr lang="zh-CN" altLang="en-US" sz="2600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”为主要特色，把语言学习与企业人员培训相结合，为园区企业带来高质量的人才培训，已经与国内数所高校展开合作，目前在自贸区两家企业展开课堂，线下教室也已建成。</a:t>
            </a:r>
            <a:endParaRPr lang="zh-CN" altLang="en-US" sz="2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669925" y="1553360"/>
            <a:ext cx="10850245" cy="2199005"/>
            <a:chOff x="2371" y="3323"/>
            <a:chExt cx="17087" cy="3463"/>
          </a:xfrm>
        </p:grpSpPr>
        <p:pic>
          <p:nvPicPr>
            <p:cNvPr id="8" name="图片 7" descr="DSC_9732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2371" y="3323"/>
              <a:ext cx="5101" cy="3401"/>
            </a:xfrm>
            <a:prstGeom prst="rect">
              <a:avLst/>
            </a:prstGeom>
          </p:spPr>
        </p:pic>
        <p:pic>
          <p:nvPicPr>
            <p:cNvPr id="9" name="图片 8" descr="DSC_97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161" y="3323"/>
              <a:ext cx="5141" cy="3427"/>
            </a:xfrm>
            <a:prstGeom prst="rect">
              <a:avLst/>
            </a:prstGeom>
          </p:spPr>
        </p:pic>
        <p:pic>
          <p:nvPicPr>
            <p:cNvPr id="11" name="图片 10" descr="DSC_97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264" y="3323"/>
              <a:ext cx="5194" cy="3463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椭圆 19"/>
          <p:cNvSpPr/>
          <p:nvPr/>
        </p:nvSpPr>
        <p:spPr>
          <a:xfrm>
            <a:off x="4892558" y="972607"/>
            <a:ext cx="2448272" cy="244827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3" name="标题 4"/>
          <p:cNvSpPr txBox="1"/>
          <p:nvPr/>
        </p:nvSpPr>
        <p:spPr>
          <a:xfrm>
            <a:off x="4945459" y="3819612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共赢</a:t>
            </a:r>
            <a:endParaRPr lang="zh-CN" altLang="en-US" sz="24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标题 4"/>
          <p:cNvSpPr txBox="1"/>
          <p:nvPr/>
        </p:nvSpPr>
        <p:spPr>
          <a:xfrm>
            <a:off x="4945459" y="2780928"/>
            <a:ext cx="2376264" cy="473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五章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椭圆 64"/>
          <p:cNvSpPr/>
          <p:nvPr/>
        </p:nvSpPr>
        <p:spPr>
          <a:xfrm>
            <a:off x="4996314" y="1076363"/>
            <a:ext cx="2240761" cy="2240761"/>
          </a:xfrm>
          <a:prstGeom prst="ellipse">
            <a:avLst/>
          </a:prstGeom>
          <a:noFill/>
          <a:ln w="31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6" name="直接连接符 65"/>
          <p:cNvCxnSpPr/>
          <p:nvPr/>
        </p:nvCxnSpPr>
        <p:spPr>
          <a:xfrm>
            <a:off x="4808413" y="4293096"/>
            <a:ext cx="2477306" cy="0"/>
          </a:xfrm>
          <a:prstGeom prst="line">
            <a:avLst/>
          </a:prstGeom>
          <a:ln>
            <a:solidFill>
              <a:srgbClr val="2C363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9" name="KSO_Shape"/>
          <p:cNvSpPr/>
          <p:nvPr/>
        </p:nvSpPr>
        <p:spPr bwMode="auto">
          <a:xfrm>
            <a:off x="5309530" y="1507913"/>
            <a:ext cx="1648122" cy="1150939"/>
          </a:xfrm>
          <a:custGeom>
            <a:avLst/>
            <a:gdLst>
              <a:gd name="T0" fmla="*/ 1733867 w 2074863"/>
              <a:gd name="T1" fmla="*/ 579834 h 1449388"/>
              <a:gd name="T2" fmla="*/ 1791884 w 2074863"/>
              <a:gd name="T3" fmla="*/ 600246 h 1449388"/>
              <a:gd name="T4" fmla="*/ 1794804 w 2074863"/>
              <a:gd name="T5" fmla="*/ 538648 h 1449388"/>
              <a:gd name="T6" fmla="*/ 510830 w 2074863"/>
              <a:gd name="T7" fmla="*/ 162256 h 1449388"/>
              <a:gd name="T8" fmla="*/ 492893 w 2074863"/>
              <a:gd name="T9" fmla="*/ 222976 h 1449388"/>
              <a:gd name="T10" fmla="*/ 438718 w 2074863"/>
              <a:gd name="T11" fmla="*/ 188484 h 1449388"/>
              <a:gd name="T12" fmla="*/ 1598128 w 2074863"/>
              <a:gd name="T13" fmla="*/ 142089 h 1449388"/>
              <a:gd name="T14" fmla="*/ 1885296 w 2074863"/>
              <a:gd name="T15" fmla="*/ 549583 h 1449388"/>
              <a:gd name="T16" fmla="*/ 1586087 w 2074863"/>
              <a:gd name="T17" fmla="*/ 450078 h 1449388"/>
              <a:gd name="T18" fmla="*/ 486453 w 2074863"/>
              <a:gd name="T19" fmla="*/ 72185 h 1449388"/>
              <a:gd name="T20" fmla="*/ 151219 w 2074863"/>
              <a:gd name="T21" fmla="*/ 357281 h 1449388"/>
              <a:gd name="T22" fmla="*/ 295879 w 2074863"/>
              <a:gd name="T23" fmla="*/ 407592 h 1449388"/>
              <a:gd name="T24" fmla="*/ 486453 w 2074863"/>
              <a:gd name="T25" fmla="*/ 72185 h 1449388"/>
              <a:gd name="T26" fmla="*/ 681762 w 2074863"/>
              <a:gd name="T27" fmla="*/ 209994 h 1449388"/>
              <a:gd name="T28" fmla="*/ 910960 w 2074863"/>
              <a:gd name="T29" fmla="*/ 275617 h 1449388"/>
              <a:gd name="T30" fmla="*/ 1184248 w 2074863"/>
              <a:gd name="T31" fmla="*/ 351448 h 1449388"/>
              <a:gd name="T32" fmla="*/ 1396319 w 2074863"/>
              <a:gd name="T33" fmla="*/ 332855 h 1449388"/>
              <a:gd name="T34" fmla="*/ 1606205 w 2074863"/>
              <a:gd name="T35" fmla="*/ 562536 h 1449388"/>
              <a:gd name="T36" fmla="*/ 1640821 w 2074863"/>
              <a:gd name="T37" fmla="*/ 739718 h 1449388"/>
              <a:gd name="T38" fmla="*/ 1379558 w 2074863"/>
              <a:gd name="T39" fmla="*/ 843985 h 1449388"/>
              <a:gd name="T40" fmla="*/ 1124853 w 2074863"/>
              <a:gd name="T41" fmla="*/ 641283 h 1449388"/>
              <a:gd name="T42" fmla="*/ 720387 w 2074863"/>
              <a:gd name="T43" fmla="*/ 519516 h 1449388"/>
              <a:gd name="T44" fmla="*/ 653705 w 2074863"/>
              <a:gd name="T45" fmla="*/ 311345 h 1449388"/>
              <a:gd name="T46" fmla="*/ 325395 w 2074863"/>
              <a:gd name="T47" fmla="*/ 480871 h 1449388"/>
              <a:gd name="T48" fmla="*/ 435438 w 2074863"/>
              <a:gd name="T49" fmla="*/ 683574 h 1449388"/>
              <a:gd name="T50" fmla="*/ 530543 w 2074863"/>
              <a:gd name="T51" fmla="*/ 794768 h 1449388"/>
              <a:gd name="T52" fmla="*/ 611436 w 2074863"/>
              <a:gd name="T53" fmla="*/ 890286 h 1449388"/>
              <a:gd name="T54" fmla="*/ 688686 w 2074863"/>
              <a:gd name="T55" fmla="*/ 1001480 h 1449388"/>
              <a:gd name="T56" fmla="*/ 800188 w 2074863"/>
              <a:gd name="T57" fmla="*/ 1230068 h 1449388"/>
              <a:gd name="T58" fmla="*/ 913511 w 2074863"/>
              <a:gd name="T59" fmla="*/ 1255588 h 1449388"/>
              <a:gd name="T60" fmla="*/ 768486 w 2074863"/>
              <a:gd name="T61" fmla="*/ 1063458 h 1449388"/>
              <a:gd name="T62" fmla="*/ 798730 w 2074863"/>
              <a:gd name="T63" fmla="*/ 1022261 h 1449388"/>
              <a:gd name="T64" fmla="*/ 1047604 w 2074863"/>
              <a:gd name="T65" fmla="*/ 1245015 h 1449388"/>
              <a:gd name="T66" fmla="*/ 1112465 w 2074863"/>
              <a:gd name="T67" fmla="*/ 1184496 h 1449388"/>
              <a:gd name="T68" fmla="*/ 841727 w 2074863"/>
              <a:gd name="T69" fmla="*/ 896119 h 1449388"/>
              <a:gd name="T70" fmla="*/ 886182 w 2074863"/>
              <a:gd name="T71" fmla="*/ 868047 h 1449388"/>
              <a:gd name="T72" fmla="*/ 1205383 w 2074863"/>
              <a:gd name="T73" fmla="*/ 1138195 h 1449388"/>
              <a:gd name="T74" fmla="*/ 1202468 w 2074863"/>
              <a:gd name="T75" fmla="*/ 1026636 h 1449388"/>
              <a:gd name="T76" fmla="*/ 955779 w 2074863"/>
              <a:gd name="T77" fmla="*/ 749197 h 1449388"/>
              <a:gd name="T78" fmla="*/ 1006793 w 2074863"/>
              <a:gd name="T79" fmla="*/ 736437 h 1449388"/>
              <a:gd name="T80" fmla="*/ 1311053 w 2074863"/>
              <a:gd name="T81" fmla="*/ 1001480 h 1449388"/>
              <a:gd name="T82" fmla="*/ 1303037 w 2074863"/>
              <a:gd name="T83" fmla="*/ 890286 h 1449388"/>
              <a:gd name="T84" fmla="*/ 1310325 w 2074863"/>
              <a:gd name="T85" fmla="*/ 838516 h 1449388"/>
              <a:gd name="T86" fmla="*/ 1409802 w 2074863"/>
              <a:gd name="T87" fmla="*/ 919087 h 1449388"/>
              <a:gd name="T88" fmla="*/ 1378829 w 2074863"/>
              <a:gd name="T89" fmla="*/ 1028094 h 1449388"/>
              <a:gd name="T90" fmla="*/ 1306317 w 2074863"/>
              <a:gd name="T91" fmla="*/ 1123248 h 1449388"/>
              <a:gd name="T92" fmla="*/ 1210119 w 2074863"/>
              <a:gd name="T93" fmla="*/ 1205641 h 1449388"/>
              <a:gd name="T94" fmla="*/ 1113922 w 2074863"/>
              <a:gd name="T95" fmla="*/ 1290222 h 1449388"/>
              <a:gd name="T96" fmla="*/ 1016631 w 2074863"/>
              <a:gd name="T97" fmla="*/ 1300795 h 1449388"/>
              <a:gd name="T98" fmla="*/ 897478 w 2074863"/>
              <a:gd name="T99" fmla="*/ 1327044 h 1449388"/>
              <a:gd name="T100" fmla="*/ 625648 w 2074863"/>
              <a:gd name="T101" fmla="*/ 1160798 h 1449388"/>
              <a:gd name="T102" fmla="*/ 491918 w 2074863"/>
              <a:gd name="T103" fmla="*/ 1202360 h 1449388"/>
              <a:gd name="T104" fmla="*/ 458760 w 2074863"/>
              <a:gd name="T105" fmla="*/ 1134550 h 1449388"/>
              <a:gd name="T106" fmla="*/ 365477 w 2074863"/>
              <a:gd name="T107" fmla="*/ 1057260 h 1449388"/>
              <a:gd name="T108" fmla="*/ 317378 w 2074863"/>
              <a:gd name="T109" fmla="*/ 969763 h 1449388"/>
              <a:gd name="T110" fmla="*/ 233206 w 2074863"/>
              <a:gd name="T111" fmla="*/ 865131 h 1449388"/>
              <a:gd name="T112" fmla="*/ 268916 w 2074863"/>
              <a:gd name="T113" fmla="*/ 733520 h 1449388"/>
              <a:gd name="T114" fmla="*/ 186565 w 2074863"/>
              <a:gd name="T115" fmla="*/ 647845 h 1449388"/>
              <a:gd name="T116" fmla="*/ 1822 w 2074863"/>
              <a:gd name="T117" fmla="*/ 438580 h 1449388"/>
              <a:gd name="T118" fmla="*/ 272923 w 2074863"/>
              <a:gd name="T119" fmla="*/ 139996 h 144938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074863" h="1449388">
                <a:moveTo>
                  <a:pt x="1923841" y="577723"/>
                </a:moveTo>
                <a:lnTo>
                  <a:pt x="1919867" y="578517"/>
                </a:lnTo>
                <a:lnTo>
                  <a:pt x="1915893" y="579312"/>
                </a:lnTo>
                <a:lnTo>
                  <a:pt x="1911919" y="580503"/>
                </a:lnTo>
                <a:lnTo>
                  <a:pt x="1907944" y="582488"/>
                </a:lnTo>
                <a:lnTo>
                  <a:pt x="1904765" y="584871"/>
                </a:lnTo>
                <a:lnTo>
                  <a:pt x="1901983" y="586857"/>
                </a:lnTo>
                <a:lnTo>
                  <a:pt x="1898804" y="589636"/>
                </a:lnTo>
                <a:lnTo>
                  <a:pt x="1896022" y="592813"/>
                </a:lnTo>
                <a:lnTo>
                  <a:pt x="1893240" y="595593"/>
                </a:lnTo>
                <a:lnTo>
                  <a:pt x="1891253" y="599167"/>
                </a:lnTo>
                <a:lnTo>
                  <a:pt x="1889663" y="602741"/>
                </a:lnTo>
                <a:lnTo>
                  <a:pt x="1888471" y="606712"/>
                </a:lnTo>
                <a:lnTo>
                  <a:pt x="1887278" y="610683"/>
                </a:lnTo>
                <a:lnTo>
                  <a:pt x="1886483" y="615051"/>
                </a:lnTo>
                <a:lnTo>
                  <a:pt x="1886483" y="619419"/>
                </a:lnTo>
                <a:lnTo>
                  <a:pt x="1886483" y="623390"/>
                </a:lnTo>
                <a:lnTo>
                  <a:pt x="1887278" y="627758"/>
                </a:lnTo>
                <a:lnTo>
                  <a:pt x="1888471" y="631729"/>
                </a:lnTo>
                <a:lnTo>
                  <a:pt x="1889663" y="635303"/>
                </a:lnTo>
                <a:lnTo>
                  <a:pt x="1891253" y="639274"/>
                </a:lnTo>
                <a:lnTo>
                  <a:pt x="1893240" y="642451"/>
                </a:lnTo>
                <a:lnTo>
                  <a:pt x="1896022" y="646025"/>
                </a:lnTo>
                <a:lnTo>
                  <a:pt x="1898804" y="648805"/>
                </a:lnTo>
                <a:lnTo>
                  <a:pt x="1901983" y="651188"/>
                </a:lnTo>
                <a:lnTo>
                  <a:pt x="1904765" y="653967"/>
                </a:lnTo>
                <a:lnTo>
                  <a:pt x="1907944" y="655953"/>
                </a:lnTo>
                <a:lnTo>
                  <a:pt x="1911919" y="657541"/>
                </a:lnTo>
                <a:lnTo>
                  <a:pt x="1915893" y="659130"/>
                </a:lnTo>
                <a:lnTo>
                  <a:pt x="1919867" y="660321"/>
                </a:lnTo>
                <a:lnTo>
                  <a:pt x="1923841" y="660718"/>
                </a:lnTo>
                <a:lnTo>
                  <a:pt x="1928213" y="661115"/>
                </a:lnTo>
                <a:lnTo>
                  <a:pt x="1932585" y="660718"/>
                </a:lnTo>
                <a:lnTo>
                  <a:pt x="1936956" y="660321"/>
                </a:lnTo>
                <a:lnTo>
                  <a:pt x="1940533" y="659130"/>
                </a:lnTo>
                <a:lnTo>
                  <a:pt x="1944508" y="657541"/>
                </a:lnTo>
                <a:lnTo>
                  <a:pt x="1948084" y="655953"/>
                </a:lnTo>
                <a:lnTo>
                  <a:pt x="1951661" y="653967"/>
                </a:lnTo>
                <a:lnTo>
                  <a:pt x="1954841" y="651188"/>
                </a:lnTo>
                <a:lnTo>
                  <a:pt x="1958020" y="648805"/>
                </a:lnTo>
                <a:lnTo>
                  <a:pt x="1960405" y="646025"/>
                </a:lnTo>
                <a:lnTo>
                  <a:pt x="1963187" y="642451"/>
                </a:lnTo>
                <a:lnTo>
                  <a:pt x="1965174" y="639274"/>
                </a:lnTo>
                <a:lnTo>
                  <a:pt x="1966763" y="635303"/>
                </a:lnTo>
                <a:lnTo>
                  <a:pt x="1967956" y="631729"/>
                </a:lnTo>
                <a:lnTo>
                  <a:pt x="1969148" y="627758"/>
                </a:lnTo>
                <a:lnTo>
                  <a:pt x="1969943" y="623390"/>
                </a:lnTo>
                <a:lnTo>
                  <a:pt x="1970340" y="619419"/>
                </a:lnTo>
                <a:lnTo>
                  <a:pt x="1969943" y="615051"/>
                </a:lnTo>
                <a:lnTo>
                  <a:pt x="1969148" y="610683"/>
                </a:lnTo>
                <a:lnTo>
                  <a:pt x="1967956" y="606712"/>
                </a:lnTo>
                <a:lnTo>
                  <a:pt x="1966763" y="602741"/>
                </a:lnTo>
                <a:lnTo>
                  <a:pt x="1965174" y="599167"/>
                </a:lnTo>
                <a:lnTo>
                  <a:pt x="1963187" y="595593"/>
                </a:lnTo>
                <a:lnTo>
                  <a:pt x="1960405" y="592813"/>
                </a:lnTo>
                <a:lnTo>
                  <a:pt x="1958020" y="589636"/>
                </a:lnTo>
                <a:lnTo>
                  <a:pt x="1954841" y="586857"/>
                </a:lnTo>
                <a:lnTo>
                  <a:pt x="1951661" y="584871"/>
                </a:lnTo>
                <a:lnTo>
                  <a:pt x="1948084" y="582488"/>
                </a:lnTo>
                <a:lnTo>
                  <a:pt x="1944508" y="580503"/>
                </a:lnTo>
                <a:lnTo>
                  <a:pt x="1940533" y="579312"/>
                </a:lnTo>
                <a:lnTo>
                  <a:pt x="1936956" y="578517"/>
                </a:lnTo>
                <a:lnTo>
                  <a:pt x="1932585" y="577723"/>
                </a:lnTo>
                <a:lnTo>
                  <a:pt x="1928213" y="577723"/>
                </a:lnTo>
                <a:lnTo>
                  <a:pt x="1923841" y="577723"/>
                </a:lnTo>
                <a:close/>
                <a:moveTo>
                  <a:pt x="519301" y="160338"/>
                </a:moveTo>
                <a:lnTo>
                  <a:pt x="523687" y="160338"/>
                </a:lnTo>
                <a:lnTo>
                  <a:pt x="528072" y="160729"/>
                </a:lnTo>
                <a:lnTo>
                  <a:pt x="532059" y="161512"/>
                </a:lnTo>
                <a:lnTo>
                  <a:pt x="536445" y="162687"/>
                </a:lnTo>
                <a:lnTo>
                  <a:pt x="540033" y="163861"/>
                </a:lnTo>
                <a:lnTo>
                  <a:pt x="544020" y="166210"/>
                </a:lnTo>
                <a:lnTo>
                  <a:pt x="547209" y="168558"/>
                </a:lnTo>
                <a:lnTo>
                  <a:pt x="550399" y="170907"/>
                </a:lnTo>
                <a:lnTo>
                  <a:pt x="553588" y="174038"/>
                </a:lnTo>
                <a:lnTo>
                  <a:pt x="556379" y="176778"/>
                </a:lnTo>
                <a:lnTo>
                  <a:pt x="558771" y="180693"/>
                </a:lnTo>
                <a:lnTo>
                  <a:pt x="560366" y="183824"/>
                </a:lnTo>
                <a:lnTo>
                  <a:pt x="562359" y="188130"/>
                </a:lnTo>
                <a:lnTo>
                  <a:pt x="563954" y="192436"/>
                </a:lnTo>
                <a:lnTo>
                  <a:pt x="564752" y="196350"/>
                </a:lnTo>
                <a:lnTo>
                  <a:pt x="565150" y="201048"/>
                </a:lnTo>
                <a:lnTo>
                  <a:pt x="565150" y="205353"/>
                </a:lnTo>
                <a:lnTo>
                  <a:pt x="564752" y="209268"/>
                </a:lnTo>
                <a:lnTo>
                  <a:pt x="563954" y="213574"/>
                </a:lnTo>
                <a:lnTo>
                  <a:pt x="562758" y="217488"/>
                </a:lnTo>
                <a:lnTo>
                  <a:pt x="560765" y="221402"/>
                </a:lnTo>
                <a:lnTo>
                  <a:pt x="558771" y="224925"/>
                </a:lnTo>
                <a:lnTo>
                  <a:pt x="556778" y="228448"/>
                </a:lnTo>
                <a:lnTo>
                  <a:pt x="553987" y="231188"/>
                </a:lnTo>
                <a:lnTo>
                  <a:pt x="551196" y="234711"/>
                </a:lnTo>
                <a:lnTo>
                  <a:pt x="547608" y="237060"/>
                </a:lnTo>
                <a:lnTo>
                  <a:pt x="544418" y="239800"/>
                </a:lnTo>
                <a:lnTo>
                  <a:pt x="540431" y="241366"/>
                </a:lnTo>
                <a:lnTo>
                  <a:pt x="536843" y="242932"/>
                </a:lnTo>
                <a:lnTo>
                  <a:pt x="532458" y="244497"/>
                </a:lnTo>
                <a:lnTo>
                  <a:pt x="528072" y="245672"/>
                </a:lnTo>
                <a:lnTo>
                  <a:pt x="523687" y="246063"/>
                </a:lnTo>
                <a:lnTo>
                  <a:pt x="518902" y="246063"/>
                </a:lnTo>
                <a:lnTo>
                  <a:pt x="514915" y="245672"/>
                </a:lnTo>
                <a:lnTo>
                  <a:pt x="510530" y="244497"/>
                </a:lnTo>
                <a:lnTo>
                  <a:pt x="506543" y="243323"/>
                </a:lnTo>
                <a:lnTo>
                  <a:pt x="502955" y="241757"/>
                </a:lnTo>
                <a:lnTo>
                  <a:pt x="498968" y="239800"/>
                </a:lnTo>
                <a:lnTo>
                  <a:pt x="495778" y="237451"/>
                </a:lnTo>
                <a:lnTo>
                  <a:pt x="492190" y="235103"/>
                </a:lnTo>
                <a:lnTo>
                  <a:pt x="489399" y="232363"/>
                </a:lnTo>
                <a:lnTo>
                  <a:pt x="486210" y="228840"/>
                </a:lnTo>
                <a:lnTo>
                  <a:pt x="484216" y="225708"/>
                </a:lnTo>
                <a:lnTo>
                  <a:pt x="482223" y="221794"/>
                </a:lnTo>
                <a:lnTo>
                  <a:pt x="480628" y="217879"/>
                </a:lnTo>
                <a:lnTo>
                  <a:pt x="479033" y="213965"/>
                </a:lnTo>
                <a:lnTo>
                  <a:pt x="478236" y="209268"/>
                </a:lnTo>
                <a:lnTo>
                  <a:pt x="477837" y="205353"/>
                </a:lnTo>
                <a:lnTo>
                  <a:pt x="477837" y="200656"/>
                </a:lnTo>
                <a:lnTo>
                  <a:pt x="478236" y="196350"/>
                </a:lnTo>
                <a:lnTo>
                  <a:pt x="479033" y="192436"/>
                </a:lnTo>
                <a:lnTo>
                  <a:pt x="480628" y="188522"/>
                </a:lnTo>
                <a:lnTo>
                  <a:pt x="481824" y="184607"/>
                </a:lnTo>
                <a:lnTo>
                  <a:pt x="483818" y="181084"/>
                </a:lnTo>
                <a:lnTo>
                  <a:pt x="486210" y="177561"/>
                </a:lnTo>
                <a:lnTo>
                  <a:pt x="489001" y="174430"/>
                </a:lnTo>
                <a:lnTo>
                  <a:pt x="491791" y="171298"/>
                </a:lnTo>
                <a:lnTo>
                  <a:pt x="494981" y="168558"/>
                </a:lnTo>
                <a:lnTo>
                  <a:pt x="498569" y="166601"/>
                </a:lnTo>
                <a:lnTo>
                  <a:pt x="502157" y="164252"/>
                </a:lnTo>
                <a:lnTo>
                  <a:pt x="506144" y="162687"/>
                </a:lnTo>
                <a:lnTo>
                  <a:pt x="510530" y="161512"/>
                </a:lnTo>
                <a:lnTo>
                  <a:pt x="514915" y="160729"/>
                </a:lnTo>
                <a:lnTo>
                  <a:pt x="519301" y="160338"/>
                </a:lnTo>
                <a:close/>
                <a:moveTo>
                  <a:pt x="1699693" y="111125"/>
                </a:moveTo>
                <a:lnTo>
                  <a:pt x="1718770" y="131377"/>
                </a:lnTo>
                <a:lnTo>
                  <a:pt x="1740628" y="154806"/>
                </a:lnTo>
                <a:lnTo>
                  <a:pt x="1768448" y="186178"/>
                </a:lnTo>
                <a:lnTo>
                  <a:pt x="1784345" y="204842"/>
                </a:lnTo>
                <a:lnTo>
                  <a:pt x="1801832" y="224697"/>
                </a:lnTo>
                <a:lnTo>
                  <a:pt x="1819318" y="246538"/>
                </a:lnTo>
                <a:lnTo>
                  <a:pt x="1838395" y="269173"/>
                </a:lnTo>
                <a:lnTo>
                  <a:pt x="1857471" y="293793"/>
                </a:lnTo>
                <a:lnTo>
                  <a:pt x="1877343" y="318811"/>
                </a:lnTo>
                <a:lnTo>
                  <a:pt x="1897611" y="345417"/>
                </a:lnTo>
                <a:lnTo>
                  <a:pt x="1917483" y="372420"/>
                </a:lnTo>
                <a:lnTo>
                  <a:pt x="1936956" y="400217"/>
                </a:lnTo>
                <a:lnTo>
                  <a:pt x="1954841" y="426823"/>
                </a:lnTo>
                <a:lnTo>
                  <a:pt x="1971930" y="453032"/>
                </a:lnTo>
                <a:lnTo>
                  <a:pt x="1987032" y="478050"/>
                </a:lnTo>
                <a:lnTo>
                  <a:pt x="2001339" y="501479"/>
                </a:lnTo>
                <a:lnTo>
                  <a:pt x="2014057" y="524511"/>
                </a:lnTo>
                <a:lnTo>
                  <a:pt x="2025980" y="545558"/>
                </a:lnTo>
                <a:lnTo>
                  <a:pt x="2036313" y="565016"/>
                </a:lnTo>
                <a:lnTo>
                  <a:pt x="2045454" y="582488"/>
                </a:lnTo>
                <a:lnTo>
                  <a:pt x="2053402" y="598770"/>
                </a:lnTo>
                <a:lnTo>
                  <a:pt x="2065325" y="623787"/>
                </a:lnTo>
                <a:lnTo>
                  <a:pt x="2072479" y="640069"/>
                </a:lnTo>
                <a:lnTo>
                  <a:pt x="2074863" y="646025"/>
                </a:lnTo>
                <a:lnTo>
                  <a:pt x="1870189" y="796925"/>
                </a:lnTo>
                <a:lnTo>
                  <a:pt x="1867407" y="789380"/>
                </a:lnTo>
                <a:lnTo>
                  <a:pt x="1859856" y="767142"/>
                </a:lnTo>
                <a:lnTo>
                  <a:pt x="1854689" y="751258"/>
                </a:lnTo>
                <a:lnTo>
                  <a:pt x="1847933" y="733388"/>
                </a:lnTo>
                <a:lnTo>
                  <a:pt x="1839985" y="712342"/>
                </a:lnTo>
                <a:lnTo>
                  <a:pt x="1830844" y="690104"/>
                </a:lnTo>
                <a:lnTo>
                  <a:pt x="1820908" y="666278"/>
                </a:lnTo>
                <a:lnTo>
                  <a:pt x="1809383" y="640466"/>
                </a:lnTo>
                <a:lnTo>
                  <a:pt x="1797063" y="614257"/>
                </a:lnTo>
                <a:lnTo>
                  <a:pt x="1783550" y="586857"/>
                </a:lnTo>
                <a:lnTo>
                  <a:pt x="1768845" y="559059"/>
                </a:lnTo>
                <a:lnTo>
                  <a:pt x="1753346" y="531262"/>
                </a:lnTo>
                <a:lnTo>
                  <a:pt x="1744602" y="517363"/>
                </a:lnTo>
                <a:lnTo>
                  <a:pt x="1736256" y="503862"/>
                </a:lnTo>
                <a:lnTo>
                  <a:pt x="1727513" y="490360"/>
                </a:lnTo>
                <a:lnTo>
                  <a:pt x="1718770" y="476859"/>
                </a:lnTo>
                <a:lnTo>
                  <a:pt x="1709232" y="463357"/>
                </a:lnTo>
                <a:lnTo>
                  <a:pt x="1700091" y="450650"/>
                </a:lnTo>
                <a:lnTo>
                  <a:pt x="1690552" y="438339"/>
                </a:lnTo>
                <a:lnTo>
                  <a:pt x="1681014" y="426029"/>
                </a:lnTo>
                <a:lnTo>
                  <a:pt x="1661938" y="403394"/>
                </a:lnTo>
                <a:lnTo>
                  <a:pt x="1643259" y="381951"/>
                </a:lnTo>
                <a:lnTo>
                  <a:pt x="1624977" y="362095"/>
                </a:lnTo>
                <a:lnTo>
                  <a:pt x="1606696" y="343431"/>
                </a:lnTo>
                <a:lnTo>
                  <a:pt x="1590004" y="327150"/>
                </a:lnTo>
                <a:lnTo>
                  <a:pt x="1573312" y="311663"/>
                </a:lnTo>
                <a:lnTo>
                  <a:pt x="1558210" y="298559"/>
                </a:lnTo>
                <a:lnTo>
                  <a:pt x="1544697" y="287042"/>
                </a:lnTo>
                <a:lnTo>
                  <a:pt x="1532377" y="276718"/>
                </a:lnTo>
                <a:lnTo>
                  <a:pt x="1522044" y="268776"/>
                </a:lnTo>
                <a:lnTo>
                  <a:pt x="1506942" y="257657"/>
                </a:lnTo>
                <a:lnTo>
                  <a:pt x="1501775" y="254083"/>
                </a:lnTo>
                <a:lnTo>
                  <a:pt x="1699693" y="111125"/>
                </a:lnTo>
                <a:close/>
                <a:moveTo>
                  <a:pt x="529828" y="78646"/>
                </a:moveTo>
                <a:lnTo>
                  <a:pt x="511572" y="88179"/>
                </a:lnTo>
                <a:lnTo>
                  <a:pt x="489347" y="100889"/>
                </a:lnTo>
                <a:lnTo>
                  <a:pt x="476647" y="108436"/>
                </a:lnTo>
                <a:lnTo>
                  <a:pt x="463153" y="116777"/>
                </a:lnTo>
                <a:lnTo>
                  <a:pt x="448865" y="126310"/>
                </a:lnTo>
                <a:lnTo>
                  <a:pt x="433784" y="136240"/>
                </a:lnTo>
                <a:lnTo>
                  <a:pt x="417512" y="147759"/>
                </a:lnTo>
                <a:lnTo>
                  <a:pt x="401637" y="159675"/>
                </a:lnTo>
                <a:lnTo>
                  <a:pt x="384175" y="172783"/>
                </a:lnTo>
                <a:lnTo>
                  <a:pt x="367109" y="186288"/>
                </a:lnTo>
                <a:lnTo>
                  <a:pt x="349250" y="200984"/>
                </a:lnTo>
                <a:lnTo>
                  <a:pt x="331787" y="216475"/>
                </a:lnTo>
                <a:lnTo>
                  <a:pt x="313531" y="233157"/>
                </a:lnTo>
                <a:lnTo>
                  <a:pt x="294878" y="250634"/>
                </a:lnTo>
                <a:lnTo>
                  <a:pt x="277019" y="268905"/>
                </a:lnTo>
                <a:lnTo>
                  <a:pt x="259159" y="287177"/>
                </a:lnTo>
                <a:lnTo>
                  <a:pt x="225028" y="322528"/>
                </a:lnTo>
                <a:lnTo>
                  <a:pt x="193278" y="356687"/>
                </a:lnTo>
                <a:lnTo>
                  <a:pt x="164703" y="389257"/>
                </a:lnTo>
                <a:lnTo>
                  <a:pt x="138906" y="419445"/>
                </a:lnTo>
                <a:lnTo>
                  <a:pt x="116284" y="446057"/>
                </a:lnTo>
                <a:lnTo>
                  <a:pt x="97234" y="469095"/>
                </a:lnTo>
                <a:lnTo>
                  <a:pt x="82550" y="488161"/>
                </a:lnTo>
                <a:lnTo>
                  <a:pt x="205184" y="612882"/>
                </a:lnTo>
                <a:lnTo>
                  <a:pt x="213915" y="597391"/>
                </a:lnTo>
                <a:lnTo>
                  <a:pt x="224631" y="581106"/>
                </a:lnTo>
                <a:lnTo>
                  <a:pt x="236934" y="562437"/>
                </a:lnTo>
                <a:lnTo>
                  <a:pt x="250428" y="542974"/>
                </a:lnTo>
                <a:lnTo>
                  <a:pt x="256381" y="531456"/>
                </a:lnTo>
                <a:lnTo>
                  <a:pt x="260350" y="524306"/>
                </a:lnTo>
                <a:lnTo>
                  <a:pt x="265112" y="515965"/>
                </a:lnTo>
                <a:lnTo>
                  <a:pt x="270669" y="507623"/>
                </a:lnTo>
                <a:lnTo>
                  <a:pt x="277019" y="498885"/>
                </a:lnTo>
                <a:lnTo>
                  <a:pt x="284162" y="488558"/>
                </a:lnTo>
                <a:lnTo>
                  <a:pt x="292100" y="478628"/>
                </a:lnTo>
                <a:lnTo>
                  <a:pt x="301228" y="467506"/>
                </a:lnTo>
                <a:lnTo>
                  <a:pt x="311547" y="456385"/>
                </a:lnTo>
                <a:lnTo>
                  <a:pt x="322262" y="444071"/>
                </a:lnTo>
                <a:lnTo>
                  <a:pt x="334565" y="431758"/>
                </a:lnTo>
                <a:lnTo>
                  <a:pt x="348059" y="418650"/>
                </a:lnTo>
                <a:lnTo>
                  <a:pt x="362347" y="405543"/>
                </a:lnTo>
                <a:lnTo>
                  <a:pt x="378619" y="391641"/>
                </a:lnTo>
                <a:lnTo>
                  <a:pt x="395684" y="377739"/>
                </a:lnTo>
                <a:lnTo>
                  <a:pt x="413147" y="362248"/>
                </a:lnTo>
                <a:lnTo>
                  <a:pt x="430609" y="347154"/>
                </a:lnTo>
                <a:lnTo>
                  <a:pt x="448469" y="332855"/>
                </a:lnTo>
                <a:lnTo>
                  <a:pt x="466328" y="318953"/>
                </a:lnTo>
                <a:lnTo>
                  <a:pt x="484188" y="305448"/>
                </a:lnTo>
                <a:lnTo>
                  <a:pt x="502047" y="292737"/>
                </a:lnTo>
                <a:lnTo>
                  <a:pt x="519510" y="280821"/>
                </a:lnTo>
                <a:lnTo>
                  <a:pt x="536972" y="268905"/>
                </a:lnTo>
                <a:lnTo>
                  <a:pt x="553641" y="257784"/>
                </a:lnTo>
                <a:lnTo>
                  <a:pt x="570310" y="247457"/>
                </a:lnTo>
                <a:lnTo>
                  <a:pt x="601663" y="228391"/>
                </a:lnTo>
                <a:lnTo>
                  <a:pt x="629841" y="212106"/>
                </a:lnTo>
                <a:lnTo>
                  <a:pt x="654050" y="198601"/>
                </a:lnTo>
                <a:lnTo>
                  <a:pt x="529828" y="78646"/>
                </a:lnTo>
                <a:close/>
                <a:moveTo>
                  <a:pt x="537766" y="0"/>
                </a:moveTo>
                <a:lnTo>
                  <a:pt x="542925" y="794"/>
                </a:lnTo>
                <a:lnTo>
                  <a:pt x="548085" y="2383"/>
                </a:lnTo>
                <a:lnTo>
                  <a:pt x="552450" y="4369"/>
                </a:lnTo>
                <a:lnTo>
                  <a:pt x="557213" y="6752"/>
                </a:lnTo>
                <a:lnTo>
                  <a:pt x="561181" y="10327"/>
                </a:lnTo>
                <a:lnTo>
                  <a:pt x="738981" y="181521"/>
                </a:lnTo>
                <a:lnTo>
                  <a:pt x="741760" y="185096"/>
                </a:lnTo>
                <a:lnTo>
                  <a:pt x="744538" y="188274"/>
                </a:lnTo>
                <a:lnTo>
                  <a:pt x="746522" y="192246"/>
                </a:lnTo>
                <a:lnTo>
                  <a:pt x="748110" y="195820"/>
                </a:lnTo>
                <a:lnTo>
                  <a:pt x="748903" y="200190"/>
                </a:lnTo>
                <a:lnTo>
                  <a:pt x="749697" y="204162"/>
                </a:lnTo>
                <a:lnTo>
                  <a:pt x="749697" y="208531"/>
                </a:lnTo>
                <a:lnTo>
                  <a:pt x="749300" y="213297"/>
                </a:lnTo>
                <a:lnTo>
                  <a:pt x="748506" y="217269"/>
                </a:lnTo>
                <a:lnTo>
                  <a:pt x="746919" y="221241"/>
                </a:lnTo>
                <a:lnTo>
                  <a:pt x="745331" y="224816"/>
                </a:lnTo>
                <a:lnTo>
                  <a:pt x="742553" y="228788"/>
                </a:lnTo>
                <a:lnTo>
                  <a:pt x="740172" y="231568"/>
                </a:lnTo>
                <a:lnTo>
                  <a:pt x="736600" y="234746"/>
                </a:lnTo>
                <a:lnTo>
                  <a:pt x="733425" y="237129"/>
                </a:lnTo>
                <a:lnTo>
                  <a:pt x="729456" y="239512"/>
                </a:lnTo>
                <a:lnTo>
                  <a:pt x="722710" y="242690"/>
                </a:lnTo>
                <a:lnTo>
                  <a:pt x="705247" y="251429"/>
                </a:lnTo>
                <a:lnTo>
                  <a:pt x="776685" y="295915"/>
                </a:lnTo>
                <a:lnTo>
                  <a:pt x="813594" y="318953"/>
                </a:lnTo>
                <a:lnTo>
                  <a:pt x="843756" y="338416"/>
                </a:lnTo>
                <a:lnTo>
                  <a:pt x="855266" y="332458"/>
                </a:lnTo>
                <a:lnTo>
                  <a:pt x="867569" y="326500"/>
                </a:lnTo>
                <a:lnTo>
                  <a:pt x="879872" y="321733"/>
                </a:lnTo>
                <a:lnTo>
                  <a:pt x="892175" y="317364"/>
                </a:lnTo>
                <a:lnTo>
                  <a:pt x="905669" y="312995"/>
                </a:lnTo>
                <a:lnTo>
                  <a:pt x="919163" y="309817"/>
                </a:lnTo>
                <a:lnTo>
                  <a:pt x="933847" y="307037"/>
                </a:lnTo>
                <a:lnTo>
                  <a:pt x="948135" y="304256"/>
                </a:lnTo>
                <a:lnTo>
                  <a:pt x="970756" y="301873"/>
                </a:lnTo>
                <a:lnTo>
                  <a:pt x="992188" y="300284"/>
                </a:lnTo>
                <a:lnTo>
                  <a:pt x="1013222" y="299093"/>
                </a:lnTo>
                <a:lnTo>
                  <a:pt x="1033066" y="298696"/>
                </a:lnTo>
                <a:lnTo>
                  <a:pt x="1052513" y="299490"/>
                </a:lnTo>
                <a:lnTo>
                  <a:pt x="1070769" y="301079"/>
                </a:lnTo>
                <a:lnTo>
                  <a:pt x="1088231" y="302668"/>
                </a:lnTo>
                <a:lnTo>
                  <a:pt x="1105297" y="305051"/>
                </a:lnTo>
                <a:lnTo>
                  <a:pt x="1121172" y="308228"/>
                </a:lnTo>
                <a:lnTo>
                  <a:pt x="1137047" y="311803"/>
                </a:lnTo>
                <a:lnTo>
                  <a:pt x="1151731" y="315775"/>
                </a:lnTo>
                <a:lnTo>
                  <a:pt x="1165622" y="320542"/>
                </a:lnTo>
                <a:lnTo>
                  <a:pt x="1179116" y="324911"/>
                </a:lnTo>
                <a:lnTo>
                  <a:pt x="1191816" y="329677"/>
                </a:lnTo>
                <a:lnTo>
                  <a:pt x="1203722" y="335238"/>
                </a:lnTo>
                <a:lnTo>
                  <a:pt x="1215231" y="340004"/>
                </a:lnTo>
                <a:lnTo>
                  <a:pt x="1226741" y="345565"/>
                </a:lnTo>
                <a:lnTo>
                  <a:pt x="1237060" y="351126"/>
                </a:lnTo>
                <a:lnTo>
                  <a:pt x="1256506" y="362645"/>
                </a:lnTo>
                <a:lnTo>
                  <a:pt x="1274366" y="372972"/>
                </a:lnTo>
                <a:lnTo>
                  <a:pt x="1289844" y="382902"/>
                </a:lnTo>
                <a:lnTo>
                  <a:pt x="1304131" y="391641"/>
                </a:lnTo>
                <a:lnTo>
                  <a:pt x="1310878" y="395613"/>
                </a:lnTo>
                <a:lnTo>
                  <a:pt x="1317228" y="398790"/>
                </a:lnTo>
                <a:lnTo>
                  <a:pt x="1323578" y="401968"/>
                </a:lnTo>
                <a:lnTo>
                  <a:pt x="1329135" y="403954"/>
                </a:lnTo>
                <a:lnTo>
                  <a:pt x="1334691" y="405543"/>
                </a:lnTo>
                <a:lnTo>
                  <a:pt x="1340247" y="406337"/>
                </a:lnTo>
                <a:lnTo>
                  <a:pt x="1345406" y="407132"/>
                </a:lnTo>
                <a:lnTo>
                  <a:pt x="1351360" y="407132"/>
                </a:lnTo>
                <a:lnTo>
                  <a:pt x="1358106" y="406734"/>
                </a:lnTo>
                <a:lnTo>
                  <a:pt x="1364853" y="406337"/>
                </a:lnTo>
                <a:lnTo>
                  <a:pt x="1379538" y="404351"/>
                </a:lnTo>
                <a:lnTo>
                  <a:pt x="1395810" y="401173"/>
                </a:lnTo>
                <a:lnTo>
                  <a:pt x="1412081" y="397201"/>
                </a:lnTo>
                <a:lnTo>
                  <a:pt x="1429544" y="392832"/>
                </a:lnTo>
                <a:lnTo>
                  <a:pt x="1446610" y="387669"/>
                </a:lnTo>
                <a:lnTo>
                  <a:pt x="1463675" y="382505"/>
                </a:lnTo>
                <a:lnTo>
                  <a:pt x="1494631" y="371781"/>
                </a:lnTo>
                <a:lnTo>
                  <a:pt x="1520825" y="362645"/>
                </a:lnTo>
                <a:lnTo>
                  <a:pt x="1545035" y="353112"/>
                </a:lnTo>
                <a:lnTo>
                  <a:pt x="1550988" y="357481"/>
                </a:lnTo>
                <a:lnTo>
                  <a:pt x="1557338" y="363439"/>
                </a:lnTo>
                <a:lnTo>
                  <a:pt x="1566069" y="371383"/>
                </a:lnTo>
                <a:lnTo>
                  <a:pt x="1577578" y="382108"/>
                </a:lnTo>
                <a:lnTo>
                  <a:pt x="1589881" y="395215"/>
                </a:lnTo>
                <a:lnTo>
                  <a:pt x="1604963" y="410309"/>
                </a:lnTo>
                <a:lnTo>
                  <a:pt x="1620838" y="428183"/>
                </a:lnTo>
                <a:lnTo>
                  <a:pt x="1638697" y="449235"/>
                </a:lnTo>
                <a:lnTo>
                  <a:pt x="1656953" y="472670"/>
                </a:lnTo>
                <a:lnTo>
                  <a:pt x="1666875" y="485380"/>
                </a:lnTo>
                <a:lnTo>
                  <a:pt x="1676400" y="498885"/>
                </a:lnTo>
                <a:lnTo>
                  <a:pt x="1686719" y="512787"/>
                </a:lnTo>
                <a:lnTo>
                  <a:pt x="1696641" y="527881"/>
                </a:lnTo>
                <a:lnTo>
                  <a:pt x="1707356" y="542974"/>
                </a:lnTo>
                <a:lnTo>
                  <a:pt x="1717675" y="559657"/>
                </a:lnTo>
                <a:lnTo>
                  <a:pt x="1727994" y="576339"/>
                </a:lnTo>
                <a:lnTo>
                  <a:pt x="1738710" y="594213"/>
                </a:lnTo>
                <a:lnTo>
                  <a:pt x="1749425" y="612882"/>
                </a:lnTo>
                <a:lnTo>
                  <a:pt x="1760141" y="632345"/>
                </a:lnTo>
                <a:lnTo>
                  <a:pt x="1770460" y="651808"/>
                </a:lnTo>
                <a:lnTo>
                  <a:pt x="1781175" y="672859"/>
                </a:lnTo>
                <a:lnTo>
                  <a:pt x="1802606" y="715360"/>
                </a:lnTo>
                <a:lnTo>
                  <a:pt x="1810544" y="731645"/>
                </a:lnTo>
                <a:lnTo>
                  <a:pt x="1813322" y="739192"/>
                </a:lnTo>
                <a:lnTo>
                  <a:pt x="1816100" y="745944"/>
                </a:lnTo>
                <a:lnTo>
                  <a:pt x="1817688" y="752300"/>
                </a:lnTo>
                <a:lnTo>
                  <a:pt x="1818878" y="758258"/>
                </a:lnTo>
                <a:lnTo>
                  <a:pt x="1819275" y="764216"/>
                </a:lnTo>
                <a:lnTo>
                  <a:pt x="1819275" y="769379"/>
                </a:lnTo>
                <a:lnTo>
                  <a:pt x="1818481" y="774543"/>
                </a:lnTo>
                <a:lnTo>
                  <a:pt x="1816497" y="778912"/>
                </a:lnTo>
                <a:lnTo>
                  <a:pt x="1814116" y="783679"/>
                </a:lnTo>
                <a:lnTo>
                  <a:pt x="1810544" y="788445"/>
                </a:lnTo>
                <a:lnTo>
                  <a:pt x="1805781" y="792417"/>
                </a:lnTo>
                <a:lnTo>
                  <a:pt x="1801019" y="796786"/>
                </a:lnTo>
                <a:lnTo>
                  <a:pt x="1794272" y="801155"/>
                </a:lnTo>
                <a:lnTo>
                  <a:pt x="1787128" y="805922"/>
                </a:lnTo>
                <a:lnTo>
                  <a:pt x="1778397" y="810688"/>
                </a:lnTo>
                <a:lnTo>
                  <a:pt x="1769269" y="815852"/>
                </a:lnTo>
                <a:lnTo>
                  <a:pt x="1747044" y="826179"/>
                </a:lnTo>
                <a:lnTo>
                  <a:pt x="1720056" y="838492"/>
                </a:lnTo>
                <a:lnTo>
                  <a:pt x="1687910" y="852394"/>
                </a:lnTo>
                <a:lnTo>
                  <a:pt x="1650206" y="868680"/>
                </a:lnTo>
                <a:lnTo>
                  <a:pt x="1607741" y="888142"/>
                </a:lnTo>
                <a:lnTo>
                  <a:pt x="1568450" y="905619"/>
                </a:lnTo>
                <a:lnTo>
                  <a:pt x="1553766" y="911975"/>
                </a:lnTo>
                <a:lnTo>
                  <a:pt x="1541463" y="916344"/>
                </a:lnTo>
                <a:lnTo>
                  <a:pt x="1531144" y="919521"/>
                </a:lnTo>
                <a:lnTo>
                  <a:pt x="1526778" y="920713"/>
                </a:lnTo>
                <a:lnTo>
                  <a:pt x="1522810" y="921507"/>
                </a:lnTo>
                <a:lnTo>
                  <a:pt x="1518841" y="921905"/>
                </a:lnTo>
                <a:lnTo>
                  <a:pt x="1514872" y="921905"/>
                </a:lnTo>
                <a:lnTo>
                  <a:pt x="1511697" y="921507"/>
                </a:lnTo>
                <a:lnTo>
                  <a:pt x="1508522" y="921110"/>
                </a:lnTo>
                <a:lnTo>
                  <a:pt x="1505347" y="920316"/>
                </a:lnTo>
                <a:lnTo>
                  <a:pt x="1502569" y="919521"/>
                </a:lnTo>
                <a:lnTo>
                  <a:pt x="1496219" y="916344"/>
                </a:lnTo>
                <a:lnTo>
                  <a:pt x="1489869" y="912769"/>
                </a:lnTo>
                <a:lnTo>
                  <a:pt x="1482328" y="907605"/>
                </a:lnTo>
                <a:lnTo>
                  <a:pt x="1472803" y="902045"/>
                </a:lnTo>
                <a:lnTo>
                  <a:pt x="1462485" y="895689"/>
                </a:lnTo>
                <a:lnTo>
                  <a:pt x="1449785" y="888540"/>
                </a:lnTo>
                <a:lnTo>
                  <a:pt x="1433910" y="880993"/>
                </a:lnTo>
                <a:lnTo>
                  <a:pt x="1425178" y="876624"/>
                </a:lnTo>
                <a:lnTo>
                  <a:pt x="1415653" y="870666"/>
                </a:lnTo>
                <a:lnTo>
                  <a:pt x="1404541" y="863516"/>
                </a:lnTo>
                <a:lnTo>
                  <a:pt x="1393428" y="854778"/>
                </a:lnTo>
                <a:lnTo>
                  <a:pt x="1381522" y="845642"/>
                </a:lnTo>
                <a:lnTo>
                  <a:pt x="1368822" y="834917"/>
                </a:lnTo>
                <a:lnTo>
                  <a:pt x="1355725" y="823796"/>
                </a:lnTo>
                <a:lnTo>
                  <a:pt x="1342231" y="811483"/>
                </a:lnTo>
                <a:lnTo>
                  <a:pt x="1314053" y="785267"/>
                </a:lnTo>
                <a:lnTo>
                  <a:pt x="1284288" y="757463"/>
                </a:lnTo>
                <a:lnTo>
                  <a:pt x="1254522" y="728468"/>
                </a:lnTo>
                <a:lnTo>
                  <a:pt x="1225153" y="698677"/>
                </a:lnTo>
                <a:lnTo>
                  <a:pt x="1167606" y="642275"/>
                </a:lnTo>
                <a:lnTo>
                  <a:pt x="1141016" y="616457"/>
                </a:lnTo>
                <a:lnTo>
                  <a:pt x="1116806" y="593816"/>
                </a:lnTo>
                <a:lnTo>
                  <a:pt x="1105694" y="583886"/>
                </a:lnTo>
                <a:lnTo>
                  <a:pt x="1094978" y="574751"/>
                </a:lnTo>
                <a:lnTo>
                  <a:pt x="1085453" y="567204"/>
                </a:lnTo>
                <a:lnTo>
                  <a:pt x="1077119" y="560451"/>
                </a:lnTo>
                <a:lnTo>
                  <a:pt x="1069181" y="554890"/>
                </a:lnTo>
                <a:lnTo>
                  <a:pt x="1062435" y="551316"/>
                </a:lnTo>
                <a:lnTo>
                  <a:pt x="1056878" y="548535"/>
                </a:lnTo>
                <a:lnTo>
                  <a:pt x="1054100" y="547741"/>
                </a:lnTo>
                <a:lnTo>
                  <a:pt x="1052116" y="547741"/>
                </a:lnTo>
                <a:lnTo>
                  <a:pt x="1042591" y="547741"/>
                </a:lnTo>
                <a:lnTo>
                  <a:pt x="1028700" y="548535"/>
                </a:lnTo>
                <a:lnTo>
                  <a:pt x="992585" y="550918"/>
                </a:lnTo>
                <a:lnTo>
                  <a:pt x="949325" y="553302"/>
                </a:lnTo>
                <a:lnTo>
                  <a:pt x="902494" y="556479"/>
                </a:lnTo>
                <a:lnTo>
                  <a:pt x="820341" y="562835"/>
                </a:lnTo>
                <a:lnTo>
                  <a:pt x="784622" y="566012"/>
                </a:lnTo>
                <a:lnTo>
                  <a:pt x="760810" y="542180"/>
                </a:lnTo>
                <a:lnTo>
                  <a:pt x="755650" y="532250"/>
                </a:lnTo>
                <a:lnTo>
                  <a:pt x="752078" y="521526"/>
                </a:lnTo>
                <a:lnTo>
                  <a:pt x="748506" y="511596"/>
                </a:lnTo>
                <a:lnTo>
                  <a:pt x="746522" y="500871"/>
                </a:lnTo>
                <a:lnTo>
                  <a:pt x="745331" y="490544"/>
                </a:lnTo>
                <a:lnTo>
                  <a:pt x="744935" y="480217"/>
                </a:lnTo>
                <a:lnTo>
                  <a:pt x="745728" y="470287"/>
                </a:lnTo>
                <a:lnTo>
                  <a:pt x="746919" y="459959"/>
                </a:lnTo>
                <a:lnTo>
                  <a:pt x="748903" y="450029"/>
                </a:lnTo>
                <a:lnTo>
                  <a:pt x="752078" y="440099"/>
                </a:lnTo>
                <a:lnTo>
                  <a:pt x="755650" y="430566"/>
                </a:lnTo>
                <a:lnTo>
                  <a:pt x="760016" y="420636"/>
                </a:lnTo>
                <a:lnTo>
                  <a:pt x="765175" y="411501"/>
                </a:lnTo>
                <a:lnTo>
                  <a:pt x="771128" y="402365"/>
                </a:lnTo>
                <a:lnTo>
                  <a:pt x="777875" y="393229"/>
                </a:lnTo>
                <a:lnTo>
                  <a:pt x="785019" y="384888"/>
                </a:lnTo>
                <a:lnTo>
                  <a:pt x="749697" y="362645"/>
                </a:lnTo>
                <a:lnTo>
                  <a:pt x="711994" y="339210"/>
                </a:lnTo>
                <a:lnTo>
                  <a:pt x="648494" y="300682"/>
                </a:lnTo>
                <a:lnTo>
                  <a:pt x="635000" y="307037"/>
                </a:lnTo>
                <a:lnTo>
                  <a:pt x="617538" y="316172"/>
                </a:lnTo>
                <a:lnTo>
                  <a:pt x="596503" y="327691"/>
                </a:lnTo>
                <a:lnTo>
                  <a:pt x="572294" y="341593"/>
                </a:lnTo>
                <a:lnTo>
                  <a:pt x="545306" y="357879"/>
                </a:lnTo>
                <a:lnTo>
                  <a:pt x="531019" y="367014"/>
                </a:lnTo>
                <a:lnTo>
                  <a:pt x="516335" y="377341"/>
                </a:lnTo>
                <a:lnTo>
                  <a:pt x="500856" y="387669"/>
                </a:lnTo>
                <a:lnTo>
                  <a:pt x="484585" y="399187"/>
                </a:lnTo>
                <a:lnTo>
                  <a:pt x="467915" y="411501"/>
                </a:lnTo>
                <a:lnTo>
                  <a:pt x="450850" y="424211"/>
                </a:lnTo>
                <a:lnTo>
                  <a:pt x="438150" y="434141"/>
                </a:lnTo>
                <a:lnTo>
                  <a:pt x="432990" y="439702"/>
                </a:lnTo>
                <a:lnTo>
                  <a:pt x="415131" y="456782"/>
                </a:lnTo>
                <a:lnTo>
                  <a:pt x="398859" y="473464"/>
                </a:lnTo>
                <a:lnTo>
                  <a:pt x="382984" y="490544"/>
                </a:lnTo>
                <a:lnTo>
                  <a:pt x="368300" y="506829"/>
                </a:lnTo>
                <a:lnTo>
                  <a:pt x="354409" y="523909"/>
                </a:lnTo>
                <a:lnTo>
                  <a:pt x="341312" y="539797"/>
                </a:lnTo>
                <a:lnTo>
                  <a:pt x="329009" y="555685"/>
                </a:lnTo>
                <a:lnTo>
                  <a:pt x="317500" y="570779"/>
                </a:lnTo>
                <a:lnTo>
                  <a:pt x="387350" y="732042"/>
                </a:lnTo>
                <a:lnTo>
                  <a:pt x="401240" y="724098"/>
                </a:lnTo>
                <a:lnTo>
                  <a:pt x="406400" y="721318"/>
                </a:lnTo>
                <a:lnTo>
                  <a:pt x="413147" y="720523"/>
                </a:lnTo>
                <a:lnTo>
                  <a:pt x="419497" y="719729"/>
                </a:lnTo>
                <a:lnTo>
                  <a:pt x="425053" y="719729"/>
                </a:lnTo>
                <a:lnTo>
                  <a:pt x="430609" y="720523"/>
                </a:lnTo>
                <a:lnTo>
                  <a:pt x="436165" y="721715"/>
                </a:lnTo>
                <a:lnTo>
                  <a:pt x="441325" y="722907"/>
                </a:lnTo>
                <a:lnTo>
                  <a:pt x="446484" y="724495"/>
                </a:lnTo>
                <a:lnTo>
                  <a:pt x="450850" y="726482"/>
                </a:lnTo>
                <a:lnTo>
                  <a:pt x="455215" y="729262"/>
                </a:lnTo>
                <a:lnTo>
                  <a:pt x="459581" y="731645"/>
                </a:lnTo>
                <a:lnTo>
                  <a:pt x="463550" y="734823"/>
                </a:lnTo>
                <a:lnTo>
                  <a:pt x="467519" y="738000"/>
                </a:lnTo>
                <a:lnTo>
                  <a:pt x="474265" y="744753"/>
                </a:lnTo>
                <a:lnTo>
                  <a:pt x="481013" y="752300"/>
                </a:lnTo>
                <a:lnTo>
                  <a:pt x="486966" y="759846"/>
                </a:lnTo>
                <a:lnTo>
                  <a:pt x="492125" y="768188"/>
                </a:lnTo>
                <a:lnTo>
                  <a:pt x="502047" y="783281"/>
                </a:lnTo>
                <a:lnTo>
                  <a:pt x="506413" y="790034"/>
                </a:lnTo>
                <a:lnTo>
                  <a:pt x="510778" y="795992"/>
                </a:lnTo>
                <a:lnTo>
                  <a:pt x="515541" y="800361"/>
                </a:lnTo>
                <a:lnTo>
                  <a:pt x="517525" y="802744"/>
                </a:lnTo>
                <a:lnTo>
                  <a:pt x="519510" y="803936"/>
                </a:lnTo>
                <a:lnTo>
                  <a:pt x="525860" y="807511"/>
                </a:lnTo>
                <a:lnTo>
                  <a:pt x="531416" y="811483"/>
                </a:lnTo>
                <a:lnTo>
                  <a:pt x="536972" y="815852"/>
                </a:lnTo>
                <a:lnTo>
                  <a:pt x="541735" y="819427"/>
                </a:lnTo>
                <a:lnTo>
                  <a:pt x="550466" y="827371"/>
                </a:lnTo>
                <a:lnTo>
                  <a:pt x="558006" y="834917"/>
                </a:lnTo>
                <a:lnTo>
                  <a:pt x="564356" y="843259"/>
                </a:lnTo>
                <a:lnTo>
                  <a:pt x="569516" y="850806"/>
                </a:lnTo>
                <a:lnTo>
                  <a:pt x="573881" y="858352"/>
                </a:lnTo>
                <a:lnTo>
                  <a:pt x="577850" y="865899"/>
                </a:lnTo>
                <a:lnTo>
                  <a:pt x="584597" y="879404"/>
                </a:lnTo>
                <a:lnTo>
                  <a:pt x="587375" y="885759"/>
                </a:lnTo>
                <a:lnTo>
                  <a:pt x="590550" y="891717"/>
                </a:lnTo>
                <a:lnTo>
                  <a:pt x="594122" y="896881"/>
                </a:lnTo>
                <a:lnTo>
                  <a:pt x="598091" y="901250"/>
                </a:lnTo>
                <a:lnTo>
                  <a:pt x="602456" y="905619"/>
                </a:lnTo>
                <a:lnTo>
                  <a:pt x="604838" y="907208"/>
                </a:lnTo>
                <a:lnTo>
                  <a:pt x="607616" y="908797"/>
                </a:lnTo>
                <a:lnTo>
                  <a:pt x="613569" y="912372"/>
                </a:lnTo>
                <a:lnTo>
                  <a:pt x="618728" y="915549"/>
                </a:lnTo>
                <a:lnTo>
                  <a:pt x="624285" y="919124"/>
                </a:lnTo>
                <a:lnTo>
                  <a:pt x="629047" y="922699"/>
                </a:lnTo>
                <a:lnTo>
                  <a:pt x="633413" y="926274"/>
                </a:lnTo>
                <a:lnTo>
                  <a:pt x="637778" y="929849"/>
                </a:lnTo>
                <a:lnTo>
                  <a:pt x="645319" y="938190"/>
                </a:lnTo>
                <a:lnTo>
                  <a:pt x="651669" y="946134"/>
                </a:lnTo>
                <a:lnTo>
                  <a:pt x="657622" y="954078"/>
                </a:lnTo>
                <a:lnTo>
                  <a:pt x="661988" y="962022"/>
                </a:lnTo>
                <a:lnTo>
                  <a:pt x="665956" y="969966"/>
                </a:lnTo>
                <a:lnTo>
                  <a:pt x="669528" y="977116"/>
                </a:lnTo>
                <a:lnTo>
                  <a:pt x="671910" y="983868"/>
                </a:lnTo>
                <a:lnTo>
                  <a:pt x="673894" y="990223"/>
                </a:lnTo>
                <a:lnTo>
                  <a:pt x="675085" y="995784"/>
                </a:lnTo>
                <a:lnTo>
                  <a:pt x="677069" y="1003331"/>
                </a:lnTo>
                <a:lnTo>
                  <a:pt x="677466" y="1006509"/>
                </a:lnTo>
                <a:lnTo>
                  <a:pt x="681038" y="1008892"/>
                </a:lnTo>
                <a:lnTo>
                  <a:pt x="691356" y="1016439"/>
                </a:lnTo>
                <a:lnTo>
                  <a:pt x="698103" y="1021999"/>
                </a:lnTo>
                <a:lnTo>
                  <a:pt x="705644" y="1028752"/>
                </a:lnTo>
                <a:lnTo>
                  <a:pt x="713185" y="1036299"/>
                </a:lnTo>
                <a:lnTo>
                  <a:pt x="721519" y="1045037"/>
                </a:lnTo>
                <a:lnTo>
                  <a:pt x="729456" y="1055364"/>
                </a:lnTo>
                <a:lnTo>
                  <a:pt x="733425" y="1060925"/>
                </a:lnTo>
                <a:lnTo>
                  <a:pt x="737394" y="1066486"/>
                </a:lnTo>
                <a:lnTo>
                  <a:pt x="740966" y="1072047"/>
                </a:lnTo>
                <a:lnTo>
                  <a:pt x="744538" y="1078005"/>
                </a:lnTo>
                <a:lnTo>
                  <a:pt x="747316" y="1084757"/>
                </a:lnTo>
                <a:lnTo>
                  <a:pt x="750094" y="1091112"/>
                </a:lnTo>
                <a:lnTo>
                  <a:pt x="753269" y="1097865"/>
                </a:lnTo>
                <a:lnTo>
                  <a:pt x="755253" y="1105014"/>
                </a:lnTo>
                <a:lnTo>
                  <a:pt x="757635" y="1112164"/>
                </a:lnTo>
                <a:lnTo>
                  <a:pt x="759222" y="1120108"/>
                </a:lnTo>
                <a:lnTo>
                  <a:pt x="760016" y="1128052"/>
                </a:lnTo>
                <a:lnTo>
                  <a:pt x="760810" y="1135599"/>
                </a:lnTo>
                <a:lnTo>
                  <a:pt x="760810" y="1143940"/>
                </a:lnTo>
                <a:lnTo>
                  <a:pt x="760413" y="1152281"/>
                </a:lnTo>
                <a:lnTo>
                  <a:pt x="760016" y="1157048"/>
                </a:lnTo>
                <a:lnTo>
                  <a:pt x="759222" y="1162211"/>
                </a:lnTo>
                <a:lnTo>
                  <a:pt x="756841" y="1171347"/>
                </a:lnTo>
                <a:lnTo>
                  <a:pt x="753666" y="1181277"/>
                </a:lnTo>
                <a:lnTo>
                  <a:pt x="749697" y="1190016"/>
                </a:lnTo>
                <a:lnTo>
                  <a:pt x="744935" y="1199151"/>
                </a:lnTo>
                <a:lnTo>
                  <a:pt x="739378" y="1207492"/>
                </a:lnTo>
                <a:lnTo>
                  <a:pt x="733028" y="1216628"/>
                </a:lnTo>
                <a:lnTo>
                  <a:pt x="726281" y="1224572"/>
                </a:lnTo>
                <a:lnTo>
                  <a:pt x="864394" y="1334200"/>
                </a:lnTo>
                <a:lnTo>
                  <a:pt x="871538" y="1340158"/>
                </a:lnTo>
                <a:lnTo>
                  <a:pt x="871935" y="1340555"/>
                </a:lnTo>
                <a:lnTo>
                  <a:pt x="872728" y="1340555"/>
                </a:lnTo>
                <a:lnTo>
                  <a:pt x="891381" y="1356046"/>
                </a:lnTo>
                <a:lnTo>
                  <a:pt x="908050" y="1369153"/>
                </a:lnTo>
                <a:lnTo>
                  <a:pt x="915194" y="1374317"/>
                </a:lnTo>
                <a:lnTo>
                  <a:pt x="921941" y="1379083"/>
                </a:lnTo>
                <a:lnTo>
                  <a:pt x="927894" y="1382658"/>
                </a:lnTo>
                <a:lnTo>
                  <a:pt x="933847" y="1386233"/>
                </a:lnTo>
                <a:lnTo>
                  <a:pt x="939006" y="1388219"/>
                </a:lnTo>
                <a:lnTo>
                  <a:pt x="944563" y="1389808"/>
                </a:lnTo>
                <a:lnTo>
                  <a:pt x="949722" y="1390205"/>
                </a:lnTo>
                <a:lnTo>
                  <a:pt x="954881" y="1390205"/>
                </a:lnTo>
                <a:lnTo>
                  <a:pt x="960041" y="1389411"/>
                </a:lnTo>
                <a:lnTo>
                  <a:pt x="965200" y="1387822"/>
                </a:lnTo>
                <a:lnTo>
                  <a:pt x="971153" y="1385041"/>
                </a:lnTo>
                <a:lnTo>
                  <a:pt x="977106" y="1381467"/>
                </a:lnTo>
                <a:lnTo>
                  <a:pt x="983456" y="1376700"/>
                </a:lnTo>
                <a:lnTo>
                  <a:pt x="990203" y="1371934"/>
                </a:lnTo>
                <a:lnTo>
                  <a:pt x="994966" y="1367962"/>
                </a:lnTo>
                <a:lnTo>
                  <a:pt x="998538" y="1364387"/>
                </a:lnTo>
                <a:lnTo>
                  <a:pt x="1002506" y="1360415"/>
                </a:lnTo>
                <a:lnTo>
                  <a:pt x="1005285" y="1356443"/>
                </a:lnTo>
                <a:lnTo>
                  <a:pt x="1008063" y="1353265"/>
                </a:lnTo>
                <a:lnTo>
                  <a:pt x="1009650" y="1349691"/>
                </a:lnTo>
                <a:lnTo>
                  <a:pt x="1010841" y="1346513"/>
                </a:lnTo>
                <a:lnTo>
                  <a:pt x="1011238" y="1343732"/>
                </a:lnTo>
                <a:lnTo>
                  <a:pt x="1011238" y="1341746"/>
                </a:lnTo>
                <a:lnTo>
                  <a:pt x="1010841" y="1339760"/>
                </a:lnTo>
                <a:lnTo>
                  <a:pt x="1009650" y="1336980"/>
                </a:lnTo>
                <a:lnTo>
                  <a:pt x="1008460" y="1334994"/>
                </a:lnTo>
                <a:lnTo>
                  <a:pt x="1007269" y="1334200"/>
                </a:lnTo>
                <a:lnTo>
                  <a:pt x="972344" y="1296466"/>
                </a:lnTo>
                <a:lnTo>
                  <a:pt x="846138" y="1173333"/>
                </a:lnTo>
                <a:lnTo>
                  <a:pt x="843756" y="1170950"/>
                </a:lnTo>
                <a:lnTo>
                  <a:pt x="841772" y="1168169"/>
                </a:lnTo>
                <a:lnTo>
                  <a:pt x="839788" y="1164992"/>
                </a:lnTo>
                <a:lnTo>
                  <a:pt x="838200" y="1162211"/>
                </a:lnTo>
                <a:lnTo>
                  <a:pt x="837010" y="1158637"/>
                </a:lnTo>
                <a:lnTo>
                  <a:pt x="836216" y="1155856"/>
                </a:lnTo>
                <a:lnTo>
                  <a:pt x="835819" y="1152281"/>
                </a:lnTo>
                <a:lnTo>
                  <a:pt x="835422" y="1149104"/>
                </a:lnTo>
                <a:lnTo>
                  <a:pt x="835819" y="1145529"/>
                </a:lnTo>
                <a:lnTo>
                  <a:pt x="836216" y="1142351"/>
                </a:lnTo>
                <a:lnTo>
                  <a:pt x="836613" y="1138777"/>
                </a:lnTo>
                <a:lnTo>
                  <a:pt x="837803" y="1135996"/>
                </a:lnTo>
                <a:lnTo>
                  <a:pt x="839391" y="1132421"/>
                </a:lnTo>
                <a:lnTo>
                  <a:pt x="840978" y="1129641"/>
                </a:lnTo>
                <a:lnTo>
                  <a:pt x="842963" y="1126861"/>
                </a:lnTo>
                <a:lnTo>
                  <a:pt x="845741" y="1124080"/>
                </a:lnTo>
                <a:lnTo>
                  <a:pt x="848122" y="1121697"/>
                </a:lnTo>
                <a:lnTo>
                  <a:pt x="850900" y="1119314"/>
                </a:lnTo>
                <a:lnTo>
                  <a:pt x="854075" y="1117725"/>
                </a:lnTo>
                <a:lnTo>
                  <a:pt x="856853" y="1116136"/>
                </a:lnTo>
                <a:lnTo>
                  <a:pt x="860028" y="1115342"/>
                </a:lnTo>
                <a:lnTo>
                  <a:pt x="863203" y="1114547"/>
                </a:lnTo>
                <a:lnTo>
                  <a:pt x="866775" y="1113753"/>
                </a:lnTo>
                <a:lnTo>
                  <a:pt x="869950" y="1113753"/>
                </a:lnTo>
                <a:lnTo>
                  <a:pt x="873522" y="1113753"/>
                </a:lnTo>
                <a:lnTo>
                  <a:pt x="876697" y="1114150"/>
                </a:lnTo>
                <a:lnTo>
                  <a:pt x="879872" y="1114944"/>
                </a:lnTo>
                <a:lnTo>
                  <a:pt x="883047" y="1116136"/>
                </a:lnTo>
                <a:lnTo>
                  <a:pt x="886222" y="1117328"/>
                </a:lnTo>
                <a:lnTo>
                  <a:pt x="889000" y="1118916"/>
                </a:lnTo>
                <a:lnTo>
                  <a:pt x="891778" y="1121300"/>
                </a:lnTo>
                <a:lnTo>
                  <a:pt x="894953" y="1123286"/>
                </a:lnTo>
                <a:lnTo>
                  <a:pt x="1063625" y="1287330"/>
                </a:lnTo>
                <a:lnTo>
                  <a:pt x="1063625" y="1286933"/>
                </a:lnTo>
                <a:lnTo>
                  <a:pt x="1071563" y="1294877"/>
                </a:lnTo>
                <a:lnTo>
                  <a:pt x="1073944" y="1298054"/>
                </a:lnTo>
                <a:lnTo>
                  <a:pt x="1092200" y="1315531"/>
                </a:lnTo>
                <a:lnTo>
                  <a:pt x="1110060" y="1332611"/>
                </a:lnTo>
                <a:lnTo>
                  <a:pt x="1117203" y="1339760"/>
                </a:lnTo>
                <a:lnTo>
                  <a:pt x="1123950" y="1345718"/>
                </a:lnTo>
                <a:lnTo>
                  <a:pt x="1130300" y="1350485"/>
                </a:lnTo>
                <a:lnTo>
                  <a:pt x="1135460" y="1354060"/>
                </a:lnTo>
                <a:lnTo>
                  <a:pt x="1141016" y="1356443"/>
                </a:lnTo>
                <a:lnTo>
                  <a:pt x="1145778" y="1358429"/>
                </a:lnTo>
                <a:lnTo>
                  <a:pt x="1150938" y="1359223"/>
                </a:lnTo>
                <a:lnTo>
                  <a:pt x="1155303" y="1358826"/>
                </a:lnTo>
                <a:lnTo>
                  <a:pt x="1160066" y="1357635"/>
                </a:lnTo>
                <a:lnTo>
                  <a:pt x="1164828" y="1354854"/>
                </a:lnTo>
                <a:lnTo>
                  <a:pt x="1169591" y="1351677"/>
                </a:lnTo>
                <a:lnTo>
                  <a:pt x="1175147" y="1347307"/>
                </a:lnTo>
                <a:lnTo>
                  <a:pt x="1181100" y="1341746"/>
                </a:lnTo>
                <a:lnTo>
                  <a:pt x="1187847" y="1335788"/>
                </a:lnTo>
                <a:lnTo>
                  <a:pt x="1193403" y="1330228"/>
                </a:lnTo>
                <a:lnTo>
                  <a:pt x="1198166" y="1324667"/>
                </a:lnTo>
                <a:lnTo>
                  <a:pt x="1201738" y="1319106"/>
                </a:lnTo>
                <a:lnTo>
                  <a:pt x="1205310" y="1313942"/>
                </a:lnTo>
                <a:lnTo>
                  <a:pt x="1207294" y="1309176"/>
                </a:lnTo>
                <a:lnTo>
                  <a:pt x="1209278" y="1304807"/>
                </a:lnTo>
                <a:lnTo>
                  <a:pt x="1210469" y="1300835"/>
                </a:lnTo>
                <a:lnTo>
                  <a:pt x="1211263" y="1297260"/>
                </a:lnTo>
                <a:lnTo>
                  <a:pt x="1211660" y="1293288"/>
                </a:lnTo>
                <a:lnTo>
                  <a:pt x="1211660" y="1290507"/>
                </a:lnTo>
                <a:lnTo>
                  <a:pt x="1211263" y="1287330"/>
                </a:lnTo>
                <a:lnTo>
                  <a:pt x="1210072" y="1284947"/>
                </a:lnTo>
                <a:lnTo>
                  <a:pt x="1208485" y="1280180"/>
                </a:lnTo>
                <a:lnTo>
                  <a:pt x="1206897" y="1277400"/>
                </a:lnTo>
                <a:lnTo>
                  <a:pt x="1161653" y="1233310"/>
                </a:lnTo>
                <a:lnTo>
                  <a:pt x="1159272" y="1230530"/>
                </a:lnTo>
                <a:lnTo>
                  <a:pt x="1156494" y="1227352"/>
                </a:lnTo>
                <a:lnTo>
                  <a:pt x="1154906" y="1224175"/>
                </a:lnTo>
                <a:lnTo>
                  <a:pt x="1153319" y="1220600"/>
                </a:lnTo>
                <a:lnTo>
                  <a:pt x="927894" y="1004920"/>
                </a:lnTo>
                <a:lnTo>
                  <a:pt x="925116" y="1002139"/>
                </a:lnTo>
                <a:lnTo>
                  <a:pt x="923131" y="999359"/>
                </a:lnTo>
                <a:lnTo>
                  <a:pt x="921544" y="996181"/>
                </a:lnTo>
                <a:lnTo>
                  <a:pt x="919560" y="993401"/>
                </a:lnTo>
                <a:lnTo>
                  <a:pt x="918369" y="989826"/>
                </a:lnTo>
                <a:lnTo>
                  <a:pt x="917575" y="986648"/>
                </a:lnTo>
                <a:lnTo>
                  <a:pt x="917178" y="983074"/>
                </a:lnTo>
                <a:lnTo>
                  <a:pt x="916781" y="979896"/>
                </a:lnTo>
                <a:lnTo>
                  <a:pt x="916781" y="976321"/>
                </a:lnTo>
                <a:lnTo>
                  <a:pt x="917178" y="973144"/>
                </a:lnTo>
                <a:lnTo>
                  <a:pt x="917972" y="969569"/>
                </a:lnTo>
                <a:lnTo>
                  <a:pt x="919163" y="966391"/>
                </a:lnTo>
                <a:lnTo>
                  <a:pt x="920750" y="962816"/>
                </a:lnTo>
                <a:lnTo>
                  <a:pt x="922338" y="960036"/>
                </a:lnTo>
                <a:lnTo>
                  <a:pt x="924322" y="956858"/>
                </a:lnTo>
                <a:lnTo>
                  <a:pt x="927100" y="954078"/>
                </a:lnTo>
                <a:lnTo>
                  <a:pt x="929481" y="952092"/>
                </a:lnTo>
                <a:lnTo>
                  <a:pt x="932260" y="949311"/>
                </a:lnTo>
                <a:lnTo>
                  <a:pt x="935435" y="947723"/>
                </a:lnTo>
                <a:lnTo>
                  <a:pt x="938213" y="946134"/>
                </a:lnTo>
                <a:lnTo>
                  <a:pt x="941785" y="944942"/>
                </a:lnTo>
                <a:lnTo>
                  <a:pt x="944960" y="944148"/>
                </a:lnTo>
                <a:lnTo>
                  <a:pt x="948531" y="943353"/>
                </a:lnTo>
                <a:lnTo>
                  <a:pt x="951706" y="942956"/>
                </a:lnTo>
                <a:lnTo>
                  <a:pt x="955278" y="942956"/>
                </a:lnTo>
                <a:lnTo>
                  <a:pt x="958453" y="943353"/>
                </a:lnTo>
                <a:lnTo>
                  <a:pt x="962025" y="944545"/>
                </a:lnTo>
                <a:lnTo>
                  <a:pt x="965200" y="945737"/>
                </a:lnTo>
                <a:lnTo>
                  <a:pt x="968772" y="946928"/>
                </a:lnTo>
                <a:lnTo>
                  <a:pt x="971550" y="948517"/>
                </a:lnTo>
                <a:lnTo>
                  <a:pt x="974725" y="950900"/>
                </a:lnTo>
                <a:lnTo>
                  <a:pt x="977503" y="953284"/>
                </a:lnTo>
                <a:lnTo>
                  <a:pt x="1214041" y="1179291"/>
                </a:lnTo>
                <a:lnTo>
                  <a:pt x="1216819" y="1182469"/>
                </a:lnTo>
                <a:lnTo>
                  <a:pt x="1235472" y="1199946"/>
                </a:lnTo>
                <a:lnTo>
                  <a:pt x="1254125" y="1217422"/>
                </a:lnTo>
                <a:lnTo>
                  <a:pt x="1262063" y="1224572"/>
                </a:lnTo>
                <a:lnTo>
                  <a:pt x="1268810" y="1230530"/>
                </a:lnTo>
                <a:lnTo>
                  <a:pt x="1275556" y="1235694"/>
                </a:lnTo>
                <a:lnTo>
                  <a:pt x="1281510" y="1239269"/>
                </a:lnTo>
                <a:lnTo>
                  <a:pt x="1287066" y="1242049"/>
                </a:lnTo>
                <a:lnTo>
                  <a:pt x="1292622" y="1244035"/>
                </a:lnTo>
                <a:lnTo>
                  <a:pt x="1297385" y="1244432"/>
                </a:lnTo>
                <a:lnTo>
                  <a:pt x="1299766" y="1244432"/>
                </a:lnTo>
                <a:lnTo>
                  <a:pt x="1302147" y="1244035"/>
                </a:lnTo>
                <a:lnTo>
                  <a:pt x="1307306" y="1242843"/>
                </a:lnTo>
                <a:lnTo>
                  <a:pt x="1312863" y="1240063"/>
                </a:lnTo>
                <a:lnTo>
                  <a:pt x="1317625" y="1236885"/>
                </a:lnTo>
                <a:lnTo>
                  <a:pt x="1323578" y="1232516"/>
                </a:lnTo>
                <a:lnTo>
                  <a:pt x="1329928" y="1226955"/>
                </a:lnTo>
                <a:lnTo>
                  <a:pt x="1336675" y="1220600"/>
                </a:lnTo>
                <a:lnTo>
                  <a:pt x="1343422" y="1213848"/>
                </a:lnTo>
                <a:lnTo>
                  <a:pt x="1348978" y="1207492"/>
                </a:lnTo>
                <a:lnTo>
                  <a:pt x="1352947" y="1201932"/>
                </a:lnTo>
                <a:lnTo>
                  <a:pt x="1356122" y="1196371"/>
                </a:lnTo>
                <a:lnTo>
                  <a:pt x="1358503" y="1191207"/>
                </a:lnTo>
                <a:lnTo>
                  <a:pt x="1360488" y="1186044"/>
                </a:lnTo>
                <a:lnTo>
                  <a:pt x="1361281" y="1182072"/>
                </a:lnTo>
                <a:lnTo>
                  <a:pt x="1361678" y="1178099"/>
                </a:lnTo>
                <a:lnTo>
                  <a:pt x="1361281" y="1174922"/>
                </a:lnTo>
                <a:lnTo>
                  <a:pt x="1360885" y="1171744"/>
                </a:lnTo>
                <a:lnTo>
                  <a:pt x="1359694" y="1168964"/>
                </a:lnTo>
                <a:lnTo>
                  <a:pt x="1359297" y="1166581"/>
                </a:lnTo>
                <a:lnTo>
                  <a:pt x="1357710" y="1164197"/>
                </a:lnTo>
                <a:lnTo>
                  <a:pt x="1356916" y="1163006"/>
                </a:lnTo>
                <a:lnTo>
                  <a:pt x="1309688" y="1118519"/>
                </a:lnTo>
                <a:lnTo>
                  <a:pt x="1307703" y="1116533"/>
                </a:lnTo>
                <a:lnTo>
                  <a:pt x="1306116" y="1114150"/>
                </a:lnTo>
                <a:lnTo>
                  <a:pt x="1302544" y="1108986"/>
                </a:lnTo>
                <a:lnTo>
                  <a:pt x="1299369" y="1105412"/>
                </a:lnTo>
                <a:lnTo>
                  <a:pt x="1279128" y="1084757"/>
                </a:lnTo>
                <a:lnTo>
                  <a:pt x="1278335" y="1084360"/>
                </a:lnTo>
                <a:lnTo>
                  <a:pt x="1048941" y="854778"/>
                </a:lnTo>
                <a:lnTo>
                  <a:pt x="1046163" y="851997"/>
                </a:lnTo>
                <a:lnTo>
                  <a:pt x="1044178" y="849217"/>
                </a:lnTo>
                <a:lnTo>
                  <a:pt x="1042591" y="846039"/>
                </a:lnTo>
                <a:lnTo>
                  <a:pt x="1041003" y="843259"/>
                </a:lnTo>
                <a:lnTo>
                  <a:pt x="1039813" y="839684"/>
                </a:lnTo>
                <a:lnTo>
                  <a:pt x="1039019" y="836506"/>
                </a:lnTo>
                <a:lnTo>
                  <a:pt x="1038622" y="832931"/>
                </a:lnTo>
                <a:lnTo>
                  <a:pt x="1038622" y="829754"/>
                </a:lnTo>
                <a:lnTo>
                  <a:pt x="1038622" y="826179"/>
                </a:lnTo>
                <a:lnTo>
                  <a:pt x="1039019" y="823001"/>
                </a:lnTo>
                <a:lnTo>
                  <a:pt x="1039813" y="819427"/>
                </a:lnTo>
                <a:lnTo>
                  <a:pt x="1041003" y="816249"/>
                </a:lnTo>
                <a:lnTo>
                  <a:pt x="1042591" y="813071"/>
                </a:lnTo>
                <a:lnTo>
                  <a:pt x="1044178" y="810291"/>
                </a:lnTo>
                <a:lnTo>
                  <a:pt x="1046163" y="807113"/>
                </a:lnTo>
                <a:lnTo>
                  <a:pt x="1048941" y="804730"/>
                </a:lnTo>
                <a:lnTo>
                  <a:pt x="1051719" y="802347"/>
                </a:lnTo>
                <a:lnTo>
                  <a:pt x="1054100" y="799964"/>
                </a:lnTo>
                <a:lnTo>
                  <a:pt x="1057672" y="798375"/>
                </a:lnTo>
                <a:lnTo>
                  <a:pt x="1060450" y="796786"/>
                </a:lnTo>
                <a:lnTo>
                  <a:pt x="1064022" y="795595"/>
                </a:lnTo>
                <a:lnTo>
                  <a:pt x="1067197" y="794800"/>
                </a:lnTo>
                <a:lnTo>
                  <a:pt x="1070769" y="794006"/>
                </a:lnTo>
                <a:lnTo>
                  <a:pt x="1073944" y="794006"/>
                </a:lnTo>
                <a:lnTo>
                  <a:pt x="1077516" y="794006"/>
                </a:lnTo>
                <a:lnTo>
                  <a:pt x="1080691" y="794800"/>
                </a:lnTo>
                <a:lnTo>
                  <a:pt x="1084263" y="795595"/>
                </a:lnTo>
                <a:lnTo>
                  <a:pt x="1087041" y="796786"/>
                </a:lnTo>
                <a:lnTo>
                  <a:pt x="1090613" y="798375"/>
                </a:lnTo>
                <a:lnTo>
                  <a:pt x="1093391" y="799964"/>
                </a:lnTo>
                <a:lnTo>
                  <a:pt x="1096566" y="802347"/>
                </a:lnTo>
                <a:lnTo>
                  <a:pt x="1098947" y="804730"/>
                </a:lnTo>
                <a:lnTo>
                  <a:pt x="1328738" y="1034313"/>
                </a:lnTo>
                <a:lnTo>
                  <a:pt x="1331119" y="1037093"/>
                </a:lnTo>
                <a:lnTo>
                  <a:pt x="1349375" y="1055364"/>
                </a:lnTo>
                <a:lnTo>
                  <a:pt x="1364456" y="1070061"/>
                </a:lnTo>
                <a:lnTo>
                  <a:pt x="1371600" y="1076813"/>
                </a:lnTo>
                <a:lnTo>
                  <a:pt x="1378347" y="1083168"/>
                </a:lnTo>
                <a:lnTo>
                  <a:pt x="1385094" y="1088729"/>
                </a:lnTo>
                <a:lnTo>
                  <a:pt x="1391444" y="1093496"/>
                </a:lnTo>
                <a:lnTo>
                  <a:pt x="1397397" y="1096673"/>
                </a:lnTo>
                <a:lnTo>
                  <a:pt x="1400175" y="1097865"/>
                </a:lnTo>
                <a:lnTo>
                  <a:pt x="1402953" y="1098659"/>
                </a:lnTo>
                <a:lnTo>
                  <a:pt x="1404541" y="1099056"/>
                </a:lnTo>
                <a:lnTo>
                  <a:pt x="1407716" y="1099851"/>
                </a:lnTo>
                <a:lnTo>
                  <a:pt x="1410891" y="1099056"/>
                </a:lnTo>
                <a:lnTo>
                  <a:pt x="1415653" y="1098262"/>
                </a:lnTo>
                <a:lnTo>
                  <a:pt x="1421210" y="1095879"/>
                </a:lnTo>
                <a:lnTo>
                  <a:pt x="1424385" y="1093893"/>
                </a:lnTo>
                <a:lnTo>
                  <a:pt x="1427956" y="1091112"/>
                </a:lnTo>
                <a:lnTo>
                  <a:pt x="1431528" y="1088729"/>
                </a:lnTo>
                <a:lnTo>
                  <a:pt x="1435894" y="1084757"/>
                </a:lnTo>
                <a:lnTo>
                  <a:pt x="1440260" y="1081182"/>
                </a:lnTo>
                <a:lnTo>
                  <a:pt x="1445419" y="1076019"/>
                </a:lnTo>
                <a:lnTo>
                  <a:pt x="1452166" y="1068869"/>
                </a:lnTo>
                <a:lnTo>
                  <a:pt x="1457325" y="1062514"/>
                </a:lnTo>
                <a:lnTo>
                  <a:pt x="1461294" y="1056159"/>
                </a:lnTo>
                <a:lnTo>
                  <a:pt x="1464866" y="1050201"/>
                </a:lnTo>
                <a:lnTo>
                  <a:pt x="1466850" y="1044640"/>
                </a:lnTo>
                <a:lnTo>
                  <a:pt x="1468835" y="1039873"/>
                </a:lnTo>
                <a:lnTo>
                  <a:pt x="1469628" y="1035504"/>
                </a:lnTo>
                <a:lnTo>
                  <a:pt x="1470025" y="1031135"/>
                </a:lnTo>
                <a:lnTo>
                  <a:pt x="1469628" y="1027560"/>
                </a:lnTo>
                <a:lnTo>
                  <a:pt x="1469231" y="1024383"/>
                </a:lnTo>
                <a:lnTo>
                  <a:pt x="1468041" y="1021602"/>
                </a:lnTo>
                <a:lnTo>
                  <a:pt x="1467247" y="1019616"/>
                </a:lnTo>
                <a:lnTo>
                  <a:pt x="1465660" y="1016041"/>
                </a:lnTo>
                <a:lnTo>
                  <a:pt x="1464866" y="1015247"/>
                </a:lnTo>
                <a:lnTo>
                  <a:pt x="1419225" y="969966"/>
                </a:lnTo>
                <a:lnTo>
                  <a:pt x="1416844" y="967583"/>
                </a:lnTo>
                <a:lnTo>
                  <a:pt x="1414860" y="964802"/>
                </a:lnTo>
                <a:lnTo>
                  <a:pt x="1412478" y="961625"/>
                </a:lnTo>
                <a:lnTo>
                  <a:pt x="1411288" y="958447"/>
                </a:lnTo>
                <a:lnTo>
                  <a:pt x="1410097" y="955270"/>
                </a:lnTo>
                <a:lnTo>
                  <a:pt x="1409303" y="952092"/>
                </a:lnTo>
                <a:lnTo>
                  <a:pt x="1408906" y="948517"/>
                </a:lnTo>
                <a:lnTo>
                  <a:pt x="1408510" y="945339"/>
                </a:lnTo>
                <a:lnTo>
                  <a:pt x="1408906" y="941765"/>
                </a:lnTo>
                <a:lnTo>
                  <a:pt x="1409303" y="938587"/>
                </a:lnTo>
                <a:lnTo>
                  <a:pt x="1410097" y="935012"/>
                </a:lnTo>
                <a:lnTo>
                  <a:pt x="1410891" y="931835"/>
                </a:lnTo>
                <a:lnTo>
                  <a:pt x="1412478" y="928657"/>
                </a:lnTo>
                <a:lnTo>
                  <a:pt x="1414463" y="925479"/>
                </a:lnTo>
                <a:lnTo>
                  <a:pt x="1416447" y="922302"/>
                </a:lnTo>
                <a:lnTo>
                  <a:pt x="1418828" y="919919"/>
                </a:lnTo>
                <a:lnTo>
                  <a:pt x="1421606" y="917535"/>
                </a:lnTo>
                <a:lnTo>
                  <a:pt x="1424385" y="915152"/>
                </a:lnTo>
                <a:lnTo>
                  <a:pt x="1427163" y="913563"/>
                </a:lnTo>
                <a:lnTo>
                  <a:pt x="1430338" y="911975"/>
                </a:lnTo>
                <a:lnTo>
                  <a:pt x="1433513" y="910783"/>
                </a:lnTo>
                <a:lnTo>
                  <a:pt x="1437085" y="909989"/>
                </a:lnTo>
                <a:lnTo>
                  <a:pt x="1440260" y="909194"/>
                </a:lnTo>
                <a:lnTo>
                  <a:pt x="1443831" y="909194"/>
                </a:lnTo>
                <a:lnTo>
                  <a:pt x="1447006" y="909194"/>
                </a:lnTo>
                <a:lnTo>
                  <a:pt x="1450578" y="909989"/>
                </a:lnTo>
                <a:lnTo>
                  <a:pt x="1453753" y="910783"/>
                </a:lnTo>
                <a:lnTo>
                  <a:pt x="1457325" y="911975"/>
                </a:lnTo>
                <a:lnTo>
                  <a:pt x="1460103" y="913166"/>
                </a:lnTo>
                <a:lnTo>
                  <a:pt x="1463278" y="914755"/>
                </a:lnTo>
                <a:lnTo>
                  <a:pt x="1466056" y="917138"/>
                </a:lnTo>
                <a:lnTo>
                  <a:pt x="1469231" y="919521"/>
                </a:lnTo>
                <a:lnTo>
                  <a:pt x="1516460" y="966391"/>
                </a:lnTo>
                <a:lnTo>
                  <a:pt x="1520825" y="971952"/>
                </a:lnTo>
                <a:lnTo>
                  <a:pt x="1525191" y="978307"/>
                </a:lnTo>
                <a:lnTo>
                  <a:pt x="1528763" y="985060"/>
                </a:lnTo>
                <a:lnTo>
                  <a:pt x="1532731" y="993004"/>
                </a:lnTo>
                <a:lnTo>
                  <a:pt x="1535510" y="1001345"/>
                </a:lnTo>
                <a:lnTo>
                  <a:pt x="1538288" y="1010481"/>
                </a:lnTo>
                <a:lnTo>
                  <a:pt x="1539875" y="1020411"/>
                </a:lnTo>
                <a:lnTo>
                  <a:pt x="1540272" y="1025574"/>
                </a:lnTo>
                <a:lnTo>
                  <a:pt x="1540272" y="1030738"/>
                </a:lnTo>
                <a:lnTo>
                  <a:pt x="1540272" y="1035901"/>
                </a:lnTo>
                <a:lnTo>
                  <a:pt x="1539875" y="1041462"/>
                </a:lnTo>
                <a:lnTo>
                  <a:pt x="1539478" y="1047023"/>
                </a:lnTo>
                <a:lnTo>
                  <a:pt x="1538685" y="1052981"/>
                </a:lnTo>
                <a:lnTo>
                  <a:pt x="1537494" y="1058145"/>
                </a:lnTo>
                <a:lnTo>
                  <a:pt x="1535510" y="1064103"/>
                </a:lnTo>
                <a:lnTo>
                  <a:pt x="1533525" y="1070061"/>
                </a:lnTo>
                <a:lnTo>
                  <a:pt x="1531144" y="1076416"/>
                </a:lnTo>
                <a:lnTo>
                  <a:pt x="1527969" y="1082374"/>
                </a:lnTo>
                <a:lnTo>
                  <a:pt x="1525191" y="1088729"/>
                </a:lnTo>
                <a:lnTo>
                  <a:pt x="1521222" y="1094687"/>
                </a:lnTo>
                <a:lnTo>
                  <a:pt x="1517253" y="1101042"/>
                </a:lnTo>
                <a:lnTo>
                  <a:pt x="1512491" y="1107398"/>
                </a:lnTo>
                <a:lnTo>
                  <a:pt x="1507331" y="1113753"/>
                </a:lnTo>
                <a:lnTo>
                  <a:pt x="1501775" y="1120108"/>
                </a:lnTo>
                <a:lnTo>
                  <a:pt x="1495822" y="1126066"/>
                </a:lnTo>
                <a:lnTo>
                  <a:pt x="1485900" y="1135599"/>
                </a:lnTo>
                <a:lnTo>
                  <a:pt x="1479550" y="1141160"/>
                </a:lnTo>
                <a:lnTo>
                  <a:pt x="1472010" y="1147118"/>
                </a:lnTo>
                <a:lnTo>
                  <a:pt x="1463675" y="1152679"/>
                </a:lnTo>
                <a:lnTo>
                  <a:pt x="1453753" y="1158239"/>
                </a:lnTo>
                <a:lnTo>
                  <a:pt x="1448991" y="1161020"/>
                </a:lnTo>
                <a:lnTo>
                  <a:pt x="1443435" y="1163403"/>
                </a:lnTo>
                <a:lnTo>
                  <a:pt x="1437878" y="1165389"/>
                </a:lnTo>
                <a:lnTo>
                  <a:pt x="1432322" y="1166978"/>
                </a:lnTo>
                <a:lnTo>
                  <a:pt x="1432719" y="1172539"/>
                </a:lnTo>
                <a:lnTo>
                  <a:pt x="1432719" y="1178497"/>
                </a:lnTo>
                <a:lnTo>
                  <a:pt x="1432719" y="1184852"/>
                </a:lnTo>
                <a:lnTo>
                  <a:pt x="1432322" y="1190810"/>
                </a:lnTo>
                <a:lnTo>
                  <a:pt x="1431131" y="1197165"/>
                </a:lnTo>
                <a:lnTo>
                  <a:pt x="1429941" y="1203520"/>
                </a:lnTo>
                <a:lnTo>
                  <a:pt x="1427956" y="1210273"/>
                </a:lnTo>
                <a:lnTo>
                  <a:pt x="1425575" y="1217025"/>
                </a:lnTo>
                <a:lnTo>
                  <a:pt x="1422797" y="1223778"/>
                </a:lnTo>
                <a:lnTo>
                  <a:pt x="1419225" y="1230530"/>
                </a:lnTo>
                <a:lnTo>
                  <a:pt x="1415653" y="1237283"/>
                </a:lnTo>
                <a:lnTo>
                  <a:pt x="1410891" y="1244432"/>
                </a:lnTo>
                <a:lnTo>
                  <a:pt x="1405731" y="1251185"/>
                </a:lnTo>
                <a:lnTo>
                  <a:pt x="1399778" y="1258334"/>
                </a:lnTo>
                <a:lnTo>
                  <a:pt x="1393428" y="1265484"/>
                </a:lnTo>
                <a:lnTo>
                  <a:pt x="1386285" y="1272633"/>
                </a:lnTo>
                <a:lnTo>
                  <a:pt x="1379935" y="1278194"/>
                </a:lnTo>
                <a:lnTo>
                  <a:pt x="1374378" y="1283755"/>
                </a:lnTo>
                <a:lnTo>
                  <a:pt x="1368028" y="1288124"/>
                </a:lnTo>
                <a:lnTo>
                  <a:pt x="1362075" y="1292891"/>
                </a:lnTo>
                <a:lnTo>
                  <a:pt x="1356519" y="1296863"/>
                </a:lnTo>
                <a:lnTo>
                  <a:pt x="1350566" y="1300040"/>
                </a:lnTo>
                <a:lnTo>
                  <a:pt x="1345010" y="1303615"/>
                </a:lnTo>
                <a:lnTo>
                  <a:pt x="1339453" y="1305998"/>
                </a:lnTo>
                <a:lnTo>
                  <a:pt x="1334294" y="1308382"/>
                </a:lnTo>
                <a:lnTo>
                  <a:pt x="1328738" y="1310765"/>
                </a:lnTo>
                <a:lnTo>
                  <a:pt x="1323181" y="1312354"/>
                </a:lnTo>
                <a:lnTo>
                  <a:pt x="1318022" y="1313545"/>
                </a:lnTo>
                <a:lnTo>
                  <a:pt x="1312863" y="1314737"/>
                </a:lnTo>
                <a:lnTo>
                  <a:pt x="1307703" y="1315134"/>
                </a:lnTo>
                <a:lnTo>
                  <a:pt x="1302544" y="1315531"/>
                </a:lnTo>
                <a:lnTo>
                  <a:pt x="1297781" y="1315928"/>
                </a:lnTo>
                <a:lnTo>
                  <a:pt x="1293019" y="1315531"/>
                </a:lnTo>
                <a:lnTo>
                  <a:pt x="1288256" y="1315134"/>
                </a:lnTo>
                <a:lnTo>
                  <a:pt x="1279128" y="1313545"/>
                </a:lnTo>
                <a:lnTo>
                  <a:pt x="1276747" y="1322284"/>
                </a:lnTo>
                <a:lnTo>
                  <a:pt x="1273969" y="1331022"/>
                </a:lnTo>
                <a:lnTo>
                  <a:pt x="1270000" y="1339760"/>
                </a:lnTo>
                <a:lnTo>
                  <a:pt x="1265635" y="1348499"/>
                </a:lnTo>
                <a:lnTo>
                  <a:pt x="1260078" y="1358032"/>
                </a:lnTo>
                <a:lnTo>
                  <a:pt x="1253331" y="1366770"/>
                </a:lnTo>
                <a:lnTo>
                  <a:pt x="1245394" y="1375906"/>
                </a:lnTo>
                <a:lnTo>
                  <a:pt x="1236266" y="1385439"/>
                </a:lnTo>
                <a:lnTo>
                  <a:pt x="1230313" y="1391397"/>
                </a:lnTo>
                <a:lnTo>
                  <a:pt x="1224756" y="1396163"/>
                </a:lnTo>
                <a:lnTo>
                  <a:pt x="1219200" y="1401327"/>
                </a:lnTo>
                <a:lnTo>
                  <a:pt x="1213247" y="1405696"/>
                </a:lnTo>
                <a:lnTo>
                  <a:pt x="1207691" y="1409271"/>
                </a:lnTo>
                <a:lnTo>
                  <a:pt x="1202135" y="1413243"/>
                </a:lnTo>
                <a:lnTo>
                  <a:pt x="1196578" y="1416023"/>
                </a:lnTo>
                <a:lnTo>
                  <a:pt x="1191419" y="1419201"/>
                </a:lnTo>
                <a:lnTo>
                  <a:pt x="1185863" y="1421584"/>
                </a:lnTo>
                <a:lnTo>
                  <a:pt x="1180703" y="1423173"/>
                </a:lnTo>
                <a:lnTo>
                  <a:pt x="1175544" y="1425159"/>
                </a:lnTo>
                <a:lnTo>
                  <a:pt x="1170781" y="1426748"/>
                </a:lnTo>
                <a:lnTo>
                  <a:pt x="1165622" y="1427542"/>
                </a:lnTo>
                <a:lnTo>
                  <a:pt x="1160463" y="1428336"/>
                </a:lnTo>
                <a:lnTo>
                  <a:pt x="1155700" y="1428734"/>
                </a:lnTo>
                <a:lnTo>
                  <a:pt x="1150938" y="1428734"/>
                </a:lnTo>
                <a:lnTo>
                  <a:pt x="1144588" y="1428734"/>
                </a:lnTo>
                <a:lnTo>
                  <a:pt x="1137841" y="1427939"/>
                </a:lnTo>
                <a:lnTo>
                  <a:pt x="1131491" y="1426748"/>
                </a:lnTo>
                <a:lnTo>
                  <a:pt x="1125538" y="1425159"/>
                </a:lnTo>
                <a:lnTo>
                  <a:pt x="1119188" y="1422776"/>
                </a:lnTo>
                <a:lnTo>
                  <a:pt x="1113235" y="1420392"/>
                </a:lnTo>
                <a:lnTo>
                  <a:pt x="1107281" y="1417215"/>
                </a:lnTo>
                <a:lnTo>
                  <a:pt x="1101725" y="1414037"/>
                </a:lnTo>
                <a:lnTo>
                  <a:pt x="1096566" y="1410462"/>
                </a:lnTo>
                <a:lnTo>
                  <a:pt x="1090613" y="1406888"/>
                </a:lnTo>
                <a:lnTo>
                  <a:pt x="1079897" y="1398943"/>
                </a:lnTo>
                <a:lnTo>
                  <a:pt x="1069975" y="1390205"/>
                </a:lnTo>
                <a:lnTo>
                  <a:pt x="1059656" y="1381069"/>
                </a:lnTo>
                <a:lnTo>
                  <a:pt x="1056878" y="1385836"/>
                </a:lnTo>
                <a:lnTo>
                  <a:pt x="1053703" y="1390205"/>
                </a:lnTo>
                <a:lnTo>
                  <a:pt x="1050131" y="1394971"/>
                </a:lnTo>
                <a:lnTo>
                  <a:pt x="1046163" y="1399738"/>
                </a:lnTo>
                <a:lnTo>
                  <a:pt x="1042194" y="1404107"/>
                </a:lnTo>
                <a:lnTo>
                  <a:pt x="1037431" y="1408874"/>
                </a:lnTo>
                <a:lnTo>
                  <a:pt x="1032669" y="1413640"/>
                </a:lnTo>
                <a:lnTo>
                  <a:pt x="1027113" y="1417612"/>
                </a:lnTo>
                <a:lnTo>
                  <a:pt x="1016794" y="1425953"/>
                </a:lnTo>
                <a:lnTo>
                  <a:pt x="1006475" y="1432706"/>
                </a:lnTo>
                <a:lnTo>
                  <a:pt x="996553" y="1437869"/>
                </a:lnTo>
                <a:lnTo>
                  <a:pt x="986631" y="1442238"/>
                </a:lnTo>
                <a:lnTo>
                  <a:pt x="977503" y="1445813"/>
                </a:lnTo>
                <a:lnTo>
                  <a:pt x="968772" y="1447799"/>
                </a:lnTo>
                <a:lnTo>
                  <a:pt x="959644" y="1448991"/>
                </a:lnTo>
                <a:lnTo>
                  <a:pt x="950913" y="1449388"/>
                </a:lnTo>
                <a:lnTo>
                  <a:pt x="944166" y="1449388"/>
                </a:lnTo>
                <a:lnTo>
                  <a:pt x="937419" y="1448594"/>
                </a:lnTo>
                <a:lnTo>
                  <a:pt x="930672" y="1447402"/>
                </a:lnTo>
                <a:lnTo>
                  <a:pt x="923925" y="1445416"/>
                </a:lnTo>
                <a:lnTo>
                  <a:pt x="917575" y="1443033"/>
                </a:lnTo>
                <a:lnTo>
                  <a:pt x="911225" y="1440650"/>
                </a:lnTo>
                <a:lnTo>
                  <a:pt x="905272" y="1437472"/>
                </a:lnTo>
                <a:lnTo>
                  <a:pt x="898922" y="1434294"/>
                </a:lnTo>
                <a:lnTo>
                  <a:pt x="893366" y="1430720"/>
                </a:lnTo>
                <a:lnTo>
                  <a:pt x="887810" y="1427145"/>
                </a:lnTo>
                <a:lnTo>
                  <a:pt x="876300" y="1419201"/>
                </a:lnTo>
                <a:lnTo>
                  <a:pt x="865188" y="1410462"/>
                </a:lnTo>
                <a:lnTo>
                  <a:pt x="854472" y="1402121"/>
                </a:lnTo>
                <a:lnTo>
                  <a:pt x="837803" y="1388616"/>
                </a:lnTo>
                <a:lnTo>
                  <a:pt x="835422" y="1386630"/>
                </a:lnTo>
                <a:lnTo>
                  <a:pt x="681435" y="1264689"/>
                </a:lnTo>
                <a:lnTo>
                  <a:pt x="673497" y="1270647"/>
                </a:lnTo>
                <a:lnTo>
                  <a:pt x="665560" y="1275414"/>
                </a:lnTo>
                <a:lnTo>
                  <a:pt x="649685" y="1285741"/>
                </a:lnTo>
                <a:lnTo>
                  <a:pt x="633016" y="1294480"/>
                </a:lnTo>
                <a:lnTo>
                  <a:pt x="617538" y="1302026"/>
                </a:lnTo>
                <a:lnTo>
                  <a:pt x="602456" y="1308382"/>
                </a:lnTo>
                <a:lnTo>
                  <a:pt x="588963" y="1313148"/>
                </a:lnTo>
                <a:lnTo>
                  <a:pt x="576660" y="1317120"/>
                </a:lnTo>
                <a:lnTo>
                  <a:pt x="571103" y="1318312"/>
                </a:lnTo>
                <a:lnTo>
                  <a:pt x="565944" y="1319106"/>
                </a:lnTo>
                <a:lnTo>
                  <a:pt x="561975" y="1319503"/>
                </a:lnTo>
                <a:lnTo>
                  <a:pt x="557610" y="1319503"/>
                </a:lnTo>
                <a:lnTo>
                  <a:pt x="553641" y="1319106"/>
                </a:lnTo>
                <a:lnTo>
                  <a:pt x="550069" y="1318312"/>
                </a:lnTo>
                <a:lnTo>
                  <a:pt x="546497" y="1317517"/>
                </a:lnTo>
                <a:lnTo>
                  <a:pt x="543719" y="1315531"/>
                </a:lnTo>
                <a:lnTo>
                  <a:pt x="540941" y="1313942"/>
                </a:lnTo>
                <a:lnTo>
                  <a:pt x="538163" y="1312354"/>
                </a:lnTo>
                <a:lnTo>
                  <a:pt x="535781" y="1309970"/>
                </a:lnTo>
                <a:lnTo>
                  <a:pt x="533003" y="1307587"/>
                </a:lnTo>
                <a:lnTo>
                  <a:pt x="529431" y="1302026"/>
                </a:lnTo>
                <a:lnTo>
                  <a:pt x="525860" y="1296466"/>
                </a:lnTo>
                <a:lnTo>
                  <a:pt x="523478" y="1290507"/>
                </a:lnTo>
                <a:lnTo>
                  <a:pt x="521891" y="1284152"/>
                </a:lnTo>
                <a:lnTo>
                  <a:pt x="519906" y="1278194"/>
                </a:lnTo>
                <a:lnTo>
                  <a:pt x="518716" y="1272236"/>
                </a:lnTo>
                <a:lnTo>
                  <a:pt x="518319" y="1267073"/>
                </a:lnTo>
                <a:lnTo>
                  <a:pt x="517525" y="1259526"/>
                </a:lnTo>
                <a:lnTo>
                  <a:pt x="517525" y="1256745"/>
                </a:lnTo>
                <a:lnTo>
                  <a:pt x="517525" y="1255554"/>
                </a:lnTo>
                <a:lnTo>
                  <a:pt x="516731" y="1252376"/>
                </a:lnTo>
                <a:lnTo>
                  <a:pt x="515541" y="1248007"/>
                </a:lnTo>
                <a:lnTo>
                  <a:pt x="514350" y="1245624"/>
                </a:lnTo>
                <a:lnTo>
                  <a:pt x="512366" y="1243638"/>
                </a:lnTo>
                <a:lnTo>
                  <a:pt x="509985" y="1240857"/>
                </a:lnTo>
                <a:lnTo>
                  <a:pt x="507603" y="1239269"/>
                </a:lnTo>
                <a:lnTo>
                  <a:pt x="504031" y="1237283"/>
                </a:lnTo>
                <a:lnTo>
                  <a:pt x="499666" y="1236091"/>
                </a:lnTo>
                <a:lnTo>
                  <a:pt x="495300" y="1235296"/>
                </a:lnTo>
                <a:lnTo>
                  <a:pt x="489744" y="1234502"/>
                </a:lnTo>
                <a:lnTo>
                  <a:pt x="483394" y="1234502"/>
                </a:lnTo>
                <a:lnTo>
                  <a:pt x="475853" y="1235694"/>
                </a:lnTo>
                <a:lnTo>
                  <a:pt x="471884" y="1236091"/>
                </a:lnTo>
                <a:lnTo>
                  <a:pt x="467915" y="1235694"/>
                </a:lnTo>
                <a:lnTo>
                  <a:pt x="463947" y="1234105"/>
                </a:lnTo>
                <a:lnTo>
                  <a:pt x="459978" y="1232119"/>
                </a:lnTo>
                <a:lnTo>
                  <a:pt x="455612" y="1229736"/>
                </a:lnTo>
                <a:lnTo>
                  <a:pt x="451247" y="1226558"/>
                </a:lnTo>
                <a:lnTo>
                  <a:pt x="447278" y="1222983"/>
                </a:lnTo>
                <a:lnTo>
                  <a:pt x="442912" y="1219011"/>
                </a:lnTo>
                <a:lnTo>
                  <a:pt x="439340" y="1214245"/>
                </a:lnTo>
                <a:lnTo>
                  <a:pt x="434975" y="1209876"/>
                </a:lnTo>
                <a:lnTo>
                  <a:pt x="427037" y="1199151"/>
                </a:lnTo>
                <a:lnTo>
                  <a:pt x="419100" y="1187235"/>
                </a:lnTo>
                <a:lnTo>
                  <a:pt x="411559" y="1175716"/>
                </a:lnTo>
                <a:lnTo>
                  <a:pt x="404415" y="1163800"/>
                </a:lnTo>
                <a:lnTo>
                  <a:pt x="398065" y="1151884"/>
                </a:lnTo>
                <a:lnTo>
                  <a:pt x="388144" y="1130833"/>
                </a:lnTo>
                <a:lnTo>
                  <a:pt x="381000" y="1116136"/>
                </a:lnTo>
                <a:lnTo>
                  <a:pt x="379015" y="1110575"/>
                </a:lnTo>
                <a:lnTo>
                  <a:pt x="379015" y="1108589"/>
                </a:lnTo>
                <a:lnTo>
                  <a:pt x="379015" y="1102631"/>
                </a:lnTo>
                <a:lnTo>
                  <a:pt x="379015" y="1099056"/>
                </a:lnTo>
                <a:lnTo>
                  <a:pt x="378619" y="1094687"/>
                </a:lnTo>
                <a:lnTo>
                  <a:pt x="377428" y="1089921"/>
                </a:lnTo>
                <a:lnTo>
                  <a:pt x="375840" y="1085154"/>
                </a:lnTo>
                <a:lnTo>
                  <a:pt x="374253" y="1080388"/>
                </a:lnTo>
                <a:lnTo>
                  <a:pt x="371872" y="1075622"/>
                </a:lnTo>
                <a:lnTo>
                  <a:pt x="368300" y="1070855"/>
                </a:lnTo>
                <a:lnTo>
                  <a:pt x="363934" y="1066883"/>
                </a:lnTo>
                <a:lnTo>
                  <a:pt x="361553" y="1064500"/>
                </a:lnTo>
                <a:lnTo>
                  <a:pt x="359172" y="1062514"/>
                </a:lnTo>
                <a:lnTo>
                  <a:pt x="355997" y="1060925"/>
                </a:lnTo>
                <a:lnTo>
                  <a:pt x="352822" y="1059336"/>
                </a:lnTo>
                <a:lnTo>
                  <a:pt x="349250" y="1057747"/>
                </a:lnTo>
                <a:lnTo>
                  <a:pt x="345678" y="1056556"/>
                </a:lnTo>
                <a:lnTo>
                  <a:pt x="341312" y="1055761"/>
                </a:lnTo>
                <a:lnTo>
                  <a:pt x="336947" y="1054967"/>
                </a:lnTo>
                <a:lnTo>
                  <a:pt x="332581" y="1054173"/>
                </a:lnTo>
                <a:lnTo>
                  <a:pt x="328215" y="1052981"/>
                </a:lnTo>
                <a:lnTo>
                  <a:pt x="323453" y="1050598"/>
                </a:lnTo>
                <a:lnTo>
                  <a:pt x="319484" y="1048612"/>
                </a:lnTo>
                <a:lnTo>
                  <a:pt x="315119" y="1046229"/>
                </a:lnTo>
                <a:lnTo>
                  <a:pt x="311150" y="1043051"/>
                </a:lnTo>
                <a:lnTo>
                  <a:pt x="307181" y="1039476"/>
                </a:lnTo>
                <a:lnTo>
                  <a:pt x="303212" y="1035504"/>
                </a:lnTo>
                <a:lnTo>
                  <a:pt x="299640" y="1031532"/>
                </a:lnTo>
                <a:lnTo>
                  <a:pt x="295672" y="1027163"/>
                </a:lnTo>
                <a:lnTo>
                  <a:pt x="288528" y="1017233"/>
                </a:lnTo>
                <a:lnTo>
                  <a:pt x="281781" y="1006906"/>
                </a:lnTo>
                <a:lnTo>
                  <a:pt x="275431" y="994990"/>
                </a:lnTo>
                <a:lnTo>
                  <a:pt x="269081" y="982676"/>
                </a:lnTo>
                <a:lnTo>
                  <a:pt x="263922" y="969569"/>
                </a:lnTo>
                <a:lnTo>
                  <a:pt x="258762" y="956064"/>
                </a:lnTo>
                <a:lnTo>
                  <a:pt x="254000" y="942559"/>
                </a:lnTo>
                <a:lnTo>
                  <a:pt x="250031" y="928657"/>
                </a:lnTo>
                <a:lnTo>
                  <a:pt x="246062" y="914755"/>
                </a:lnTo>
                <a:lnTo>
                  <a:pt x="242887" y="901250"/>
                </a:lnTo>
                <a:lnTo>
                  <a:pt x="239712" y="888142"/>
                </a:lnTo>
                <a:lnTo>
                  <a:pt x="239315" y="884568"/>
                </a:lnTo>
                <a:lnTo>
                  <a:pt x="238919" y="880993"/>
                </a:lnTo>
                <a:lnTo>
                  <a:pt x="239315" y="877418"/>
                </a:lnTo>
                <a:lnTo>
                  <a:pt x="239712" y="873843"/>
                </a:lnTo>
                <a:lnTo>
                  <a:pt x="240109" y="870268"/>
                </a:lnTo>
                <a:lnTo>
                  <a:pt x="240903" y="866296"/>
                </a:lnTo>
                <a:lnTo>
                  <a:pt x="244078" y="859147"/>
                </a:lnTo>
                <a:lnTo>
                  <a:pt x="247253" y="851600"/>
                </a:lnTo>
                <a:lnTo>
                  <a:pt x="252015" y="844053"/>
                </a:lnTo>
                <a:lnTo>
                  <a:pt x="257572" y="836506"/>
                </a:lnTo>
                <a:lnTo>
                  <a:pt x="263525" y="828959"/>
                </a:lnTo>
                <a:lnTo>
                  <a:pt x="270272" y="821015"/>
                </a:lnTo>
                <a:lnTo>
                  <a:pt x="277415" y="813469"/>
                </a:lnTo>
                <a:lnTo>
                  <a:pt x="284956" y="806319"/>
                </a:lnTo>
                <a:lnTo>
                  <a:pt x="292894" y="799169"/>
                </a:lnTo>
                <a:lnTo>
                  <a:pt x="301228" y="792020"/>
                </a:lnTo>
                <a:lnTo>
                  <a:pt x="309562" y="784870"/>
                </a:lnTo>
                <a:lnTo>
                  <a:pt x="327422" y="771762"/>
                </a:lnTo>
                <a:lnTo>
                  <a:pt x="271065" y="641480"/>
                </a:lnTo>
                <a:lnTo>
                  <a:pt x="259953" y="660546"/>
                </a:lnTo>
                <a:lnTo>
                  <a:pt x="252015" y="674448"/>
                </a:lnTo>
                <a:lnTo>
                  <a:pt x="245665" y="687159"/>
                </a:lnTo>
                <a:lnTo>
                  <a:pt x="243681" y="690733"/>
                </a:lnTo>
                <a:lnTo>
                  <a:pt x="240903" y="694308"/>
                </a:lnTo>
                <a:lnTo>
                  <a:pt x="238125" y="697486"/>
                </a:lnTo>
                <a:lnTo>
                  <a:pt x="234950" y="700266"/>
                </a:lnTo>
                <a:lnTo>
                  <a:pt x="231378" y="702649"/>
                </a:lnTo>
                <a:lnTo>
                  <a:pt x="227409" y="704635"/>
                </a:lnTo>
                <a:lnTo>
                  <a:pt x="223837" y="705827"/>
                </a:lnTo>
                <a:lnTo>
                  <a:pt x="219472" y="707019"/>
                </a:lnTo>
                <a:lnTo>
                  <a:pt x="213519" y="707416"/>
                </a:lnTo>
                <a:lnTo>
                  <a:pt x="209947" y="707416"/>
                </a:lnTo>
                <a:lnTo>
                  <a:pt x="206375" y="707019"/>
                </a:lnTo>
                <a:lnTo>
                  <a:pt x="203200" y="705827"/>
                </a:lnTo>
                <a:lnTo>
                  <a:pt x="199628" y="704635"/>
                </a:lnTo>
                <a:lnTo>
                  <a:pt x="196850" y="703047"/>
                </a:lnTo>
                <a:lnTo>
                  <a:pt x="193675" y="701458"/>
                </a:lnTo>
                <a:lnTo>
                  <a:pt x="190897" y="699075"/>
                </a:lnTo>
                <a:lnTo>
                  <a:pt x="188119" y="696691"/>
                </a:lnTo>
                <a:lnTo>
                  <a:pt x="9922" y="515568"/>
                </a:lnTo>
                <a:lnTo>
                  <a:pt x="7937" y="513184"/>
                </a:lnTo>
                <a:lnTo>
                  <a:pt x="5953" y="510801"/>
                </a:lnTo>
                <a:lnTo>
                  <a:pt x="3969" y="508021"/>
                </a:lnTo>
                <a:lnTo>
                  <a:pt x="2778" y="505240"/>
                </a:lnTo>
                <a:lnTo>
                  <a:pt x="1587" y="502063"/>
                </a:lnTo>
                <a:lnTo>
                  <a:pt x="794" y="499282"/>
                </a:lnTo>
                <a:lnTo>
                  <a:pt x="397" y="496105"/>
                </a:lnTo>
                <a:lnTo>
                  <a:pt x="0" y="493324"/>
                </a:lnTo>
                <a:lnTo>
                  <a:pt x="0" y="490147"/>
                </a:lnTo>
                <a:lnTo>
                  <a:pt x="0" y="486969"/>
                </a:lnTo>
                <a:lnTo>
                  <a:pt x="397" y="484189"/>
                </a:lnTo>
                <a:lnTo>
                  <a:pt x="1190" y="481011"/>
                </a:lnTo>
                <a:lnTo>
                  <a:pt x="1984" y="477833"/>
                </a:lnTo>
                <a:lnTo>
                  <a:pt x="3175" y="475053"/>
                </a:lnTo>
                <a:lnTo>
                  <a:pt x="4762" y="472273"/>
                </a:lnTo>
                <a:lnTo>
                  <a:pt x="7144" y="469889"/>
                </a:lnTo>
                <a:lnTo>
                  <a:pt x="12700" y="461548"/>
                </a:lnTo>
                <a:lnTo>
                  <a:pt x="26987" y="444071"/>
                </a:lnTo>
                <a:lnTo>
                  <a:pt x="48419" y="417062"/>
                </a:lnTo>
                <a:lnTo>
                  <a:pt x="76597" y="382902"/>
                </a:lnTo>
                <a:lnTo>
                  <a:pt x="92869" y="363439"/>
                </a:lnTo>
                <a:lnTo>
                  <a:pt x="111125" y="342785"/>
                </a:lnTo>
                <a:lnTo>
                  <a:pt x="130572" y="320939"/>
                </a:lnTo>
                <a:lnTo>
                  <a:pt x="151209" y="297901"/>
                </a:lnTo>
                <a:lnTo>
                  <a:pt x="173037" y="274069"/>
                </a:lnTo>
                <a:lnTo>
                  <a:pt x="196453" y="249840"/>
                </a:lnTo>
                <a:lnTo>
                  <a:pt x="220265" y="224816"/>
                </a:lnTo>
                <a:lnTo>
                  <a:pt x="245269" y="200190"/>
                </a:lnTo>
                <a:lnTo>
                  <a:pt x="258365" y="187479"/>
                </a:lnTo>
                <a:lnTo>
                  <a:pt x="271462" y="175166"/>
                </a:lnTo>
                <a:lnTo>
                  <a:pt x="284162" y="163647"/>
                </a:lnTo>
                <a:lnTo>
                  <a:pt x="297259" y="152525"/>
                </a:lnTo>
                <a:lnTo>
                  <a:pt x="321865" y="131474"/>
                </a:lnTo>
                <a:lnTo>
                  <a:pt x="346472" y="112011"/>
                </a:lnTo>
                <a:lnTo>
                  <a:pt x="369887" y="94137"/>
                </a:lnTo>
                <a:lnTo>
                  <a:pt x="392906" y="78646"/>
                </a:lnTo>
                <a:lnTo>
                  <a:pt x="413940" y="64347"/>
                </a:lnTo>
                <a:lnTo>
                  <a:pt x="434181" y="51239"/>
                </a:lnTo>
                <a:lnTo>
                  <a:pt x="452040" y="40117"/>
                </a:lnTo>
                <a:lnTo>
                  <a:pt x="469106" y="30584"/>
                </a:lnTo>
                <a:lnTo>
                  <a:pt x="483791" y="22640"/>
                </a:lnTo>
                <a:lnTo>
                  <a:pt x="496491" y="15888"/>
                </a:lnTo>
                <a:lnTo>
                  <a:pt x="514747" y="6752"/>
                </a:lnTo>
                <a:lnTo>
                  <a:pt x="522685" y="3178"/>
                </a:lnTo>
                <a:lnTo>
                  <a:pt x="527447" y="1192"/>
                </a:lnTo>
                <a:lnTo>
                  <a:pt x="532606" y="397"/>
                </a:lnTo>
                <a:lnTo>
                  <a:pt x="5377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64" grpId="0"/>
      <p:bldP spid="9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共赢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WIN-WIN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24" name="标题 15"/>
          <p:cNvSpPr txBox="1"/>
          <p:nvPr/>
        </p:nvSpPr>
        <p:spPr>
          <a:xfrm flipH="1">
            <a:off x="-1788" y="0"/>
            <a:ext cx="47505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51" name="Freeform 12"/>
          <p:cNvSpPr/>
          <p:nvPr>
            <p:custDataLst>
              <p:tags r:id="rId1"/>
            </p:custDataLst>
          </p:nvPr>
        </p:nvSpPr>
        <p:spPr bwMode="auto">
          <a:xfrm>
            <a:off x="1684338" y="1652588"/>
            <a:ext cx="550863" cy="1101725"/>
          </a:xfrm>
          <a:custGeom>
            <a:avLst/>
            <a:gdLst>
              <a:gd name="T0" fmla="*/ 776 w 776"/>
              <a:gd name="T1" fmla="*/ 1553 h 1553"/>
              <a:gd name="T2" fmla="*/ 0 w 776"/>
              <a:gd name="T3" fmla="*/ 777 h 1553"/>
              <a:gd name="T4" fmla="*/ 776 w 776"/>
              <a:gd name="T5" fmla="*/ 0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76" h="1553">
                <a:moveTo>
                  <a:pt x="776" y="1553"/>
                </a:moveTo>
                <a:cubicBezTo>
                  <a:pt x="348" y="1553"/>
                  <a:pt x="0" y="1205"/>
                  <a:pt x="0" y="777"/>
                </a:cubicBezTo>
                <a:cubicBezTo>
                  <a:pt x="0" y="348"/>
                  <a:pt x="348" y="0"/>
                  <a:pt x="776" y="0"/>
                </a:cubicBezTo>
              </a:path>
            </a:pathLst>
          </a:custGeom>
          <a:noFill/>
          <a:ln w="12700" cap="flat">
            <a:solidFill>
              <a:schemeClr val="tx1">
                <a:lumMod val="50000"/>
                <a:lumOff val="50000"/>
                <a:alpha val="50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Oval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87525" y="1749425"/>
            <a:ext cx="895350" cy="901700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Freeform 16"/>
          <p:cNvSpPr/>
          <p:nvPr>
            <p:custDataLst>
              <p:tags r:id="rId3"/>
            </p:custDataLst>
          </p:nvPr>
        </p:nvSpPr>
        <p:spPr bwMode="auto">
          <a:xfrm>
            <a:off x="10436860" y="3195003"/>
            <a:ext cx="550863" cy="1108075"/>
          </a:xfrm>
          <a:custGeom>
            <a:avLst/>
            <a:gdLst>
              <a:gd name="T0" fmla="*/ 0 w 776"/>
              <a:gd name="T1" fmla="*/ 0 h 1553"/>
              <a:gd name="T2" fmla="*/ 776 w 776"/>
              <a:gd name="T3" fmla="*/ 776 h 1553"/>
              <a:gd name="T4" fmla="*/ 0 w 776"/>
              <a:gd name="T5" fmla="*/ 1553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76" h="1553">
                <a:moveTo>
                  <a:pt x="0" y="0"/>
                </a:moveTo>
                <a:cubicBezTo>
                  <a:pt x="428" y="0"/>
                  <a:pt x="776" y="348"/>
                  <a:pt x="776" y="776"/>
                </a:cubicBezTo>
                <a:cubicBezTo>
                  <a:pt x="776" y="1205"/>
                  <a:pt x="428" y="1553"/>
                  <a:pt x="0" y="1553"/>
                </a:cubicBezTo>
              </a:path>
            </a:pathLst>
          </a:custGeom>
          <a:noFill/>
          <a:ln w="12700" cap="flat">
            <a:solidFill>
              <a:schemeClr val="accent4">
                <a:alpha val="50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Oval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989185" y="3298190"/>
            <a:ext cx="901700" cy="901700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4"/>
            </a:solidFill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Freeform 12"/>
          <p:cNvSpPr/>
          <p:nvPr>
            <p:custDataLst>
              <p:tags r:id="rId5"/>
            </p:custDataLst>
          </p:nvPr>
        </p:nvSpPr>
        <p:spPr bwMode="auto">
          <a:xfrm>
            <a:off x="1787525" y="4879023"/>
            <a:ext cx="549275" cy="1101725"/>
          </a:xfrm>
          <a:custGeom>
            <a:avLst/>
            <a:gdLst>
              <a:gd name="T0" fmla="*/ 776 w 776"/>
              <a:gd name="T1" fmla="*/ 1553 h 1553"/>
              <a:gd name="T2" fmla="*/ 0 w 776"/>
              <a:gd name="T3" fmla="*/ 777 h 1553"/>
              <a:gd name="T4" fmla="*/ 776 w 776"/>
              <a:gd name="T5" fmla="*/ 0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76" h="1553">
                <a:moveTo>
                  <a:pt x="776" y="1553"/>
                </a:moveTo>
                <a:cubicBezTo>
                  <a:pt x="348" y="1553"/>
                  <a:pt x="0" y="1205"/>
                  <a:pt x="0" y="777"/>
                </a:cubicBezTo>
                <a:cubicBezTo>
                  <a:pt x="0" y="348"/>
                  <a:pt x="348" y="0"/>
                  <a:pt x="776" y="0"/>
                </a:cubicBezTo>
              </a:path>
            </a:pathLst>
          </a:custGeom>
          <a:noFill/>
          <a:ln w="12700" cap="flat">
            <a:solidFill>
              <a:schemeClr val="tx1">
                <a:lumMod val="50000"/>
                <a:lumOff val="50000"/>
                <a:alpha val="50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Oval 1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89125" y="4975860"/>
            <a:ext cx="895350" cy="901700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23"/>
          <p:cNvSpPr txBox="1"/>
          <p:nvPr>
            <p:custDataLst>
              <p:tags r:id="rId7"/>
            </p:custDataLst>
          </p:nvPr>
        </p:nvSpPr>
        <p:spPr>
          <a:xfrm>
            <a:off x="2825115" y="1945005"/>
            <a:ext cx="819086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rPr>
              <a:t>租赁土地，自行建设厂房和生活用房。</a:t>
            </a:r>
            <a:endParaRPr lang="zh-CN" altLang="en-US" sz="24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  <a:p>
            <a:pPr algn="l">
              <a:lnSpc>
                <a:spcPct val="100000"/>
              </a:lnSpc>
              <a:buClrTx/>
              <a:buSzTx/>
              <a:buFontTx/>
              <a:buNone/>
            </a:pPr>
            <a:r>
              <a:rPr lang="zh-CN" altLang="en-US" sz="2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lt"/>
              </a:rPr>
              <a:t>租赁年限：10年租期、20年租期、30年租期、40年租期等。</a:t>
            </a:r>
            <a:endParaRPr lang="zh-CN" altLang="en-US" sz="24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4" name="TextBox 24"/>
          <p:cNvSpPr txBox="1"/>
          <p:nvPr>
            <p:custDataLst>
              <p:tags r:id="rId8"/>
            </p:custDataLst>
          </p:nvPr>
        </p:nvSpPr>
        <p:spPr>
          <a:xfrm>
            <a:off x="2825244" y="1437291"/>
            <a:ext cx="1402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租地建厂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23"/>
          <p:cNvSpPr txBox="1"/>
          <p:nvPr>
            <p:custDataLst>
              <p:tags r:id="rId9"/>
            </p:custDataLst>
          </p:nvPr>
        </p:nvSpPr>
        <p:spPr>
          <a:xfrm>
            <a:off x="2929255" y="5009515"/>
            <a:ext cx="781431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ea"/>
              </a:rPr>
              <a:t>根据与尼日利亚出口加工区管理局（NEPZA)签署的协议，入园企业需按照企业出口额的一定比例缴纳管理费用。</a:t>
            </a:r>
            <a:endParaRPr lang="zh-CN" altLang="en-US" sz="24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7" name="TextBox 24"/>
          <p:cNvSpPr txBox="1"/>
          <p:nvPr>
            <p:custDataLst>
              <p:tags r:id="rId10"/>
            </p:custDataLst>
          </p:nvPr>
        </p:nvSpPr>
        <p:spPr>
          <a:xfrm>
            <a:off x="2951609" y="4650391"/>
            <a:ext cx="20116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区管理费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23"/>
          <p:cNvSpPr txBox="1"/>
          <p:nvPr>
            <p:custDataLst>
              <p:tags r:id="rId11"/>
            </p:custDataLst>
          </p:nvPr>
        </p:nvSpPr>
        <p:spPr>
          <a:xfrm>
            <a:off x="3094990" y="3542030"/>
            <a:ext cx="677291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rPr>
              <a:t>租赁合作区现成厂房/仓库，直接进场运营。</a:t>
            </a:r>
            <a:endParaRPr lang="zh-CN" altLang="en-US" sz="24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9" name="TextBox 24"/>
          <p:cNvSpPr txBox="1"/>
          <p:nvPr>
            <p:custDataLst>
              <p:tags r:id="rId12"/>
            </p:custDataLst>
          </p:nvPr>
        </p:nvSpPr>
        <p:spPr>
          <a:xfrm>
            <a:off x="7712204" y="3160046"/>
            <a:ext cx="215582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租厂房</a:t>
            </a:r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租仓库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houses_112521"/>
          <p:cNvSpPr/>
          <p:nvPr>
            <p:custDataLst>
              <p:tags r:id="rId13"/>
            </p:custDataLst>
          </p:nvPr>
        </p:nvSpPr>
        <p:spPr>
          <a:xfrm>
            <a:off x="10127615" y="3396615"/>
            <a:ext cx="638175" cy="647700"/>
          </a:xfrm>
          <a:custGeom>
            <a:avLst/>
            <a:gdLst>
              <a:gd name="connsiteX0" fmla="*/ 345243 w 609332"/>
              <a:gd name="connsiteY0" fmla="*/ 467056 h 603742"/>
              <a:gd name="connsiteX1" fmla="*/ 313466 w 609332"/>
              <a:gd name="connsiteY1" fmla="*/ 498884 h 603742"/>
              <a:gd name="connsiteX2" fmla="*/ 313466 w 609332"/>
              <a:gd name="connsiteY2" fmla="*/ 534130 h 603742"/>
              <a:gd name="connsiteX3" fmla="*/ 345243 w 609332"/>
              <a:gd name="connsiteY3" fmla="*/ 565860 h 603742"/>
              <a:gd name="connsiteX4" fmla="*/ 380637 w 609332"/>
              <a:gd name="connsiteY4" fmla="*/ 565860 h 603742"/>
              <a:gd name="connsiteX5" fmla="*/ 412414 w 609332"/>
              <a:gd name="connsiteY5" fmla="*/ 534130 h 603742"/>
              <a:gd name="connsiteX6" fmla="*/ 412414 w 609332"/>
              <a:gd name="connsiteY6" fmla="*/ 498884 h 603742"/>
              <a:gd name="connsiteX7" fmla="*/ 380637 w 609332"/>
              <a:gd name="connsiteY7" fmla="*/ 467056 h 603742"/>
              <a:gd name="connsiteX8" fmla="*/ 207478 w 609332"/>
              <a:gd name="connsiteY8" fmla="*/ 467056 h 603742"/>
              <a:gd name="connsiteX9" fmla="*/ 175701 w 609332"/>
              <a:gd name="connsiteY9" fmla="*/ 498884 h 603742"/>
              <a:gd name="connsiteX10" fmla="*/ 175701 w 609332"/>
              <a:gd name="connsiteY10" fmla="*/ 534130 h 603742"/>
              <a:gd name="connsiteX11" fmla="*/ 207478 w 609332"/>
              <a:gd name="connsiteY11" fmla="*/ 565860 h 603742"/>
              <a:gd name="connsiteX12" fmla="*/ 242872 w 609332"/>
              <a:gd name="connsiteY12" fmla="*/ 565860 h 603742"/>
              <a:gd name="connsiteX13" fmla="*/ 274649 w 609332"/>
              <a:gd name="connsiteY13" fmla="*/ 534130 h 603742"/>
              <a:gd name="connsiteX14" fmla="*/ 274649 w 609332"/>
              <a:gd name="connsiteY14" fmla="*/ 498884 h 603742"/>
              <a:gd name="connsiteX15" fmla="*/ 242872 w 609332"/>
              <a:gd name="connsiteY15" fmla="*/ 467056 h 603742"/>
              <a:gd name="connsiteX16" fmla="*/ 69713 w 609332"/>
              <a:gd name="connsiteY16" fmla="*/ 467056 h 603742"/>
              <a:gd name="connsiteX17" fmla="*/ 37937 w 609332"/>
              <a:gd name="connsiteY17" fmla="*/ 498884 h 603742"/>
              <a:gd name="connsiteX18" fmla="*/ 37937 w 609332"/>
              <a:gd name="connsiteY18" fmla="*/ 534130 h 603742"/>
              <a:gd name="connsiteX19" fmla="*/ 69713 w 609332"/>
              <a:gd name="connsiteY19" fmla="*/ 565860 h 603742"/>
              <a:gd name="connsiteX20" fmla="*/ 105108 w 609332"/>
              <a:gd name="connsiteY20" fmla="*/ 565860 h 603742"/>
              <a:gd name="connsiteX21" fmla="*/ 136885 w 609332"/>
              <a:gd name="connsiteY21" fmla="*/ 534130 h 603742"/>
              <a:gd name="connsiteX22" fmla="*/ 136885 w 609332"/>
              <a:gd name="connsiteY22" fmla="*/ 498884 h 603742"/>
              <a:gd name="connsiteX23" fmla="*/ 105108 w 609332"/>
              <a:gd name="connsiteY23" fmla="*/ 467056 h 603742"/>
              <a:gd name="connsiteX24" fmla="*/ 478607 w 609332"/>
              <a:gd name="connsiteY24" fmla="*/ 132859 h 603742"/>
              <a:gd name="connsiteX25" fmla="*/ 577555 w 609332"/>
              <a:gd name="connsiteY25" fmla="*/ 132859 h 603742"/>
              <a:gd name="connsiteX26" fmla="*/ 609332 w 609332"/>
              <a:gd name="connsiteY26" fmla="*/ 469009 h 603742"/>
              <a:gd name="connsiteX27" fmla="*/ 609332 w 609332"/>
              <a:gd name="connsiteY27" fmla="*/ 603742 h 603742"/>
              <a:gd name="connsiteX28" fmla="*/ 446830 w 609332"/>
              <a:gd name="connsiteY28" fmla="*/ 603742 h 603742"/>
              <a:gd name="connsiteX29" fmla="*/ 386797 w 609332"/>
              <a:gd name="connsiteY29" fmla="*/ 603742 h 603742"/>
              <a:gd name="connsiteX30" fmla="*/ 0 w 609332"/>
              <a:gd name="connsiteY30" fmla="*/ 603742 h 603742"/>
              <a:gd name="connsiteX31" fmla="*/ 0 w 609332"/>
              <a:gd name="connsiteY31" fmla="*/ 349799 h 603742"/>
              <a:gd name="connsiteX32" fmla="*/ 150084 w 609332"/>
              <a:gd name="connsiteY32" fmla="*/ 273938 h 603742"/>
              <a:gd name="connsiteX33" fmla="*/ 150084 w 609332"/>
              <a:gd name="connsiteY33" fmla="*/ 348920 h 603742"/>
              <a:gd name="connsiteX34" fmla="*/ 298506 w 609332"/>
              <a:gd name="connsiteY34" fmla="*/ 273938 h 603742"/>
              <a:gd name="connsiteX35" fmla="*/ 298506 w 609332"/>
              <a:gd name="connsiteY35" fmla="*/ 348920 h 603742"/>
              <a:gd name="connsiteX36" fmla="*/ 446830 w 609332"/>
              <a:gd name="connsiteY36" fmla="*/ 273938 h 603742"/>
              <a:gd name="connsiteX37" fmla="*/ 446830 w 609332"/>
              <a:gd name="connsiteY37" fmla="*/ 349799 h 603742"/>
              <a:gd name="connsiteX38" fmla="*/ 446830 w 609332"/>
              <a:gd name="connsiteY38" fmla="*/ 469009 h 603742"/>
              <a:gd name="connsiteX39" fmla="*/ 238001 w 609332"/>
              <a:gd name="connsiteY39" fmla="*/ 0 h 603742"/>
              <a:gd name="connsiteX40" fmla="*/ 386789 w 609332"/>
              <a:gd name="connsiteY40" fmla="*/ 18744 h 603742"/>
              <a:gd name="connsiteX41" fmla="*/ 569109 w 609332"/>
              <a:gd name="connsiteY41" fmla="*/ 109925 h 603742"/>
              <a:gd name="connsiteX42" fmla="*/ 479073 w 609332"/>
              <a:gd name="connsiteY42" fmla="*/ 109925 h 603742"/>
              <a:gd name="connsiteX43" fmla="*/ 296754 w 609332"/>
              <a:gd name="connsiteY43" fmla="*/ 70290 h 603742"/>
              <a:gd name="connsiteX44" fmla="*/ 238001 w 609332"/>
              <a:gd name="connsiteY44" fmla="*/ 0 h 603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9332" h="603742">
                <a:moveTo>
                  <a:pt x="345243" y="467056"/>
                </a:moveTo>
                <a:cubicBezTo>
                  <a:pt x="327741" y="467056"/>
                  <a:pt x="313466" y="481310"/>
                  <a:pt x="313466" y="498884"/>
                </a:cubicBezTo>
                <a:lnTo>
                  <a:pt x="313466" y="534130"/>
                </a:lnTo>
                <a:cubicBezTo>
                  <a:pt x="313466" y="551606"/>
                  <a:pt x="327741" y="565860"/>
                  <a:pt x="345243" y="565860"/>
                </a:cubicBezTo>
                <a:lnTo>
                  <a:pt x="380637" y="565860"/>
                </a:lnTo>
                <a:cubicBezTo>
                  <a:pt x="398139" y="565860"/>
                  <a:pt x="412414" y="551606"/>
                  <a:pt x="412414" y="534130"/>
                </a:cubicBezTo>
                <a:lnTo>
                  <a:pt x="412414" y="498884"/>
                </a:lnTo>
                <a:cubicBezTo>
                  <a:pt x="412414" y="481310"/>
                  <a:pt x="398139" y="467056"/>
                  <a:pt x="380637" y="467056"/>
                </a:cubicBezTo>
                <a:close/>
                <a:moveTo>
                  <a:pt x="207478" y="467056"/>
                </a:moveTo>
                <a:cubicBezTo>
                  <a:pt x="189976" y="467056"/>
                  <a:pt x="175701" y="481310"/>
                  <a:pt x="175701" y="498884"/>
                </a:cubicBezTo>
                <a:lnTo>
                  <a:pt x="175701" y="534130"/>
                </a:lnTo>
                <a:cubicBezTo>
                  <a:pt x="175701" y="551606"/>
                  <a:pt x="189976" y="565860"/>
                  <a:pt x="207478" y="565860"/>
                </a:cubicBezTo>
                <a:lnTo>
                  <a:pt x="242872" y="565860"/>
                </a:lnTo>
                <a:cubicBezTo>
                  <a:pt x="260374" y="565860"/>
                  <a:pt x="274649" y="551606"/>
                  <a:pt x="274649" y="534130"/>
                </a:cubicBezTo>
                <a:lnTo>
                  <a:pt x="274649" y="498884"/>
                </a:lnTo>
                <a:cubicBezTo>
                  <a:pt x="274649" y="481310"/>
                  <a:pt x="260374" y="467056"/>
                  <a:pt x="242872" y="467056"/>
                </a:cubicBezTo>
                <a:close/>
                <a:moveTo>
                  <a:pt x="69713" y="467056"/>
                </a:moveTo>
                <a:cubicBezTo>
                  <a:pt x="52212" y="467056"/>
                  <a:pt x="37937" y="481310"/>
                  <a:pt x="37937" y="498884"/>
                </a:cubicBezTo>
                <a:lnTo>
                  <a:pt x="37937" y="534130"/>
                </a:lnTo>
                <a:cubicBezTo>
                  <a:pt x="37937" y="551606"/>
                  <a:pt x="52212" y="565860"/>
                  <a:pt x="69713" y="565860"/>
                </a:cubicBezTo>
                <a:lnTo>
                  <a:pt x="105108" y="565860"/>
                </a:lnTo>
                <a:cubicBezTo>
                  <a:pt x="122609" y="565860"/>
                  <a:pt x="136885" y="551606"/>
                  <a:pt x="136885" y="534130"/>
                </a:cubicBezTo>
                <a:lnTo>
                  <a:pt x="136885" y="498884"/>
                </a:lnTo>
                <a:cubicBezTo>
                  <a:pt x="136885" y="481310"/>
                  <a:pt x="122609" y="467056"/>
                  <a:pt x="105108" y="467056"/>
                </a:cubicBezTo>
                <a:close/>
                <a:moveTo>
                  <a:pt x="478607" y="132859"/>
                </a:moveTo>
                <a:lnTo>
                  <a:pt x="577555" y="132859"/>
                </a:lnTo>
                <a:lnTo>
                  <a:pt x="609332" y="469009"/>
                </a:lnTo>
                <a:lnTo>
                  <a:pt x="609332" y="603742"/>
                </a:lnTo>
                <a:lnTo>
                  <a:pt x="446830" y="603742"/>
                </a:lnTo>
                <a:lnTo>
                  <a:pt x="386797" y="603742"/>
                </a:lnTo>
                <a:lnTo>
                  <a:pt x="0" y="603742"/>
                </a:lnTo>
                <a:lnTo>
                  <a:pt x="0" y="349799"/>
                </a:lnTo>
                <a:lnTo>
                  <a:pt x="150084" y="273938"/>
                </a:lnTo>
                <a:lnTo>
                  <a:pt x="150084" y="348920"/>
                </a:lnTo>
                <a:lnTo>
                  <a:pt x="298506" y="273938"/>
                </a:lnTo>
                <a:lnTo>
                  <a:pt x="298506" y="348920"/>
                </a:lnTo>
                <a:lnTo>
                  <a:pt x="446830" y="273938"/>
                </a:lnTo>
                <a:lnTo>
                  <a:pt x="446830" y="349799"/>
                </a:lnTo>
                <a:lnTo>
                  <a:pt x="446830" y="469009"/>
                </a:lnTo>
                <a:close/>
                <a:moveTo>
                  <a:pt x="238001" y="0"/>
                </a:moveTo>
                <a:cubicBezTo>
                  <a:pt x="238001" y="0"/>
                  <a:pt x="219427" y="70290"/>
                  <a:pt x="386789" y="18744"/>
                </a:cubicBezTo>
                <a:cubicBezTo>
                  <a:pt x="554054" y="-32899"/>
                  <a:pt x="569109" y="109925"/>
                  <a:pt x="569109" y="109925"/>
                </a:cubicBezTo>
                <a:lnTo>
                  <a:pt x="479073" y="109925"/>
                </a:lnTo>
                <a:cubicBezTo>
                  <a:pt x="475065" y="55744"/>
                  <a:pt x="386300" y="80833"/>
                  <a:pt x="296754" y="70290"/>
                </a:cubicBezTo>
                <a:cubicBezTo>
                  <a:pt x="207109" y="59746"/>
                  <a:pt x="238001" y="0"/>
                  <a:pt x="238001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shovel-tool_46172"/>
          <p:cNvSpPr/>
          <p:nvPr>
            <p:custDataLst>
              <p:tags r:id="rId14"/>
            </p:custDataLst>
          </p:nvPr>
        </p:nvSpPr>
        <p:spPr>
          <a:xfrm>
            <a:off x="1911985" y="1873250"/>
            <a:ext cx="694690" cy="567055"/>
          </a:xfrm>
          <a:custGeom>
            <a:avLst/>
            <a:gdLst>
              <a:gd name="connsiteX0" fmla="*/ 489987 w 608838"/>
              <a:gd name="connsiteY0" fmla="*/ 488666 h 542366"/>
              <a:gd name="connsiteX1" fmla="*/ 520763 w 608838"/>
              <a:gd name="connsiteY1" fmla="*/ 488666 h 542366"/>
              <a:gd name="connsiteX2" fmla="*/ 558031 w 608838"/>
              <a:gd name="connsiteY2" fmla="*/ 542366 h 542366"/>
              <a:gd name="connsiteX3" fmla="*/ 449431 w 608838"/>
              <a:gd name="connsiteY3" fmla="*/ 542366 h 542366"/>
              <a:gd name="connsiteX4" fmla="*/ 487529 w 608838"/>
              <a:gd name="connsiteY4" fmla="*/ 317615 h 542366"/>
              <a:gd name="connsiteX5" fmla="*/ 522622 w 608838"/>
              <a:gd name="connsiteY5" fmla="*/ 327134 h 542366"/>
              <a:gd name="connsiteX6" fmla="*/ 608838 w 608838"/>
              <a:gd name="connsiteY6" fmla="*/ 542366 h 542366"/>
              <a:gd name="connsiteX7" fmla="*/ 571129 w 608838"/>
              <a:gd name="connsiteY7" fmla="*/ 542366 h 542366"/>
              <a:gd name="connsiteX8" fmla="*/ 526419 w 608838"/>
              <a:gd name="connsiteY8" fmla="*/ 477923 h 542366"/>
              <a:gd name="connsiteX9" fmla="*/ 484661 w 608838"/>
              <a:gd name="connsiteY9" fmla="*/ 477923 h 542366"/>
              <a:gd name="connsiteX10" fmla="*/ 435901 w 608838"/>
              <a:gd name="connsiteY10" fmla="*/ 542366 h 542366"/>
              <a:gd name="connsiteX11" fmla="*/ 324883 w 608838"/>
              <a:gd name="connsiteY11" fmla="*/ 542366 h 542366"/>
              <a:gd name="connsiteX12" fmla="*/ 419450 w 608838"/>
              <a:gd name="connsiteY12" fmla="*/ 370181 h 542366"/>
              <a:gd name="connsiteX13" fmla="*/ 446530 w 608838"/>
              <a:gd name="connsiteY13" fmla="*/ 381047 h 542366"/>
              <a:gd name="connsiteX14" fmla="*/ 53816 w 608838"/>
              <a:gd name="connsiteY14" fmla="*/ 225093 h 542366"/>
              <a:gd name="connsiteX15" fmla="*/ 32306 w 608838"/>
              <a:gd name="connsiteY15" fmla="*/ 244717 h 542366"/>
              <a:gd name="connsiteX16" fmla="*/ 32306 w 608838"/>
              <a:gd name="connsiteY16" fmla="*/ 269984 h 542366"/>
              <a:gd name="connsiteX17" fmla="*/ 53816 w 608838"/>
              <a:gd name="connsiteY17" fmla="*/ 274785 h 542366"/>
              <a:gd name="connsiteX18" fmla="*/ 92364 w 608838"/>
              <a:gd name="connsiteY18" fmla="*/ 84185 h 542366"/>
              <a:gd name="connsiteX19" fmla="*/ 205647 w 608838"/>
              <a:gd name="connsiteY19" fmla="*/ 99177 h 542366"/>
              <a:gd name="connsiteX20" fmla="*/ 160098 w 608838"/>
              <a:gd name="connsiteY20" fmla="*/ 152407 h 542366"/>
              <a:gd name="connsiteX21" fmla="*/ 166677 w 608838"/>
              <a:gd name="connsiteY21" fmla="*/ 170599 h 542366"/>
              <a:gd name="connsiteX22" fmla="*/ 204382 w 608838"/>
              <a:gd name="connsiteY22" fmla="*/ 172115 h 542366"/>
              <a:gd name="connsiteX23" fmla="*/ 216022 w 608838"/>
              <a:gd name="connsiteY23" fmla="*/ 274785 h 542366"/>
              <a:gd name="connsiteX24" fmla="*/ 231037 w 608838"/>
              <a:gd name="connsiteY24" fmla="*/ 328268 h 542366"/>
              <a:gd name="connsiteX25" fmla="*/ 194766 w 608838"/>
              <a:gd name="connsiteY25" fmla="*/ 307043 h 542366"/>
              <a:gd name="connsiteX26" fmla="*/ 185487 w 608838"/>
              <a:gd name="connsiteY26" fmla="*/ 283207 h 542366"/>
              <a:gd name="connsiteX27" fmla="*/ 179751 w 608838"/>
              <a:gd name="connsiteY27" fmla="*/ 234020 h 542366"/>
              <a:gd name="connsiteX28" fmla="*/ 166508 w 608838"/>
              <a:gd name="connsiteY28" fmla="*/ 287840 h 542366"/>
              <a:gd name="connsiteX29" fmla="*/ 173763 w 608838"/>
              <a:gd name="connsiteY29" fmla="*/ 313444 h 542366"/>
              <a:gd name="connsiteX30" fmla="*/ 309398 w 608838"/>
              <a:gd name="connsiteY30" fmla="*/ 390172 h 542366"/>
              <a:gd name="connsiteX31" fmla="*/ 330486 w 608838"/>
              <a:gd name="connsiteY31" fmla="*/ 353619 h 542366"/>
              <a:gd name="connsiteX32" fmla="*/ 381265 w 608838"/>
              <a:gd name="connsiteY32" fmla="*/ 382845 h 542366"/>
              <a:gd name="connsiteX33" fmla="*/ 327534 w 608838"/>
              <a:gd name="connsiteY33" fmla="*/ 475913 h 542366"/>
              <a:gd name="connsiteX34" fmla="*/ 276839 w 608838"/>
              <a:gd name="connsiteY34" fmla="*/ 446687 h 542366"/>
              <a:gd name="connsiteX35" fmla="*/ 298686 w 608838"/>
              <a:gd name="connsiteY35" fmla="*/ 408786 h 542366"/>
              <a:gd name="connsiteX36" fmla="*/ 182198 w 608838"/>
              <a:gd name="connsiteY36" fmla="*/ 342923 h 542366"/>
              <a:gd name="connsiteX37" fmla="*/ 189873 w 608838"/>
              <a:gd name="connsiteY37" fmla="*/ 369874 h 542366"/>
              <a:gd name="connsiteX38" fmla="*/ 211045 w 608838"/>
              <a:gd name="connsiteY38" fmla="*/ 429421 h 542366"/>
              <a:gd name="connsiteX39" fmla="*/ 189873 w 608838"/>
              <a:gd name="connsiteY39" fmla="*/ 542366 h 542366"/>
              <a:gd name="connsiteX40" fmla="*/ 146855 w 608838"/>
              <a:gd name="connsiteY40" fmla="*/ 542366 h 542366"/>
              <a:gd name="connsiteX41" fmla="*/ 165412 w 608838"/>
              <a:gd name="connsiteY41" fmla="*/ 442644 h 542366"/>
              <a:gd name="connsiteX42" fmla="*/ 135046 w 608838"/>
              <a:gd name="connsiteY42" fmla="*/ 359852 h 542366"/>
              <a:gd name="connsiteX43" fmla="*/ 101221 w 608838"/>
              <a:gd name="connsiteY43" fmla="*/ 359852 h 542366"/>
              <a:gd name="connsiteX44" fmla="*/ 91099 w 608838"/>
              <a:gd name="connsiteY44" fmla="*/ 439696 h 542366"/>
              <a:gd name="connsiteX45" fmla="*/ 55587 w 608838"/>
              <a:gd name="connsiteY45" fmla="*/ 542366 h 542366"/>
              <a:gd name="connsiteX46" fmla="*/ 11219 w 608838"/>
              <a:gd name="connsiteY46" fmla="*/ 542366 h 542366"/>
              <a:gd name="connsiteX47" fmla="*/ 43187 w 608838"/>
              <a:gd name="connsiteY47" fmla="*/ 439360 h 542366"/>
              <a:gd name="connsiteX48" fmla="*/ 50695 w 608838"/>
              <a:gd name="connsiteY48" fmla="*/ 313276 h 542366"/>
              <a:gd name="connsiteX49" fmla="*/ 0 w 608838"/>
              <a:gd name="connsiteY49" fmla="*/ 300810 h 542366"/>
              <a:gd name="connsiteX50" fmla="*/ 0 w 608838"/>
              <a:gd name="connsiteY50" fmla="*/ 215996 h 542366"/>
              <a:gd name="connsiteX51" fmla="*/ 63769 w 608838"/>
              <a:gd name="connsiteY51" fmla="*/ 160324 h 542366"/>
              <a:gd name="connsiteX52" fmla="*/ 92870 w 608838"/>
              <a:gd name="connsiteY52" fmla="*/ 162766 h 542366"/>
              <a:gd name="connsiteX53" fmla="*/ 115561 w 608838"/>
              <a:gd name="connsiteY53" fmla="*/ 143732 h 542366"/>
              <a:gd name="connsiteX54" fmla="*/ 116573 w 608838"/>
              <a:gd name="connsiteY54" fmla="*/ 143816 h 542366"/>
              <a:gd name="connsiteX55" fmla="*/ 91099 w 608838"/>
              <a:gd name="connsiteY55" fmla="*/ 96229 h 542366"/>
              <a:gd name="connsiteX56" fmla="*/ 92364 w 608838"/>
              <a:gd name="connsiteY56" fmla="*/ 84185 h 542366"/>
              <a:gd name="connsiteX57" fmla="*/ 152415 w 608838"/>
              <a:gd name="connsiteY57" fmla="*/ 0 h 542366"/>
              <a:gd name="connsiteX58" fmla="*/ 162197 w 608838"/>
              <a:gd name="connsiteY58" fmla="*/ 674 h 542366"/>
              <a:gd name="connsiteX59" fmla="*/ 222403 w 608838"/>
              <a:gd name="connsiteY59" fmla="*/ 90535 h 542366"/>
              <a:gd name="connsiteX60" fmla="*/ 205201 w 608838"/>
              <a:gd name="connsiteY60" fmla="*/ 88261 h 542366"/>
              <a:gd name="connsiteX61" fmla="*/ 95581 w 608838"/>
              <a:gd name="connsiteY61" fmla="*/ 73776 h 542366"/>
              <a:gd name="connsiteX62" fmla="*/ 80656 w 608838"/>
              <a:gd name="connsiteY62" fmla="*/ 71754 h 542366"/>
              <a:gd name="connsiteX63" fmla="*/ 152415 w 608838"/>
              <a:gd name="connsiteY63" fmla="*/ 0 h 542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8838" h="542366">
                <a:moveTo>
                  <a:pt x="489987" y="488666"/>
                </a:moveTo>
                <a:lnTo>
                  <a:pt x="520763" y="488666"/>
                </a:lnTo>
                <a:lnTo>
                  <a:pt x="558031" y="542366"/>
                </a:lnTo>
                <a:lnTo>
                  <a:pt x="449431" y="542366"/>
                </a:lnTo>
                <a:close/>
                <a:moveTo>
                  <a:pt x="487529" y="317615"/>
                </a:moveTo>
                <a:lnTo>
                  <a:pt x="522622" y="327134"/>
                </a:lnTo>
                <a:lnTo>
                  <a:pt x="608838" y="542366"/>
                </a:lnTo>
                <a:lnTo>
                  <a:pt x="571129" y="542366"/>
                </a:lnTo>
                <a:lnTo>
                  <a:pt x="526419" y="477923"/>
                </a:lnTo>
                <a:lnTo>
                  <a:pt x="484661" y="477923"/>
                </a:lnTo>
                <a:lnTo>
                  <a:pt x="435901" y="542366"/>
                </a:lnTo>
                <a:lnTo>
                  <a:pt x="324883" y="542366"/>
                </a:lnTo>
                <a:lnTo>
                  <a:pt x="419450" y="370181"/>
                </a:lnTo>
                <a:lnTo>
                  <a:pt x="446530" y="381047"/>
                </a:lnTo>
                <a:close/>
                <a:moveTo>
                  <a:pt x="53816" y="225093"/>
                </a:moveTo>
                <a:lnTo>
                  <a:pt x="32306" y="244717"/>
                </a:lnTo>
                <a:lnTo>
                  <a:pt x="32306" y="269984"/>
                </a:lnTo>
                <a:lnTo>
                  <a:pt x="53816" y="274785"/>
                </a:lnTo>
                <a:close/>
                <a:moveTo>
                  <a:pt x="92364" y="84185"/>
                </a:moveTo>
                <a:lnTo>
                  <a:pt x="205647" y="99177"/>
                </a:lnTo>
                <a:cubicBezTo>
                  <a:pt x="204297" y="125539"/>
                  <a:pt x="185319" y="147269"/>
                  <a:pt x="160098" y="152407"/>
                </a:cubicBezTo>
                <a:lnTo>
                  <a:pt x="166677" y="170599"/>
                </a:lnTo>
                <a:lnTo>
                  <a:pt x="204382" y="172115"/>
                </a:lnTo>
                <a:lnTo>
                  <a:pt x="216022" y="274785"/>
                </a:lnTo>
                <a:lnTo>
                  <a:pt x="231037" y="328268"/>
                </a:lnTo>
                <a:lnTo>
                  <a:pt x="194766" y="307043"/>
                </a:lnTo>
                <a:lnTo>
                  <a:pt x="185487" y="283207"/>
                </a:lnTo>
                <a:lnTo>
                  <a:pt x="179751" y="234020"/>
                </a:lnTo>
                <a:lnTo>
                  <a:pt x="166508" y="287840"/>
                </a:lnTo>
                <a:lnTo>
                  <a:pt x="173763" y="313444"/>
                </a:lnTo>
                <a:lnTo>
                  <a:pt x="309398" y="390172"/>
                </a:lnTo>
                <a:lnTo>
                  <a:pt x="330486" y="353619"/>
                </a:lnTo>
                <a:lnTo>
                  <a:pt x="381265" y="382845"/>
                </a:lnTo>
                <a:lnTo>
                  <a:pt x="327534" y="475913"/>
                </a:lnTo>
                <a:lnTo>
                  <a:pt x="276839" y="446687"/>
                </a:lnTo>
                <a:lnTo>
                  <a:pt x="298686" y="408786"/>
                </a:lnTo>
                <a:lnTo>
                  <a:pt x="182198" y="342923"/>
                </a:lnTo>
                <a:lnTo>
                  <a:pt x="189873" y="369874"/>
                </a:lnTo>
                <a:lnTo>
                  <a:pt x="211045" y="429421"/>
                </a:lnTo>
                <a:lnTo>
                  <a:pt x="189873" y="542366"/>
                </a:lnTo>
                <a:lnTo>
                  <a:pt x="146855" y="542366"/>
                </a:lnTo>
                <a:lnTo>
                  <a:pt x="165412" y="442644"/>
                </a:lnTo>
                <a:lnTo>
                  <a:pt x="135046" y="359852"/>
                </a:lnTo>
                <a:lnTo>
                  <a:pt x="101221" y="359852"/>
                </a:lnTo>
                <a:lnTo>
                  <a:pt x="91099" y="439696"/>
                </a:lnTo>
                <a:lnTo>
                  <a:pt x="55587" y="542366"/>
                </a:lnTo>
                <a:lnTo>
                  <a:pt x="11219" y="542366"/>
                </a:lnTo>
                <a:lnTo>
                  <a:pt x="43187" y="439360"/>
                </a:lnTo>
                <a:lnTo>
                  <a:pt x="50695" y="313276"/>
                </a:lnTo>
                <a:lnTo>
                  <a:pt x="0" y="300810"/>
                </a:lnTo>
                <a:lnTo>
                  <a:pt x="0" y="215996"/>
                </a:lnTo>
                <a:lnTo>
                  <a:pt x="63769" y="160324"/>
                </a:lnTo>
                <a:lnTo>
                  <a:pt x="92870" y="162766"/>
                </a:lnTo>
                <a:lnTo>
                  <a:pt x="115561" y="143732"/>
                </a:lnTo>
                <a:lnTo>
                  <a:pt x="116573" y="143816"/>
                </a:lnTo>
                <a:cubicBezTo>
                  <a:pt x="101221" y="133541"/>
                  <a:pt x="91099" y="116022"/>
                  <a:pt x="91099" y="96229"/>
                </a:cubicBezTo>
                <a:cubicBezTo>
                  <a:pt x="91099" y="92102"/>
                  <a:pt x="91521" y="88059"/>
                  <a:pt x="92364" y="84185"/>
                </a:cubicBezTo>
                <a:close/>
                <a:moveTo>
                  <a:pt x="152415" y="0"/>
                </a:moveTo>
                <a:cubicBezTo>
                  <a:pt x="155619" y="0"/>
                  <a:pt x="158908" y="253"/>
                  <a:pt x="162197" y="674"/>
                </a:cubicBezTo>
                <a:cubicBezTo>
                  <a:pt x="202419" y="5980"/>
                  <a:pt x="224680" y="39414"/>
                  <a:pt x="222403" y="90535"/>
                </a:cubicBezTo>
                <a:lnTo>
                  <a:pt x="205201" y="88261"/>
                </a:lnTo>
                <a:lnTo>
                  <a:pt x="95581" y="73776"/>
                </a:lnTo>
                <a:lnTo>
                  <a:pt x="80656" y="71754"/>
                </a:lnTo>
                <a:cubicBezTo>
                  <a:pt x="90775" y="26108"/>
                  <a:pt x="116746" y="0"/>
                  <a:pt x="152415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8" name="Freeform 291"/>
          <p:cNvSpPr>
            <a:spLocks noEditPoints="1"/>
          </p:cNvSpPr>
          <p:nvPr>
            <p:custDataLst>
              <p:tags r:id="rId15"/>
            </p:custDataLst>
          </p:nvPr>
        </p:nvSpPr>
        <p:spPr bwMode="auto">
          <a:xfrm>
            <a:off x="2016760" y="5085080"/>
            <a:ext cx="629920" cy="583565"/>
          </a:xfrm>
          <a:custGeom>
            <a:avLst/>
            <a:gdLst>
              <a:gd name="T0" fmla="*/ 35 w 103"/>
              <a:gd name="T1" fmla="*/ 39 h 104"/>
              <a:gd name="T2" fmla="*/ 37 w 103"/>
              <a:gd name="T3" fmla="*/ 19 h 104"/>
              <a:gd name="T4" fmla="*/ 68 w 103"/>
              <a:gd name="T5" fmla="*/ 20 h 104"/>
              <a:gd name="T6" fmla="*/ 69 w 103"/>
              <a:gd name="T7" fmla="*/ 39 h 104"/>
              <a:gd name="T8" fmla="*/ 72 w 103"/>
              <a:gd name="T9" fmla="*/ 10 h 104"/>
              <a:gd name="T10" fmla="*/ 33 w 103"/>
              <a:gd name="T11" fmla="*/ 8 h 104"/>
              <a:gd name="T12" fmla="*/ 35 w 103"/>
              <a:gd name="T13" fmla="*/ 39 h 104"/>
              <a:gd name="T14" fmla="*/ 5 w 103"/>
              <a:gd name="T15" fmla="*/ 67 h 104"/>
              <a:gd name="T16" fmla="*/ 28 w 103"/>
              <a:gd name="T17" fmla="*/ 59 h 104"/>
              <a:gd name="T18" fmla="*/ 27 w 103"/>
              <a:gd name="T19" fmla="*/ 76 h 104"/>
              <a:gd name="T20" fmla="*/ 31 w 103"/>
              <a:gd name="T21" fmla="*/ 75 h 104"/>
              <a:gd name="T22" fmla="*/ 28 w 103"/>
              <a:gd name="T23" fmla="*/ 78 h 104"/>
              <a:gd name="T24" fmla="*/ 28 w 103"/>
              <a:gd name="T25" fmla="*/ 79 h 104"/>
              <a:gd name="T26" fmla="*/ 40 w 103"/>
              <a:gd name="T27" fmla="*/ 100 h 104"/>
              <a:gd name="T28" fmla="*/ 43 w 103"/>
              <a:gd name="T29" fmla="*/ 102 h 104"/>
              <a:gd name="T30" fmla="*/ 30 w 103"/>
              <a:gd name="T31" fmla="*/ 79 h 104"/>
              <a:gd name="T32" fmla="*/ 35 w 103"/>
              <a:gd name="T33" fmla="*/ 74 h 104"/>
              <a:gd name="T34" fmla="*/ 34 w 103"/>
              <a:gd name="T35" fmla="*/ 73 h 104"/>
              <a:gd name="T36" fmla="*/ 29 w 103"/>
              <a:gd name="T37" fmla="*/ 73 h 104"/>
              <a:gd name="T38" fmla="*/ 29 w 103"/>
              <a:gd name="T39" fmla="*/ 59 h 104"/>
              <a:gd name="T40" fmla="*/ 39 w 103"/>
              <a:gd name="T41" fmla="*/ 53 h 104"/>
              <a:gd name="T42" fmla="*/ 40 w 103"/>
              <a:gd name="T43" fmla="*/ 53 h 104"/>
              <a:gd name="T44" fmla="*/ 40 w 103"/>
              <a:gd name="T45" fmla="*/ 67 h 104"/>
              <a:gd name="T46" fmla="*/ 46 w 103"/>
              <a:gd name="T47" fmla="*/ 83 h 104"/>
              <a:gd name="T48" fmla="*/ 50 w 103"/>
              <a:gd name="T49" fmla="*/ 67 h 104"/>
              <a:gd name="T50" fmla="*/ 48 w 103"/>
              <a:gd name="T51" fmla="*/ 64 h 104"/>
              <a:gd name="T52" fmla="*/ 49 w 103"/>
              <a:gd name="T53" fmla="*/ 60 h 104"/>
              <a:gd name="T54" fmla="*/ 56 w 103"/>
              <a:gd name="T55" fmla="*/ 60 h 104"/>
              <a:gd name="T56" fmla="*/ 58 w 103"/>
              <a:gd name="T57" fmla="*/ 64 h 104"/>
              <a:gd name="T58" fmla="*/ 56 w 103"/>
              <a:gd name="T59" fmla="*/ 67 h 104"/>
              <a:gd name="T60" fmla="*/ 59 w 103"/>
              <a:gd name="T61" fmla="*/ 83 h 104"/>
              <a:gd name="T62" fmla="*/ 65 w 103"/>
              <a:gd name="T63" fmla="*/ 68 h 104"/>
              <a:gd name="T64" fmla="*/ 66 w 103"/>
              <a:gd name="T65" fmla="*/ 54 h 104"/>
              <a:gd name="T66" fmla="*/ 74 w 103"/>
              <a:gd name="T67" fmla="*/ 59 h 104"/>
              <a:gd name="T68" fmla="*/ 75 w 103"/>
              <a:gd name="T69" fmla="*/ 73 h 104"/>
              <a:gd name="T70" fmla="*/ 70 w 103"/>
              <a:gd name="T71" fmla="*/ 73 h 104"/>
              <a:gd name="T72" fmla="*/ 69 w 103"/>
              <a:gd name="T73" fmla="*/ 74 h 104"/>
              <a:gd name="T74" fmla="*/ 74 w 103"/>
              <a:gd name="T75" fmla="*/ 79 h 104"/>
              <a:gd name="T76" fmla="*/ 63 w 103"/>
              <a:gd name="T77" fmla="*/ 98 h 104"/>
              <a:gd name="T78" fmla="*/ 63 w 103"/>
              <a:gd name="T79" fmla="*/ 98 h 104"/>
              <a:gd name="T80" fmla="*/ 63 w 103"/>
              <a:gd name="T81" fmla="*/ 98 h 104"/>
              <a:gd name="T82" fmla="*/ 61 w 103"/>
              <a:gd name="T83" fmla="*/ 102 h 104"/>
              <a:gd name="T84" fmla="*/ 63 w 103"/>
              <a:gd name="T85" fmla="*/ 100 h 104"/>
              <a:gd name="T86" fmla="*/ 76 w 103"/>
              <a:gd name="T87" fmla="*/ 79 h 104"/>
              <a:gd name="T88" fmla="*/ 76 w 103"/>
              <a:gd name="T89" fmla="*/ 78 h 104"/>
              <a:gd name="T90" fmla="*/ 72 w 103"/>
              <a:gd name="T91" fmla="*/ 75 h 104"/>
              <a:gd name="T92" fmla="*/ 77 w 103"/>
              <a:gd name="T93" fmla="*/ 76 h 104"/>
              <a:gd name="T94" fmla="*/ 75 w 103"/>
              <a:gd name="T95" fmla="*/ 59 h 104"/>
              <a:gd name="T96" fmla="*/ 98 w 103"/>
              <a:gd name="T97" fmla="*/ 67 h 104"/>
              <a:gd name="T98" fmla="*/ 103 w 103"/>
              <a:gd name="T99" fmla="*/ 104 h 104"/>
              <a:gd name="T100" fmla="*/ 85 w 103"/>
              <a:gd name="T101" fmla="*/ 104 h 104"/>
              <a:gd name="T102" fmla="*/ 85 w 103"/>
              <a:gd name="T103" fmla="*/ 91 h 104"/>
              <a:gd name="T104" fmla="*/ 84 w 103"/>
              <a:gd name="T105" fmla="*/ 92 h 104"/>
              <a:gd name="T106" fmla="*/ 80 w 103"/>
              <a:gd name="T107" fmla="*/ 104 h 104"/>
              <a:gd name="T108" fmla="*/ 56 w 103"/>
              <a:gd name="T109" fmla="*/ 104 h 104"/>
              <a:gd name="T110" fmla="*/ 50 w 103"/>
              <a:gd name="T111" fmla="*/ 104 h 104"/>
              <a:gd name="T112" fmla="*/ 25 w 103"/>
              <a:gd name="T113" fmla="*/ 104 h 104"/>
              <a:gd name="T114" fmla="*/ 21 w 103"/>
              <a:gd name="T115" fmla="*/ 92 h 104"/>
              <a:gd name="T116" fmla="*/ 20 w 103"/>
              <a:gd name="T117" fmla="*/ 91 h 104"/>
              <a:gd name="T118" fmla="*/ 20 w 103"/>
              <a:gd name="T119" fmla="*/ 104 h 104"/>
              <a:gd name="T120" fmla="*/ 0 w 103"/>
              <a:gd name="T121" fmla="*/ 104 h 104"/>
              <a:gd name="T122" fmla="*/ 5 w 103"/>
              <a:gd name="T123" fmla="*/ 6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3" h="104">
                <a:moveTo>
                  <a:pt x="35" y="39"/>
                </a:moveTo>
                <a:cubicBezTo>
                  <a:pt x="35" y="32"/>
                  <a:pt x="34" y="27"/>
                  <a:pt x="37" y="19"/>
                </a:cubicBezTo>
                <a:cubicBezTo>
                  <a:pt x="45" y="31"/>
                  <a:pt x="58" y="23"/>
                  <a:pt x="68" y="20"/>
                </a:cubicBezTo>
                <a:cubicBezTo>
                  <a:pt x="69" y="26"/>
                  <a:pt x="69" y="31"/>
                  <a:pt x="69" y="39"/>
                </a:cubicBezTo>
                <a:cubicBezTo>
                  <a:pt x="76" y="33"/>
                  <a:pt x="76" y="16"/>
                  <a:pt x="72" y="10"/>
                </a:cubicBezTo>
                <a:cubicBezTo>
                  <a:pt x="65" y="0"/>
                  <a:pt x="40" y="0"/>
                  <a:pt x="33" y="8"/>
                </a:cubicBezTo>
                <a:cubicBezTo>
                  <a:pt x="30" y="12"/>
                  <a:pt x="26" y="34"/>
                  <a:pt x="35" y="39"/>
                </a:cubicBezTo>
                <a:close/>
                <a:moveTo>
                  <a:pt x="5" y="67"/>
                </a:moveTo>
                <a:cubicBezTo>
                  <a:pt x="13" y="64"/>
                  <a:pt x="20" y="62"/>
                  <a:pt x="28" y="59"/>
                </a:cubicBezTo>
                <a:cubicBezTo>
                  <a:pt x="27" y="76"/>
                  <a:pt x="27" y="76"/>
                  <a:pt x="27" y="76"/>
                </a:cubicBezTo>
                <a:cubicBezTo>
                  <a:pt x="31" y="75"/>
                  <a:pt x="31" y="75"/>
                  <a:pt x="31" y="75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35" y="92"/>
                  <a:pt x="40" y="100"/>
                </a:cubicBezTo>
                <a:cubicBezTo>
                  <a:pt x="41" y="101"/>
                  <a:pt x="42" y="101"/>
                  <a:pt x="43" y="102"/>
                </a:cubicBezTo>
                <a:cubicBezTo>
                  <a:pt x="39" y="95"/>
                  <a:pt x="32" y="82"/>
                  <a:pt x="30" y="79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3"/>
                  <a:pt x="34" y="73"/>
                  <a:pt x="34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59"/>
                  <a:pt x="29" y="59"/>
                  <a:pt x="29" y="59"/>
                </a:cubicBezTo>
                <a:cubicBezTo>
                  <a:pt x="32" y="57"/>
                  <a:pt x="37" y="55"/>
                  <a:pt x="39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67"/>
                  <a:pt x="40" y="67"/>
                  <a:pt x="40" y="67"/>
                </a:cubicBezTo>
                <a:cubicBezTo>
                  <a:pt x="46" y="83"/>
                  <a:pt x="46" y="83"/>
                  <a:pt x="46" y="83"/>
                </a:cubicBezTo>
                <a:cubicBezTo>
                  <a:pt x="50" y="67"/>
                  <a:pt x="50" y="67"/>
                  <a:pt x="50" y="67"/>
                </a:cubicBezTo>
                <a:cubicBezTo>
                  <a:pt x="48" y="64"/>
                  <a:pt x="48" y="64"/>
                  <a:pt x="48" y="64"/>
                </a:cubicBezTo>
                <a:cubicBezTo>
                  <a:pt x="49" y="60"/>
                  <a:pt x="49" y="60"/>
                  <a:pt x="49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8" y="64"/>
                  <a:pt x="58" y="64"/>
                  <a:pt x="58" y="64"/>
                </a:cubicBezTo>
                <a:cubicBezTo>
                  <a:pt x="56" y="67"/>
                  <a:pt x="56" y="67"/>
                  <a:pt x="56" y="67"/>
                </a:cubicBezTo>
                <a:cubicBezTo>
                  <a:pt x="59" y="83"/>
                  <a:pt x="59" y="83"/>
                  <a:pt x="59" y="83"/>
                </a:cubicBezTo>
                <a:cubicBezTo>
                  <a:pt x="65" y="68"/>
                  <a:pt x="65" y="68"/>
                  <a:pt x="65" y="68"/>
                </a:cubicBezTo>
                <a:cubicBezTo>
                  <a:pt x="66" y="54"/>
                  <a:pt x="66" y="54"/>
                  <a:pt x="66" y="54"/>
                </a:cubicBezTo>
                <a:cubicBezTo>
                  <a:pt x="69" y="56"/>
                  <a:pt x="72" y="58"/>
                  <a:pt x="74" y="59"/>
                </a:cubicBezTo>
                <a:cubicBezTo>
                  <a:pt x="75" y="73"/>
                  <a:pt x="75" y="73"/>
                  <a:pt x="75" y="73"/>
                </a:cubicBezTo>
                <a:cubicBezTo>
                  <a:pt x="70" y="73"/>
                  <a:pt x="70" y="73"/>
                  <a:pt x="70" y="73"/>
                </a:cubicBezTo>
                <a:cubicBezTo>
                  <a:pt x="69" y="74"/>
                  <a:pt x="69" y="74"/>
                  <a:pt x="69" y="74"/>
                </a:cubicBezTo>
                <a:cubicBezTo>
                  <a:pt x="74" y="79"/>
                  <a:pt x="74" y="79"/>
                  <a:pt x="74" y="79"/>
                </a:cubicBezTo>
                <a:cubicBezTo>
                  <a:pt x="72" y="81"/>
                  <a:pt x="67" y="91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2" y="100"/>
                  <a:pt x="62" y="101"/>
                  <a:pt x="61" y="102"/>
                </a:cubicBezTo>
                <a:cubicBezTo>
                  <a:pt x="62" y="101"/>
                  <a:pt x="63" y="101"/>
                  <a:pt x="63" y="100"/>
                </a:cubicBezTo>
                <a:cubicBezTo>
                  <a:pt x="69" y="92"/>
                  <a:pt x="75" y="79"/>
                  <a:pt x="76" y="79"/>
                </a:cubicBezTo>
                <a:cubicBezTo>
                  <a:pt x="76" y="78"/>
                  <a:pt x="76" y="78"/>
                  <a:pt x="76" y="78"/>
                </a:cubicBezTo>
                <a:cubicBezTo>
                  <a:pt x="72" y="75"/>
                  <a:pt x="72" y="75"/>
                  <a:pt x="72" y="75"/>
                </a:cubicBezTo>
                <a:cubicBezTo>
                  <a:pt x="77" y="76"/>
                  <a:pt x="77" y="76"/>
                  <a:pt x="77" y="76"/>
                </a:cubicBezTo>
                <a:cubicBezTo>
                  <a:pt x="75" y="59"/>
                  <a:pt x="75" y="59"/>
                  <a:pt x="75" y="59"/>
                </a:cubicBezTo>
                <a:cubicBezTo>
                  <a:pt x="98" y="67"/>
                  <a:pt x="98" y="67"/>
                  <a:pt x="98" y="67"/>
                </a:cubicBezTo>
                <a:cubicBezTo>
                  <a:pt x="103" y="77"/>
                  <a:pt x="103" y="90"/>
                  <a:pt x="103" y="104"/>
                </a:cubicBezTo>
                <a:cubicBezTo>
                  <a:pt x="85" y="104"/>
                  <a:pt x="85" y="104"/>
                  <a:pt x="85" y="104"/>
                </a:cubicBezTo>
                <a:cubicBezTo>
                  <a:pt x="85" y="91"/>
                  <a:pt x="85" y="91"/>
                  <a:pt x="85" y="91"/>
                </a:cubicBezTo>
                <a:cubicBezTo>
                  <a:pt x="84" y="92"/>
                  <a:pt x="84" y="92"/>
                  <a:pt x="84" y="92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56" y="104"/>
                  <a:pt x="56" y="104"/>
                  <a:pt x="56" y="104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5" y="104"/>
                  <a:pt x="25" y="104"/>
                  <a:pt x="25" y="104"/>
                </a:cubicBezTo>
                <a:cubicBezTo>
                  <a:pt x="21" y="92"/>
                  <a:pt x="21" y="92"/>
                  <a:pt x="21" y="92"/>
                </a:cubicBezTo>
                <a:cubicBezTo>
                  <a:pt x="20" y="91"/>
                  <a:pt x="20" y="91"/>
                  <a:pt x="20" y="91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86"/>
                  <a:pt x="1" y="74"/>
                  <a:pt x="5" y="67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en-US">
              <a:sym typeface="+mn-ea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概况</a:t>
            </a:r>
            <a:endParaRPr lang="zh-CN" altLang="en-US" sz="2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 descr="城市的风景&#10;&#10;描述已自动生成"/>
          <p:cNvPicPr>
            <a:picLocks noChangeAspect="1"/>
          </p:cNvPicPr>
          <p:nvPr/>
        </p:nvPicPr>
        <p:blipFill rotWithShape="1">
          <a:blip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7000" contrast="-5000"/>
                    </a14:imgEffect>
                    <a14:imgEffect>
                      <a14:saturation sat="10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6" t="17708" r="-253" b="7165"/>
          <a:stretch>
            <a:fillRect/>
          </a:stretch>
        </p:blipFill>
        <p:spPr>
          <a:xfrm>
            <a:off x="1128980" y="764794"/>
            <a:ext cx="10012780" cy="5632189"/>
          </a:xfrm>
          <a:prstGeom prst="rect">
            <a:avLst/>
          </a:prstGeom>
        </p:spPr>
      </p:pic>
    </p:spTree>
  </p:cSld>
  <p:clrMapOvr>
    <a:masterClrMapping/>
  </p:clrMapOvr>
  <p:transition spd="slow">
    <p:pull dir="u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共赢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WIN-WIN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24" name="标题 15"/>
          <p:cNvSpPr txBox="1"/>
          <p:nvPr/>
        </p:nvSpPr>
        <p:spPr>
          <a:xfrm flipH="1">
            <a:off x="-1788" y="0"/>
            <a:ext cx="47505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972992" y="6093704"/>
            <a:ext cx="2909888" cy="430924"/>
          </a:xfrm>
        </p:spPr>
        <p:txBody>
          <a:bodyPr/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最快能在</a:t>
            </a:r>
            <a:r>
              <a:rPr lang="en-US" altLang="zh-CN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月内</a:t>
            </a:r>
            <a:endParaRPr lang="en-US" altLang="zh-CN" sz="2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正式出货运营</a:t>
            </a:r>
            <a:endParaRPr lang="zh-CN" altLang="en-US" sz="2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4388" y="1985476"/>
            <a:ext cx="4065625" cy="3463311"/>
          </a:xfrm>
          <a:prstGeom prst="rect">
            <a:avLst/>
          </a:prstGeom>
        </p:spPr>
      </p:pic>
      <p:sp>
        <p:nvSpPr>
          <p:cNvPr id="10" name="流程图: 过程 9"/>
          <p:cNvSpPr/>
          <p:nvPr/>
        </p:nvSpPr>
        <p:spPr>
          <a:xfrm>
            <a:off x="6057279" y="1293465"/>
            <a:ext cx="1831426" cy="1028699"/>
          </a:xfrm>
          <a:prstGeom prst="flowChartProcess">
            <a:avLst/>
          </a:prstGeom>
          <a:solidFill>
            <a:schemeClr val="accent3"/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租地建厂</a:t>
            </a:r>
            <a:endParaRPr lang="zh-CN" altLang="en-US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流程图: 过程 10"/>
          <p:cNvSpPr/>
          <p:nvPr/>
        </p:nvSpPr>
        <p:spPr>
          <a:xfrm>
            <a:off x="8967166" y="1293465"/>
            <a:ext cx="1831426" cy="1028699"/>
          </a:xfrm>
          <a:prstGeom prst="flowChartProcess">
            <a:avLst/>
          </a:prstGeom>
          <a:solidFill>
            <a:schemeClr val="accent3"/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租赁厂房</a:t>
            </a:r>
            <a:endParaRPr lang="zh-CN" altLang="en-US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流程图: 过程 11"/>
          <p:cNvSpPr/>
          <p:nvPr/>
        </p:nvSpPr>
        <p:spPr>
          <a:xfrm>
            <a:off x="7512222" y="2809587"/>
            <a:ext cx="1831426" cy="1028699"/>
          </a:xfrm>
          <a:prstGeom prst="flowChartProcess">
            <a:avLst/>
          </a:prstGeom>
          <a:solidFill>
            <a:schemeClr val="accent3"/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安装、调试</a:t>
            </a:r>
            <a:endParaRPr lang="en-US" altLang="zh-CN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zh-CN" altLang="en-US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生产设备</a:t>
            </a:r>
            <a:endParaRPr lang="zh-CN" altLang="en-US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流程图: 过程 12"/>
          <p:cNvSpPr/>
          <p:nvPr/>
        </p:nvSpPr>
        <p:spPr>
          <a:xfrm>
            <a:off x="7512222" y="4304189"/>
            <a:ext cx="1831426" cy="1028699"/>
          </a:xfrm>
          <a:prstGeom prst="flowChartProcess">
            <a:avLst/>
          </a:prstGeom>
          <a:solidFill>
            <a:schemeClr val="accent3"/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验厂</a:t>
            </a:r>
            <a:endParaRPr lang="zh-CN" altLang="en-US" sz="2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箭头: 下 13"/>
          <p:cNvSpPr/>
          <p:nvPr/>
        </p:nvSpPr>
        <p:spPr>
          <a:xfrm rot="18723661">
            <a:off x="7139561" y="2432490"/>
            <a:ext cx="387568" cy="430924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zh-CN" altLang="en-US" dirty="0"/>
          </a:p>
        </p:txBody>
      </p:sp>
      <p:sp>
        <p:nvSpPr>
          <p:cNvPr id="15" name="箭头: 下 14"/>
          <p:cNvSpPr/>
          <p:nvPr/>
        </p:nvSpPr>
        <p:spPr>
          <a:xfrm rot="2797180">
            <a:off x="9328828" y="2406762"/>
            <a:ext cx="387568" cy="430924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zh-CN" altLang="en-US" dirty="0"/>
          </a:p>
        </p:txBody>
      </p:sp>
      <p:sp>
        <p:nvSpPr>
          <p:cNvPr id="16" name="箭头: 下 15"/>
          <p:cNvSpPr/>
          <p:nvPr/>
        </p:nvSpPr>
        <p:spPr>
          <a:xfrm>
            <a:off x="8234151" y="3873265"/>
            <a:ext cx="387568" cy="430924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zh-CN" altLang="en-US" dirty="0"/>
          </a:p>
        </p:txBody>
      </p:sp>
      <p:sp>
        <p:nvSpPr>
          <p:cNvPr id="18" name="文本框 17"/>
          <p:cNvSpPr txBox="1"/>
          <p:nvPr/>
        </p:nvSpPr>
        <p:spPr>
          <a:xfrm>
            <a:off x="5070117" y="2379294"/>
            <a:ext cx="20116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建厂约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月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期间同时海运设备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0052259" y="2379294"/>
            <a:ext cx="15544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直接海运设备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约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月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0182959" y="3904061"/>
            <a:ext cx="123126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约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月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箭头: 下 20"/>
          <p:cNvSpPr/>
          <p:nvPr/>
        </p:nvSpPr>
        <p:spPr>
          <a:xfrm>
            <a:off x="8223558" y="5392090"/>
            <a:ext cx="387568" cy="430924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zh-CN" altLang="en-US" dirty="0"/>
          </a:p>
        </p:txBody>
      </p:sp>
      <p:sp>
        <p:nvSpPr>
          <p:cNvPr id="23" name="文本框 22"/>
          <p:cNvSpPr txBox="1"/>
          <p:nvPr/>
        </p:nvSpPr>
        <p:spPr>
          <a:xfrm>
            <a:off x="9565683" y="5266398"/>
            <a:ext cx="2527633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验厂通过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约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周可得到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N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证书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40593" y="1557227"/>
            <a:ext cx="201168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册所需文件如下：</a:t>
            </a:r>
            <a:endParaRPr lang="zh-CN" altLang="en-US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77875" y="1035050"/>
            <a:ext cx="40652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启动</a:t>
            </a:r>
            <a:endParaRPr lang="zh-CN" altLang="en-US" sz="2800" b="1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799288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共赢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WIN-WIN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标题 15"/>
          <p:cNvSpPr txBox="1"/>
          <p:nvPr/>
        </p:nvSpPr>
        <p:spPr>
          <a:xfrm>
            <a:off x="0" y="0"/>
            <a:ext cx="0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24" name="标题 15"/>
          <p:cNvSpPr txBox="1"/>
          <p:nvPr/>
        </p:nvSpPr>
        <p:spPr>
          <a:xfrm flipH="1">
            <a:off x="-1788" y="0"/>
            <a:ext cx="47505" cy="0"/>
          </a:xfrm>
          <a:noFill/>
          <a:ln w="9525">
            <a:noFill/>
            <a:miter/>
          </a:ln>
        </p:spPr>
        <p:txBody>
          <a:bodyPr vert="horz" lIns="50650" tIns="25325" rIns="50650" bIns="253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zh-CN" altLang="en-US" b="1" dirty="0"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  <p:sp>
        <p:nvSpPr>
          <p:cNvPr id="2" name="TextBox 5"/>
          <p:cNvSpPr txBox="1"/>
          <p:nvPr/>
        </p:nvSpPr>
        <p:spPr>
          <a:xfrm>
            <a:off x="1489075" y="1136650"/>
            <a:ext cx="3815080" cy="483108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anchor="t">
            <a:spAutoFit/>
          </a:bodyPr>
          <a:lstStyle/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对于有发展前景的企业，新南方可以投资入股，助其在尼日利亚发展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金融支持（园区企业发展基金）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提供厂房租赁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457200" indent="-457200" eaLnBrk="0" hangingPunct="0">
              <a:lnSpc>
                <a:spcPct val="100000"/>
              </a:lnSpc>
              <a:buFont typeface="Wingdings" panose="05000000000000000000" charset="0"/>
              <a:buChar char=""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土地优惠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99710" y="1137285"/>
            <a:ext cx="6334125" cy="4838065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0740" y="0"/>
            <a:ext cx="11135360" cy="4413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肯尼亚珠江经济特区 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 </a:t>
            </a:r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earl River Special Economic Zone</a:t>
            </a:r>
            <a:endParaRPr lang="en-US" altLang="zh-CN" sz="2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组合 1"/>
          <p:cNvGrpSpPr/>
          <p:nvPr>
            <p:custDataLst>
              <p:tags r:id="rId1"/>
            </p:custDataLst>
          </p:nvPr>
        </p:nvGrpSpPr>
        <p:grpSpPr>
          <a:xfrm>
            <a:off x="864235" y="866775"/>
            <a:ext cx="10661650" cy="4919980"/>
            <a:chOff x="1359" y="2074"/>
            <a:chExt cx="16790" cy="7748"/>
          </a:xfrm>
        </p:grpSpPr>
        <p:sp>
          <p:nvSpPr>
            <p:cNvPr id="51" name="任意多边形: 形状 10"/>
            <p:cNvSpPr/>
            <p:nvPr>
              <p:custDataLst>
                <p:tags r:id="rId2"/>
              </p:custDataLst>
            </p:nvPr>
          </p:nvSpPr>
          <p:spPr>
            <a:xfrm>
              <a:off x="1359" y="2481"/>
              <a:ext cx="16791" cy="6880"/>
            </a:xfrm>
            <a:custGeom>
              <a:avLst/>
              <a:gdLst>
                <a:gd name="connsiteX0" fmla="*/ 5313045 w 10626090"/>
                <a:gd name="connsiteY0" fmla="*/ 0 h 4354159"/>
                <a:gd name="connsiteX1" fmla="*/ 10621924 w 10626090"/>
                <a:gd name="connsiteY1" fmla="*/ 4326862 h 4354159"/>
                <a:gd name="connsiteX2" fmla="*/ 10626090 w 10626090"/>
                <a:gd name="connsiteY2" fmla="*/ 4354159 h 4354159"/>
                <a:gd name="connsiteX3" fmla="*/ 0 w 10626090"/>
                <a:gd name="connsiteY3" fmla="*/ 4354159 h 4354159"/>
                <a:gd name="connsiteX4" fmla="*/ 4166 w 10626090"/>
                <a:gd name="connsiteY4" fmla="*/ 4326862 h 4354159"/>
                <a:gd name="connsiteX5" fmla="*/ 5313045 w 10626090"/>
                <a:gd name="connsiteY5" fmla="*/ 0 h 435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6090" h="4354159">
                  <a:moveTo>
                    <a:pt x="5313045" y="0"/>
                  </a:moveTo>
                  <a:cubicBezTo>
                    <a:pt x="7931759" y="0"/>
                    <a:pt x="10116625" y="1857527"/>
                    <a:pt x="10621924" y="4326862"/>
                  </a:cubicBezTo>
                  <a:lnTo>
                    <a:pt x="10626090" y="4354159"/>
                  </a:lnTo>
                  <a:lnTo>
                    <a:pt x="0" y="4354159"/>
                  </a:lnTo>
                  <a:lnTo>
                    <a:pt x="4166" y="4326862"/>
                  </a:lnTo>
                  <a:cubicBezTo>
                    <a:pt x="509465" y="1857527"/>
                    <a:pt x="2694331" y="0"/>
                    <a:pt x="531304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12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2" name="Freeform 10+"/>
            <p:cNvSpPr/>
            <p:nvPr>
              <p:custDataLst>
                <p:tags r:id="rId3"/>
              </p:custDataLst>
            </p:nvPr>
          </p:nvSpPr>
          <p:spPr>
            <a:xfrm>
              <a:off x="4484" y="5138"/>
              <a:ext cx="10542" cy="4320"/>
            </a:xfrm>
            <a:custGeom>
              <a:avLst/>
              <a:gdLst>
                <a:gd name="connsiteX0" fmla="*/ 5313045 w 10626090"/>
                <a:gd name="connsiteY0" fmla="*/ 0 h 4354159"/>
                <a:gd name="connsiteX1" fmla="*/ 10621924 w 10626090"/>
                <a:gd name="connsiteY1" fmla="*/ 4326862 h 4354159"/>
                <a:gd name="connsiteX2" fmla="*/ 10626090 w 10626090"/>
                <a:gd name="connsiteY2" fmla="*/ 4354159 h 4354159"/>
                <a:gd name="connsiteX3" fmla="*/ 0 w 10626090"/>
                <a:gd name="connsiteY3" fmla="*/ 4354159 h 4354159"/>
                <a:gd name="connsiteX4" fmla="*/ 4166 w 10626090"/>
                <a:gd name="connsiteY4" fmla="*/ 4326862 h 4354159"/>
                <a:gd name="connsiteX5" fmla="*/ 5313045 w 10626090"/>
                <a:gd name="connsiteY5" fmla="*/ 0 h 435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6090" h="4354159">
                  <a:moveTo>
                    <a:pt x="5313045" y="0"/>
                  </a:moveTo>
                  <a:cubicBezTo>
                    <a:pt x="7931759" y="0"/>
                    <a:pt x="10116625" y="1857527"/>
                    <a:pt x="10621924" y="4326862"/>
                  </a:cubicBezTo>
                  <a:lnTo>
                    <a:pt x="10626090" y="4354159"/>
                  </a:lnTo>
                  <a:lnTo>
                    <a:pt x="0" y="4354159"/>
                  </a:lnTo>
                  <a:lnTo>
                    <a:pt x="4166" y="4326862"/>
                  </a:lnTo>
                  <a:cubicBezTo>
                    <a:pt x="509465" y="1857527"/>
                    <a:pt x="2694331" y="0"/>
                    <a:pt x="5313045" y="0"/>
                  </a:cubicBezTo>
                  <a:close/>
                </a:path>
              </a:pathLst>
            </a:custGeom>
            <a:noFill/>
            <a:ln>
              <a:gradFill>
                <a:gsLst>
                  <a:gs pos="91000">
                    <a:schemeClr val="accent2">
                      <a:alpha val="0"/>
                    </a:schemeClr>
                  </a:gs>
                  <a:gs pos="0">
                    <a:schemeClr val="accent2">
                      <a:alpha val="10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3" name="任意多边形: 形状 12"/>
            <p:cNvSpPr/>
            <p:nvPr>
              <p:custDataLst>
                <p:tags r:id="rId4"/>
              </p:custDataLst>
            </p:nvPr>
          </p:nvSpPr>
          <p:spPr>
            <a:xfrm>
              <a:off x="4911" y="5502"/>
              <a:ext cx="9688" cy="3859"/>
            </a:xfrm>
            <a:custGeom>
              <a:avLst/>
              <a:gdLst>
                <a:gd name="connsiteX0" fmla="*/ 2486592 w 4973184"/>
                <a:gd name="connsiteY0" fmla="*/ 0 h 1980749"/>
                <a:gd name="connsiteX1" fmla="*/ 4925189 w 4973184"/>
                <a:gd name="connsiteY1" fmla="*/ 1794092 h 1980749"/>
                <a:gd name="connsiteX2" fmla="*/ 4973184 w 4973184"/>
                <a:gd name="connsiteY2" fmla="*/ 1980749 h 1980749"/>
                <a:gd name="connsiteX3" fmla="*/ 4478023 w 4973184"/>
                <a:gd name="connsiteY3" fmla="*/ 1980749 h 1980749"/>
                <a:gd name="connsiteX4" fmla="*/ 4466733 w 4973184"/>
                <a:gd name="connsiteY4" fmla="*/ 1936841 h 1980749"/>
                <a:gd name="connsiteX5" fmla="*/ 2486592 w 4973184"/>
                <a:gd name="connsiteY5" fmla="*/ 480038 h 1980749"/>
                <a:gd name="connsiteX6" fmla="*/ 506451 w 4973184"/>
                <a:gd name="connsiteY6" fmla="*/ 1936841 h 1980749"/>
                <a:gd name="connsiteX7" fmla="*/ 495161 w 4973184"/>
                <a:gd name="connsiteY7" fmla="*/ 1980749 h 1980749"/>
                <a:gd name="connsiteX8" fmla="*/ 0 w 4973184"/>
                <a:gd name="connsiteY8" fmla="*/ 1980749 h 1980749"/>
                <a:gd name="connsiteX9" fmla="*/ 47995 w 4973184"/>
                <a:gd name="connsiteY9" fmla="*/ 1794092 h 1980749"/>
                <a:gd name="connsiteX10" fmla="*/ 2486592 w 4973184"/>
                <a:gd name="connsiteY10" fmla="*/ 0 h 1980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73184" h="1980749">
                  <a:moveTo>
                    <a:pt x="2486592" y="0"/>
                  </a:moveTo>
                  <a:cubicBezTo>
                    <a:pt x="3632380" y="0"/>
                    <a:pt x="4601901" y="754686"/>
                    <a:pt x="4925189" y="1794092"/>
                  </a:cubicBezTo>
                  <a:lnTo>
                    <a:pt x="4973184" y="1980749"/>
                  </a:lnTo>
                  <a:lnTo>
                    <a:pt x="4478023" y="1980749"/>
                  </a:lnTo>
                  <a:lnTo>
                    <a:pt x="4466733" y="1936841"/>
                  </a:lnTo>
                  <a:cubicBezTo>
                    <a:pt x="4204223" y="1092843"/>
                    <a:pt x="3416971" y="480038"/>
                    <a:pt x="2486592" y="480038"/>
                  </a:cubicBezTo>
                  <a:cubicBezTo>
                    <a:pt x="1556213" y="480038"/>
                    <a:pt x="768962" y="1092843"/>
                    <a:pt x="506451" y="1936841"/>
                  </a:cubicBezTo>
                  <a:lnTo>
                    <a:pt x="495161" y="1980749"/>
                  </a:lnTo>
                  <a:lnTo>
                    <a:pt x="0" y="1980749"/>
                  </a:lnTo>
                  <a:lnTo>
                    <a:pt x="47995" y="1794092"/>
                  </a:lnTo>
                  <a:cubicBezTo>
                    <a:pt x="371284" y="754686"/>
                    <a:pt x="1340805" y="0"/>
                    <a:pt x="2486592" y="0"/>
                  </a:cubicBezTo>
                  <a:close/>
                </a:path>
              </a:pathLst>
            </a:cu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2" name="矩形 61"/>
            <p:cNvSpPr/>
            <p:nvPr>
              <p:custDataLst>
                <p:tags r:id="rId5"/>
              </p:custDataLst>
            </p:nvPr>
          </p:nvSpPr>
          <p:spPr>
            <a:xfrm>
              <a:off x="7200" y="8474"/>
              <a:ext cx="5110" cy="134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1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800" b="1" dirty="0">
                  <a:solidFill>
                    <a:schemeClr val="accent2"/>
                  </a:solidFill>
                  <a:latin typeface="+mn-ea"/>
                  <a:cs typeface="+mn-ea"/>
                </a:rPr>
                <a:t>肯尼亚珠江经济特区</a:t>
              </a:r>
              <a:endParaRPr lang="zh-CN" altLang="en-US" sz="2800" b="1" dirty="0">
                <a:solidFill>
                  <a:schemeClr val="accent2"/>
                </a:solidFill>
                <a:latin typeface="+mn-ea"/>
                <a:cs typeface="+mn-ea"/>
              </a:endParaRPr>
            </a:p>
          </p:txBody>
        </p:sp>
        <p:sp>
          <p:nvSpPr>
            <p:cNvPr id="64" name="Oval 15+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5930" y="6352"/>
              <a:ext cx="398" cy="398"/>
            </a:xfrm>
            <a:prstGeom prst="ellipse">
              <a:avLst/>
            </a:prstGeom>
            <a:solidFill>
              <a:schemeClr val="accent1">
                <a:lumMod val="75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5" name="椭圆 64"/>
            <p:cNvSpPr/>
            <p:nvPr>
              <p:custDataLst>
                <p:tags r:id="rId7"/>
              </p:custDataLst>
            </p:nvPr>
          </p:nvSpPr>
          <p:spPr>
            <a:xfrm>
              <a:off x="6046" y="6468"/>
              <a:ext cx="165" cy="16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6" name="Freeform 488"/>
            <p:cNvSpPr/>
            <p:nvPr>
              <p:custDataLst>
                <p:tags r:id="rId8"/>
              </p:custDataLst>
            </p:nvPr>
          </p:nvSpPr>
          <p:spPr>
            <a:xfrm>
              <a:off x="4155" y="3626"/>
              <a:ext cx="888" cy="1014"/>
            </a:xfrm>
            <a:custGeom>
              <a:avLst/>
              <a:gdLst>
                <a:gd name="connsiteX0" fmla="*/ 534844 w 1166285"/>
                <a:gd name="connsiteY0" fmla="*/ 11393 h 1315046"/>
                <a:gd name="connsiteX1" fmla="*/ 59701 w 1166285"/>
                <a:gd name="connsiteY1" fmla="*/ 248964 h 1315046"/>
                <a:gd name="connsiteX2" fmla="*/ 0 w 1166285"/>
                <a:gd name="connsiteY2" fmla="*/ 345563 h 1315046"/>
                <a:gd name="connsiteX3" fmla="*/ 0 w 1166285"/>
                <a:gd name="connsiteY3" fmla="*/ 969484 h 1315046"/>
                <a:gd name="connsiteX4" fmla="*/ 59701 w 1166285"/>
                <a:gd name="connsiteY4" fmla="*/ 1066083 h 1315046"/>
                <a:gd name="connsiteX5" fmla="*/ 534844 w 1166285"/>
                <a:gd name="connsiteY5" fmla="*/ 1303654 h 1315046"/>
                <a:gd name="connsiteX6" fmla="*/ 631443 w 1166285"/>
                <a:gd name="connsiteY6" fmla="*/ 1303654 h 1315046"/>
                <a:gd name="connsiteX7" fmla="*/ 1106584 w 1166285"/>
                <a:gd name="connsiteY7" fmla="*/ 1066083 h 1315046"/>
                <a:gd name="connsiteX8" fmla="*/ 1166285 w 1166285"/>
                <a:gd name="connsiteY8" fmla="*/ 969484 h 1315046"/>
                <a:gd name="connsiteX9" fmla="*/ 1166285 w 1166285"/>
                <a:gd name="connsiteY9" fmla="*/ 345562 h 1315046"/>
                <a:gd name="connsiteX10" fmla="*/ 1106584 w 1166285"/>
                <a:gd name="connsiteY10" fmla="*/ 248964 h 1315046"/>
                <a:gd name="connsiteX11" fmla="*/ 631443 w 1166285"/>
                <a:gd name="connsiteY11" fmla="*/ 11393 h 1315046"/>
                <a:gd name="connsiteX12" fmla="*/ 534844 w 1166285"/>
                <a:gd name="connsiteY12" fmla="*/ 11393 h 13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6285" h="1315046">
                  <a:moveTo>
                    <a:pt x="534844" y="11393"/>
                  </a:moveTo>
                  <a:lnTo>
                    <a:pt x="59701" y="248964"/>
                  </a:lnTo>
                  <a:cubicBezTo>
                    <a:pt x="23104" y="267263"/>
                    <a:pt x="0" y="304646"/>
                    <a:pt x="0" y="345563"/>
                  </a:cubicBezTo>
                  <a:lnTo>
                    <a:pt x="0" y="969484"/>
                  </a:lnTo>
                  <a:cubicBezTo>
                    <a:pt x="0" y="1010401"/>
                    <a:pt x="23104" y="1047784"/>
                    <a:pt x="59701" y="1066083"/>
                  </a:cubicBezTo>
                  <a:lnTo>
                    <a:pt x="534844" y="1303654"/>
                  </a:lnTo>
                  <a:cubicBezTo>
                    <a:pt x="565224" y="1318844"/>
                    <a:pt x="601062" y="1318844"/>
                    <a:pt x="631443" y="1303654"/>
                  </a:cubicBezTo>
                  <a:lnTo>
                    <a:pt x="1106584" y="1066083"/>
                  </a:lnTo>
                  <a:cubicBezTo>
                    <a:pt x="1143181" y="1047784"/>
                    <a:pt x="1166285" y="1010401"/>
                    <a:pt x="1166285" y="969484"/>
                  </a:cubicBezTo>
                  <a:lnTo>
                    <a:pt x="1166285" y="345562"/>
                  </a:lnTo>
                  <a:cubicBezTo>
                    <a:pt x="1166285" y="304646"/>
                    <a:pt x="1143181" y="267263"/>
                    <a:pt x="1106584" y="248964"/>
                  </a:cubicBezTo>
                  <a:lnTo>
                    <a:pt x="631443" y="11393"/>
                  </a:lnTo>
                  <a:cubicBezTo>
                    <a:pt x="601062" y="-3797"/>
                    <a:pt x="565224" y="-3797"/>
                    <a:pt x="534844" y="11393"/>
                  </a:cubicBezTo>
                </a:path>
              </a:pathLst>
            </a:custGeom>
            <a:gradFill>
              <a:gsLst>
                <a:gs pos="0">
                  <a:schemeClr val="accent1">
                    <a:lumMod val="60000"/>
                    <a:lumOff val="40000"/>
                    <a:alpha val="100000"/>
                  </a:schemeClr>
                </a:gs>
                <a:gs pos="100000">
                  <a:schemeClr val="accent1">
                    <a:alpha val="100000"/>
                  </a:schemeClr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  <a:effectLst>
              <a:outerShdw blurRad="152400" dist="76200" dir="2700000" algn="tl" rotWithShape="0">
                <a:schemeClr val="accent1">
                  <a:alpha val="20000"/>
                </a:schemeClr>
              </a:outerShdw>
            </a:effectLst>
          </p:spPr>
          <p:txBody>
            <a:bodyPr wrap="none" lIns="0" tIns="0" rIns="0" bIns="0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67" name="矩形 66"/>
            <p:cNvSpPr/>
            <p:nvPr>
              <p:custDataLst>
                <p:tags r:id="rId9"/>
              </p:custDataLst>
            </p:nvPr>
          </p:nvSpPr>
          <p:spPr>
            <a:xfrm>
              <a:off x="3066" y="4573"/>
              <a:ext cx="3108" cy="82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>
                  <a:solidFill>
                    <a:schemeClr val="accent1"/>
                  </a:solidFill>
                  <a:latin typeface="+mn-ea"/>
                  <a:cs typeface="+mn-ea"/>
                </a:rPr>
                <a:t>保税仓储物流</a:t>
              </a:r>
              <a:endParaRPr lang="zh-CN" altLang="en-US" sz="2400" b="1" dirty="0">
                <a:solidFill>
                  <a:schemeClr val="accent1"/>
                </a:solidFill>
                <a:latin typeface="+mn-ea"/>
                <a:cs typeface="+mn-ea"/>
              </a:endParaRPr>
            </a:p>
          </p:txBody>
        </p:sp>
        <p:sp>
          <p:nvSpPr>
            <p:cNvPr id="69" name="Oval 15+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7516" y="5303"/>
              <a:ext cx="398" cy="398"/>
            </a:xfrm>
            <a:prstGeom prst="ellipse">
              <a:avLst/>
            </a:prstGeom>
            <a:solidFill>
              <a:schemeClr val="accent2">
                <a:lumMod val="75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0" name="椭圆 69"/>
            <p:cNvSpPr/>
            <p:nvPr>
              <p:custDataLst>
                <p:tags r:id="rId11"/>
              </p:custDataLst>
            </p:nvPr>
          </p:nvSpPr>
          <p:spPr>
            <a:xfrm>
              <a:off x="7633" y="5420"/>
              <a:ext cx="165" cy="165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1" name="Freeform 488"/>
            <p:cNvSpPr/>
            <p:nvPr>
              <p:custDataLst>
                <p:tags r:id="rId12"/>
              </p:custDataLst>
            </p:nvPr>
          </p:nvSpPr>
          <p:spPr>
            <a:xfrm>
              <a:off x="6543" y="2397"/>
              <a:ext cx="888" cy="1014"/>
            </a:xfrm>
            <a:custGeom>
              <a:avLst/>
              <a:gdLst>
                <a:gd name="connsiteX0" fmla="*/ 534844 w 1166285"/>
                <a:gd name="connsiteY0" fmla="*/ 11393 h 1315046"/>
                <a:gd name="connsiteX1" fmla="*/ 59701 w 1166285"/>
                <a:gd name="connsiteY1" fmla="*/ 248964 h 1315046"/>
                <a:gd name="connsiteX2" fmla="*/ 0 w 1166285"/>
                <a:gd name="connsiteY2" fmla="*/ 345563 h 1315046"/>
                <a:gd name="connsiteX3" fmla="*/ 0 w 1166285"/>
                <a:gd name="connsiteY3" fmla="*/ 969484 h 1315046"/>
                <a:gd name="connsiteX4" fmla="*/ 59701 w 1166285"/>
                <a:gd name="connsiteY4" fmla="*/ 1066083 h 1315046"/>
                <a:gd name="connsiteX5" fmla="*/ 534844 w 1166285"/>
                <a:gd name="connsiteY5" fmla="*/ 1303654 h 1315046"/>
                <a:gd name="connsiteX6" fmla="*/ 631443 w 1166285"/>
                <a:gd name="connsiteY6" fmla="*/ 1303654 h 1315046"/>
                <a:gd name="connsiteX7" fmla="*/ 1106584 w 1166285"/>
                <a:gd name="connsiteY7" fmla="*/ 1066083 h 1315046"/>
                <a:gd name="connsiteX8" fmla="*/ 1166285 w 1166285"/>
                <a:gd name="connsiteY8" fmla="*/ 969484 h 1315046"/>
                <a:gd name="connsiteX9" fmla="*/ 1166285 w 1166285"/>
                <a:gd name="connsiteY9" fmla="*/ 345562 h 1315046"/>
                <a:gd name="connsiteX10" fmla="*/ 1106584 w 1166285"/>
                <a:gd name="connsiteY10" fmla="*/ 248964 h 1315046"/>
                <a:gd name="connsiteX11" fmla="*/ 631443 w 1166285"/>
                <a:gd name="connsiteY11" fmla="*/ 11393 h 1315046"/>
                <a:gd name="connsiteX12" fmla="*/ 534844 w 1166285"/>
                <a:gd name="connsiteY12" fmla="*/ 11393 h 13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6285" h="1315046">
                  <a:moveTo>
                    <a:pt x="534844" y="11393"/>
                  </a:moveTo>
                  <a:lnTo>
                    <a:pt x="59701" y="248964"/>
                  </a:lnTo>
                  <a:cubicBezTo>
                    <a:pt x="23104" y="267263"/>
                    <a:pt x="0" y="304646"/>
                    <a:pt x="0" y="345563"/>
                  </a:cubicBezTo>
                  <a:lnTo>
                    <a:pt x="0" y="969484"/>
                  </a:lnTo>
                  <a:cubicBezTo>
                    <a:pt x="0" y="1010401"/>
                    <a:pt x="23104" y="1047784"/>
                    <a:pt x="59701" y="1066083"/>
                  </a:cubicBezTo>
                  <a:lnTo>
                    <a:pt x="534844" y="1303654"/>
                  </a:lnTo>
                  <a:cubicBezTo>
                    <a:pt x="565224" y="1318844"/>
                    <a:pt x="601062" y="1318844"/>
                    <a:pt x="631443" y="1303654"/>
                  </a:cubicBezTo>
                  <a:lnTo>
                    <a:pt x="1106584" y="1066083"/>
                  </a:lnTo>
                  <a:cubicBezTo>
                    <a:pt x="1143181" y="1047784"/>
                    <a:pt x="1166285" y="1010401"/>
                    <a:pt x="1166285" y="969484"/>
                  </a:cubicBezTo>
                  <a:lnTo>
                    <a:pt x="1166285" y="345562"/>
                  </a:lnTo>
                  <a:cubicBezTo>
                    <a:pt x="1166285" y="304646"/>
                    <a:pt x="1143181" y="267263"/>
                    <a:pt x="1106584" y="248964"/>
                  </a:cubicBezTo>
                  <a:lnTo>
                    <a:pt x="631443" y="11393"/>
                  </a:lnTo>
                  <a:cubicBezTo>
                    <a:pt x="601062" y="-3797"/>
                    <a:pt x="565224" y="-3797"/>
                    <a:pt x="534844" y="11393"/>
                  </a:cubicBezTo>
                </a:path>
              </a:pathLst>
            </a:custGeom>
            <a:gradFill>
              <a:gsLst>
                <a:gs pos="0">
                  <a:schemeClr val="accent2">
                    <a:lumMod val="60000"/>
                    <a:lumOff val="40000"/>
                    <a:alpha val="100000"/>
                  </a:schemeClr>
                </a:gs>
                <a:gs pos="100000">
                  <a:schemeClr val="accent2">
                    <a:alpha val="100000"/>
                  </a:schemeClr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  <a:effectLst>
              <a:outerShdw blurRad="152400" dist="76200" dir="2700000" algn="tl" rotWithShape="0">
                <a:schemeClr val="accent2">
                  <a:alpha val="20000"/>
                </a:schemeClr>
              </a:outerShdw>
            </a:effectLst>
          </p:spPr>
          <p:txBody>
            <a:bodyPr wrap="none" lIns="0" tIns="0" rIns="0" bIns="0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72" name="矩形 71"/>
            <p:cNvSpPr/>
            <p:nvPr>
              <p:custDataLst>
                <p:tags r:id="rId13"/>
              </p:custDataLst>
            </p:nvPr>
          </p:nvSpPr>
          <p:spPr>
            <a:xfrm>
              <a:off x="5837" y="3344"/>
              <a:ext cx="2332" cy="82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>
                  <a:solidFill>
                    <a:schemeClr val="accent2"/>
                  </a:solidFill>
                  <a:latin typeface="+mn-ea"/>
                  <a:cs typeface="+mn-ea"/>
                </a:rPr>
                <a:t>加工生产</a:t>
              </a:r>
              <a:endParaRPr lang="zh-CN" altLang="en-US" sz="2400" b="1" dirty="0">
                <a:solidFill>
                  <a:schemeClr val="accent2"/>
                </a:solidFill>
                <a:latin typeface="+mn-ea"/>
                <a:cs typeface="+mn-ea"/>
              </a:endParaRPr>
            </a:p>
          </p:txBody>
        </p:sp>
        <p:sp>
          <p:nvSpPr>
            <p:cNvPr id="74" name="Oval 15+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13182" y="6352"/>
              <a:ext cx="398" cy="398"/>
            </a:xfrm>
            <a:prstGeom prst="ellipse">
              <a:avLst/>
            </a:prstGeom>
            <a:solidFill>
              <a:schemeClr val="accent1">
                <a:lumMod val="75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5" name="椭圆 74"/>
            <p:cNvSpPr/>
            <p:nvPr>
              <p:custDataLst>
                <p:tags r:id="rId15"/>
              </p:custDataLst>
            </p:nvPr>
          </p:nvSpPr>
          <p:spPr>
            <a:xfrm>
              <a:off x="13298" y="6468"/>
              <a:ext cx="165" cy="16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6" name="Freeform 488"/>
            <p:cNvSpPr/>
            <p:nvPr>
              <p:custDataLst>
                <p:tags r:id="rId16"/>
              </p:custDataLst>
            </p:nvPr>
          </p:nvSpPr>
          <p:spPr>
            <a:xfrm>
              <a:off x="14419" y="3626"/>
              <a:ext cx="888" cy="1014"/>
            </a:xfrm>
            <a:custGeom>
              <a:avLst/>
              <a:gdLst>
                <a:gd name="connsiteX0" fmla="*/ 534844 w 1166285"/>
                <a:gd name="connsiteY0" fmla="*/ 11393 h 1315046"/>
                <a:gd name="connsiteX1" fmla="*/ 59701 w 1166285"/>
                <a:gd name="connsiteY1" fmla="*/ 248964 h 1315046"/>
                <a:gd name="connsiteX2" fmla="*/ 0 w 1166285"/>
                <a:gd name="connsiteY2" fmla="*/ 345563 h 1315046"/>
                <a:gd name="connsiteX3" fmla="*/ 0 w 1166285"/>
                <a:gd name="connsiteY3" fmla="*/ 969484 h 1315046"/>
                <a:gd name="connsiteX4" fmla="*/ 59701 w 1166285"/>
                <a:gd name="connsiteY4" fmla="*/ 1066083 h 1315046"/>
                <a:gd name="connsiteX5" fmla="*/ 534844 w 1166285"/>
                <a:gd name="connsiteY5" fmla="*/ 1303654 h 1315046"/>
                <a:gd name="connsiteX6" fmla="*/ 631443 w 1166285"/>
                <a:gd name="connsiteY6" fmla="*/ 1303654 h 1315046"/>
                <a:gd name="connsiteX7" fmla="*/ 1106584 w 1166285"/>
                <a:gd name="connsiteY7" fmla="*/ 1066083 h 1315046"/>
                <a:gd name="connsiteX8" fmla="*/ 1166285 w 1166285"/>
                <a:gd name="connsiteY8" fmla="*/ 969484 h 1315046"/>
                <a:gd name="connsiteX9" fmla="*/ 1166285 w 1166285"/>
                <a:gd name="connsiteY9" fmla="*/ 345562 h 1315046"/>
                <a:gd name="connsiteX10" fmla="*/ 1106584 w 1166285"/>
                <a:gd name="connsiteY10" fmla="*/ 248964 h 1315046"/>
                <a:gd name="connsiteX11" fmla="*/ 631443 w 1166285"/>
                <a:gd name="connsiteY11" fmla="*/ 11393 h 1315046"/>
                <a:gd name="connsiteX12" fmla="*/ 534844 w 1166285"/>
                <a:gd name="connsiteY12" fmla="*/ 11393 h 13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6285" h="1315046">
                  <a:moveTo>
                    <a:pt x="534844" y="11393"/>
                  </a:moveTo>
                  <a:lnTo>
                    <a:pt x="59701" y="248964"/>
                  </a:lnTo>
                  <a:cubicBezTo>
                    <a:pt x="23104" y="267263"/>
                    <a:pt x="0" y="304646"/>
                    <a:pt x="0" y="345563"/>
                  </a:cubicBezTo>
                  <a:lnTo>
                    <a:pt x="0" y="969484"/>
                  </a:lnTo>
                  <a:cubicBezTo>
                    <a:pt x="0" y="1010401"/>
                    <a:pt x="23104" y="1047784"/>
                    <a:pt x="59701" y="1066083"/>
                  </a:cubicBezTo>
                  <a:lnTo>
                    <a:pt x="534844" y="1303654"/>
                  </a:lnTo>
                  <a:cubicBezTo>
                    <a:pt x="565224" y="1318844"/>
                    <a:pt x="601062" y="1318844"/>
                    <a:pt x="631443" y="1303654"/>
                  </a:cubicBezTo>
                  <a:lnTo>
                    <a:pt x="1106584" y="1066083"/>
                  </a:lnTo>
                  <a:cubicBezTo>
                    <a:pt x="1143181" y="1047784"/>
                    <a:pt x="1166285" y="1010401"/>
                    <a:pt x="1166285" y="969484"/>
                  </a:cubicBezTo>
                  <a:lnTo>
                    <a:pt x="1166285" y="345562"/>
                  </a:lnTo>
                  <a:cubicBezTo>
                    <a:pt x="1166285" y="304646"/>
                    <a:pt x="1143181" y="267263"/>
                    <a:pt x="1106584" y="248964"/>
                  </a:cubicBezTo>
                  <a:lnTo>
                    <a:pt x="631443" y="11393"/>
                  </a:lnTo>
                  <a:cubicBezTo>
                    <a:pt x="601062" y="-3797"/>
                    <a:pt x="565224" y="-3797"/>
                    <a:pt x="534844" y="11393"/>
                  </a:cubicBezTo>
                </a:path>
              </a:pathLst>
            </a:custGeom>
            <a:gradFill>
              <a:gsLst>
                <a:gs pos="0">
                  <a:schemeClr val="accent1">
                    <a:lumMod val="60000"/>
                    <a:lumOff val="40000"/>
                    <a:alpha val="100000"/>
                  </a:schemeClr>
                </a:gs>
                <a:gs pos="100000">
                  <a:schemeClr val="accent1">
                    <a:alpha val="100000"/>
                  </a:schemeClr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  <a:effectLst>
              <a:outerShdw blurRad="152400" dist="76200" dir="2700000" algn="tl" rotWithShape="0">
                <a:schemeClr val="accent1">
                  <a:alpha val="20000"/>
                </a:schemeClr>
              </a:outerShdw>
            </a:effectLst>
          </p:spPr>
          <p:txBody>
            <a:bodyPr wrap="none" lIns="0" tIns="0" rIns="0" bIns="0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77" name="矩形 76"/>
            <p:cNvSpPr/>
            <p:nvPr>
              <p:custDataLst>
                <p:tags r:id="rId17"/>
              </p:custDataLst>
            </p:nvPr>
          </p:nvSpPr>
          <p:spPr>
            <a:xfrm>
              <a:off x="13712" y="4573"/>
              <a:ext cx="2332" cy="82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>
                  <a:solidFill>
                    <a:schemeClr val="accent1"/>
                  </a:solidFill>
                  <a:latin typeface="+mn-ea"/>
                  <a:cs typeface="+mn-ea"/>
                </a:rPr>
                <a:t>旅游文化</a:t>
              </a:r>
              <a:endParaRPr lang="zh-CN" altLang="en-US" sz="2400" b="1" dirty="0">
                <a:solidFill>
                  <a:schemeClr val="accent1"/>
                </a:solidFill>
                <a:latin typeface="+mn-ea"/>
                <a:cs typeface="+mn-ea"/>
              </a:endParaRPr>
            </a:p>
          </p:txBody>
        </p:sp>
        <p:sp>
          <p:nvSpPr>
            <p:cNvPr id="78" name="Oval 15+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11487" y="5303"/>
              <a:ext cx="398" cy="398"/>
            </a:xfrm>
            <a:prstGeom prst="ellipse">
              <a:avLst/>
            </a:prstGeom>
            <a:solidFill>
              <a:schemeClr val="accent2">
                <a:lumMod val="75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椭圆 78"/>
            <p:cNvSpPr/>
            <p:nvPr>
              <p:custDataLst>
                <p:tags r:id="rId19"/>
              </p:custDataLst>
            </p:nvPr>
          </p:nvSpPr>
          <p:spPr>
            <a:xfrm>
              <a:off x="11604" y="5420"/>
              <a:ext cx="165" cy="165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Freeform 488"/>
            <p:cNvSpPr/>
            <p:nvPr>
              <p:custDataLst>
                <p:tags r:id="rId20"/>
              </p:custDataLst>
            </p:nvPr>
          </p:nvSpPr>
          <p:spPr>
            <a:xfrm>
              <a:off x="12031" y="2397"/>
              <a:ext cx="888" cy="1014"/>
            </a:xfrm>
            <a:custGeom>
              <a:avLst/>
              <a:gdLst>
                <a:gd name="connsiteX0" fmla="*/ 534844 w 1166285"/>
                <a:gd name="connsiteY0" fmla="*/ 11393 h 1315046"/>
                <a:gd name="connsiteX1" fmla="*/ 59701 w 1166285"/>
                <a:gd name="connsiteY1" fmla="*/ 248964 h 1315046"/>
                <a:gd name="connsiteX2" fmla="*/ 0 w 1166285"/>
                <a:gd name="connsiteY2" fmla="*/ 345563 h 1315046"/>
                <a:gd name="connsiteX3" fmla="*/ 0 w 1166285"/>
                <a:gd name="connsiteY3" fmla="*/ 969484 h 1315046"/>
                <a:gd name="connsiteX4" fmla="*/ 59701 w 1166285"/>
                <a:gd name="connsiteY4" fmla="*/ 1066083 h 1315046"/>
                <a:gd name="connsiteX5" fmla="*/ 534844 w 1166285"/>
                <a:gd name="connsiteY5" fmla="*/ 1303654 h 1315046"/>
                <a:gd name="connsiteX6" fmla="*/ 631443 w 1166285"/>
                <a:gd name="connsiteY6" fmla="*/ 1303654 h 1315046"/>
                <a:gd name="connsiteX7" fmla="*/ 1106584 w 1166285"/>
                <a:gd name="connsiteY7" fmla="*/ 1066083 h 1315046"/>
                <a:gd name="connsiteX8" fmla="*/ 1166285 w 1166285"/>
                <a:gd name="connsiteY8" fmla="*/ 969484 h 1315046"/>
                <a:gd name="connsiteX9" fmla="*/ 1166285 w 1166285"/>
                <a:gd name="connsiteY9" fmla="*/ 345562 h 1315046"/>
                <a:gd name="connsiteX10" fmla="*/ 1106584 w 1166285"/>
                <a:gd name="connsiteY10" fmla="*/ 248964 h 1315046"/>
                <a:gd name="connsiteX11" fmla="*/ 631443 w 1166285"/>
                <a:gd name="connsiteY11" fmla="*/ 11393 h 1315046"/>
                <a:gd name="connsiteX12" fmla="*/ 534844 w 1166285"/>
                <a:gd name="connsiteY12" fmla="*/ 11393 h 13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6285" h="1315046">
                  <a:moveTo>
                    <a:pt x="534844" y="11393"/>
                  </a:moveTo>
                  <a:lnTo>
                    <a:pt x="59701" y="248964"/>
                  </a:lnTo>
                  <a:cubicBezTo>
                    <a:pt x="23104" y="267263"/>
                    <a:pt x="0" y="304646"/>
                    <a:pt x="0" y="345563"/>
                  </a:cubicBezTo>
                  <a:lnTo>
                    <a:pt x="0" y="969484"/>
                  </a:lnTo>
                  <a:cubicBezTo>
                    <a:pt x="0" y="1010401"/>
                    <a:pt x="23104" y="1047784"/>
                    <a:pt x="59701" y="1066083"/>
                  </a:cubicBezTo>
                  <a:lnTo>
                    <a:pt x="534844" y="1303654"/>
                  </a:lnTo>
                  <a:cubicBezTo>
                    <a:pt x="565224" y="1318844"/>
                    <a:pt x="601062" y="1318844"/>
                    <a:pt x="631443" y="1303654"/>
                  </a:cubicBezTo>
                  <a:lnTo>
                    <a:pt x="1106584" y="1066083"/>
                  </a:lnTo>
                  <a:cubicBezTo>
                    <a:pt x="1143181" y="1047784"/>
                    <a:pt x="1166285" y="1010401"/>
                    <a:pt x="1166285" y="969484"/>
                  </a:cubicBezTo>
                  <a:lnTo>
                    <a:pt x="1166285" y="345562"/>
                  </a:lnTo>
                  <a:cubicBezTo>
                    <a:pt x="1166285" y="304646"/>
                    <a:pt x="1143181" y="267263"/>
                    <a:pt x="1106584" y="248964"/>
                  </a:cubicBezTo>
                  <a:lnTo>
                    <a:pt x="631443" y="11393"/>
                  </a:lnTo>
                  <a:cubicBezTo>
                    <a:pt x="601062" y="-3797"/>
                    <a:pt x="565224" y="-3797"/>
                    <a:pt x="534844" y="11393"/>
                  </a:cubicBezTo>
                </a:path>
              </a:pathLst>
            </a:custGeom>
            <a:gradFill>
              <a:gsLst>
                <a:gs pos="0">
                  <a:schemeClr val="accent2">
                    <a:lumMod val="60000"/>
                    <a:lumOff val="40000"/>
                    <a:alpha val="100000"/>
                  </a:schemeClr>
                </a:gs>
                <a:gs pos="100000">
                  <a:schemeClr val="accent2">
                    <a:alpha val="100000"/>
                  </a:schemeClr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  <a:effectLst>
              <a:outerShdw blurRad="152400" dist="76200" dir="2700000" algn="tl" rotWithShape="0">
                <a:schemeClr val="accent2">
                  <a:alpha val="20000"/>
                </a:schemeClr>
              </a:outerShdw>
            </a:effectLst>
          </p:spPr>
          <p:txBody>
            <a:bodyPr wrap="none" lIns="0" tIns="0" rIns="0" bIns="0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85" name="矩形 84"/>
            <p:cNvSpPr/>
            <p:nvPr>
              <p:custDataLst>
                <p:tags r:id="rId21"/>
              </p:custDataLst>
            </p:nvPr>
          </p:nvSpPr>
          <p:spPr>
            <a:xfrm>
              <a:off x="11324" y="3344"/>
              <a:ext cx="2332" cy="82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>
                  <a:solidFill>
                    <a:schemeClr val="accent2"/>
                  </a:solidFill>
                  <a:latin typeface="+mn-ea"/>
                  <a:cs typeface="+mn-ea"/>
                </a:rPr>
                <a:t>新能源</a:t>
              </a:r>
              <a:endParaRPr lang="zh-CN" altLang="en-US" sz="2400" b="1" dirty="0">
                <a:solidFill>
                  <a:schemeClr val="accent2"/>
                </a:solidFill>
                <a:latin typeface="+mn-ea"/>
                <a:cs typeface="+mn-ea"/>
              </a:endParaRPr>
            </a:p>
          </p:txBody>
        </p:sp>
        <p:sp>
          <p:nvSpPr>
            <p:cNvPr id="87" name="Oval 15+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9556" y="4916"/>
              <a:ext cx="398" cy="398"/>
            </a:xfrm>
            <a:prstGeom prst="ellipse">
              <a:avLst/>
            </a:prstGeom>
            <a:solidFill>
              <a:schemeClr val="accent1">
                <a:lumMod val="75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8" name="椭圆 87"/>
            <p:cNvSpPr/>
            <p:nvPr>
              <p:custDataLst>
                <p:tags r:id="rId23"/>
              </p:custDataLst>
            </p:nvPr>
          </p:nvSpPr>
          <p:spPr>
            <a:xfrm>
              <a:off x="9673" y="5033"/>
              <a:ext cx="165" cy="16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Freeform 488"/>
            <p:cNvSpPr/>
            <p:nvPr>
              <p:custDataLst>
                <p:tags r:id="rId24"/>
              </p:custDataLst>
            </p:nvPr>
          </p:nvSpPr>
          <p:spPr>
            <a:xfrm>
              <a:off x="9294" y="2074"/>
              <a:ext cx="888" cy="1014"/>
            </a:xfrm>
            <a:custGeom>
              <a:avLst/>
              <a:gdLst>
                <a:gd name="connsiteX0" fmla="*/ 534844 w 1166285"/>
                <a:gd name="connsiteY0" fmla="*/ 11393 h 1315046"/>
                <a:gd name="connsiteX1" fmla="*/ 59701 w 1166285"/>
                <a:gd name="connsiteY1" fmla="*/ 248964 h 1315046"/>
                <a:gd name="connsiteX2" fmla="*/ 0 w 1166285"/>
                <a:gd name="connsiteY2" fmla="*/ 345563 h 1315046"/>
                <a:gd name="connsiteX3" fmla="*/ 0 w 1166285"/>
                <a:gd name="connsiteY3" fmla="*/ 969484 h 1315046"/>
                <a:gd name="connsiteX4" fmla="*/ 59701 w 1166285"/>
                <a:gd name="connsiteY4" fmla="*/ 1066083 h 1315046"/>
                <a:gd name="connsiteX5" fmla="*/ 534844 w 1166285"/>
                <a:gd name="connsiteY5" fmla="*/ 1303654 h 1315046"/>
                <a:gd name="connsiteX6" fmla="*/ 631443 w 1166285"/>
                <a:gd name="connsiteY6" fmla="*/ 1303654 h 1315046"/>
                <a:gd name="connsiteX7" fmla="*/ 1106584 w 1166285"/>
                <a:gd name="connsiteY7" fmla="*/ 1066083 h 1315046"/>
                <a:gd name="connsiteX8" fmla="*/ 1166285 w 1166285"/>
                <a:gd name="connsiteY8" fmla="*/ 969484 h 1315046"/>
                <a:gd name="connsiteX9" fmla="*/ 1166285 w 1166285"/>
                <a:gd name="connsiteY9" fmla="*/ 345562 h 1315046"/>
                <a:gd name="connsiteX10" fmla="*/ 1106584 w 1166285"/>
                <a:gd name="connsiteY10" fmla="*/ 248964 h 1315046"/>
                <a:gd name="connsiteX11" fmla="*/ 631443 w 1166285"/>
                <a:gd name="connsiteY11" fmla="*/ 11393 h 1315046"/>
                <a:gd name="connsiteX12" fmla="*/ 534844 w 1166285"/>
                <a:gd name="connsiteY12" fmla="*/ 11393 h 13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6285" h="1315046">
                  <a:moveTo>
                    <a:pt x="534844" y="11393"/>
                  </a:moveTo>
                  <a:lnTo>
                    <a:pt x="59701" y="248964"/>
                  </a:lnTo>
                  <a:cubicBezTo>
                    <a:pt x="23104" y="267263"/>
                    <a:pt x="0" y="304646"/>
                    <a:pt x="0" y="345563"/>
                  </a:cubicBezTo>
                  <a:lnTo>
                    <a:pt x="0" y="969484"/>
                  </a:lnTo>
                  <a:cubicBezTo>
                    <a:pt x="0" y="1010401"/>
                    <a:pt x="23104" y="1047784"/>
                    <a:pt x="59701" y="1066083"/>
                  </a:cubicBezTo>
                  <a:lnTo>
                    <a:pt x="534844" y="1303654"/>
                  </a:lnTo>
                  <a:cubicBezTo>
                    <a:pt x="565224" y="1318844"/>
                    <a:pt x="601062" y="1318844"/>
                    <a:pt x="631443" y="1303654"/>
                  </a:cubicBezTo>
                  <a:lnTo>
                    <a:pt x="1106584" y="1066083"/>
                  </a:lnTo>
                  <a:cubicBezTo>
                    <a:pt x="1143181" y="1047784"/>
                    <a:pt x="1166285" y="1010401"/>
                    <a:pt x="1166285" y="969484"/>
                  </a:cubicBezTo>
                  <a:lnTo>
                    <a:pt x="1166285" y="345562"/>
                  </a:lnTo>
                  <a:cubicBezTo>
                    <a:pt x="1166285" y="304646"/>
                    <a:pt x="1143181" y="267263"/>
                    <a:pt x="1106584" y="248964"/>
                  </a:cubicBezTo>
                  <a:lnTo>
                    <a:pt x="631443" y="11393"/>
                  </a:lnTo>
                  <a:cubicBezTo>
                    <a:pt x="601062" y="-3797"/>
                    <a:pt x="565224" y="-3797"/>
                    <a:pt x="534844" y="11393"/>
                  </a:cubicBezTo>
                </a:path>
              </a:pathLst>
            </a:custGeom>
            <a:gradFill>
              <a:gsLst>
                <a:gs pos="0">
                  <a:schemeClr val="accent1">
                    <a:lumMod val="60000"/>
                    <a:lumOff val="40000"/>
                    <a:alpha val="100000"/>
                  </a:schemeClr>
                </a:gs>
                <a:gs pos="100000">
                  <a:schemeClr val="accent1">
                    <a:alpha val="100000"/>
                  </a:schemeClr>
                </a:gs>
              </a:gsLst>
              <a:lin ang="2700000" scaled="0"/>
            </a:gradFill>
            <a:ln w="9525" cap="flat">
              <a:noFill/>
              <a:prstDash val="solid"/>
              <a:miter/>
            </a:ln>
            <a:effectLst>
              <a:outerShdw blurRad="152400" dist="76200" dir="2700000" algn="tl" rotWithShape="0">
                <a:schemeClr val="accent1">
                  <a:alpha val="20000"/>
                </a:schemeClr>
              </a:outerShdw>
            </a:effectLst>
          </p:spPr>
          <p:txBody>
            <a:bodyPr wrap="none" lIns="0" tIns="0" rIns="0" bIns="0" rtlCol="0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90" name="矩形 89"/>
            <p:cNvSpPr/>
            <p:nvPr>
              <p:custDataLst>
                <p:tags r:id="rId25"/>
              </p:custDataLst>
            </p:nvPr>
          </p:nvSpPr>
          <p:spPr>
            <a:xfrm>
              <a:off x="8589" y="2902"/>
              <a:ext cx="2332" cy="82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400" b="1" dirty="0">
                  <a:solidFill>
                    <a:schemeClr val="accent1"/>
                  </a:solidFill>
                  <a:latin typeface="+mn-ea"/>
                  <a:cs typeface="+mn-ea"/>
                </a:rPr>
                <a:t>农业科技</a:t>
              </a:r>
              <a:endParaRPr lang="zh-CN" altLang="en-US" sz="2400" b="1" dirty="0">
                <a:solidFill>
                  <a:schemeClr val="accent1"/>
                </a:solidFill>
                <a:latin typeface="+mn-ea"/>
                <a:cs typeface="+mn-ea"/>
              </a:endParaRPr>
            </a:p>
          </p:txBody>
        </p:sp>
        <p:pic>
          <p:nvPicPr>
            <p:cNvPr id="93" name="图片 92" descr="205554697072303206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8922" y="6633"/>
              <a:ext cx="1686" cy="1628"/>
            </a:xfrm>
            <a:prstGeom prst="rect">
              <a:avLst/>
            </a:prstGeom>
          </p:spPr>
        </p:pic>
        <p:pic>
          <p:nvPicPr>
            <p:cNvPr id="95" name="图片 94" descr="卡车"/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4273" y="3768"/>
              <a:ext cx="758" cy="758"/>
            </a:xfrm>
            <a:prstGeom prst="rect">
              <a:avLst/>
            </a:prstGeom>
          </p:spPr>
        </p:pic>
        <p:pic>
          <p:nvPicPr>
            <p:cNvPr id="96" name="图片 95" descr="扳手"/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6644" y="2565"/>
              <a:ext cx="685" cy="685"/>
            </a:xfrm>
            <a:prstGeom prst="rect">
              <a:avLst/>
            </a:prstGeom>
          </p:spPr>
        </p:pic>
        <p:pic>
          <p:nvPicPr>
            <p:cNvPr id="97" name="图片 96" descr="芽"/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9379" y="2295"/>
              <a:ext cx="724" cy="607"/>
            </a:xfrm>
            <a:prstGeom prst="rect">
              <a:avLst/>
            </a:prstGeom>
          </p:spPr>
        </p:pic>
        <p:pic>
          <p:nvPicPr>
            <p:cNvPr id="98" name="图片 97" descr="新能源汽车电车"/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2147" y="2529"/>
              <a:ext cx="754" cy="754"/>
            </a:xfrm>
            <a:prstGeom prst="rect">
              <a:avLst/>
            </a:prstGeom>
          </p:spPr>
        </p:pic>
        <p:pic>
          <p:nvPicPr>
            <p:cNvPr id="99" name="图片 98" descr="旅游"/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4479" y="3767"/>
              <a:ext cx="701" cy="788"/>
            </a:xfrm>
            <a:prstGeom prst="rect">
              <a:avLst/>
            </a:prstGeom>
          </p:spPr>
        </p:pic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193405" y="5546725"/>
            <a:ext cx="1652270" cy="1149350"/>
          </a:xfrm>
          <a:prstGeom prst="round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519930" y="5553710"/>
            <a:ext cx="1753235" cy="1150620"/>
          </a:xfrm>
          <a:prstGeom prst="round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418580" y="5546725"/>
            <a:ext cx="1641475" cy="1157605"/>
          </a:xfrm>
          <a:prstGeom prst="round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983470" y="5554980"/>
            <a:ext cx="1734185" cy="1141095"/>
          </a:xfrm>
          <a:prstGeom prst="roundRect">
            <a:avLst/>
          </a:prstGeom>
        </p:spPr>
      </p:pic>
      <p:pic>
        <p:nvPicPr>
          <p:cNvPr id="5" name="Picture 2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2639695" y="5554980"/>
            <a:ext cx="1775460" cy="1158875"/>
          </a:xfrm>
          <a:prstGeom prst="roundRect">
            <a:avLst/>
          </a:prstGeom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840740" y="5564505"/>
            <a:ext cx="1699895" cy="1149350"/>
          </a:xfrm>
          <a:prstGeom prst="round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"/>
          <p:cNvSpPr>
            <a:spLocks noChangeArrowheads="1"/>
          </p:cNvSpPr>
          <p:nvPr/>
        </p:nvSpPr>
        <p:spPr bwMode="auto">
          <a:xfrm>
            <a:off x="1" y="6781711"/>
            <a:ext cx="12218266" cy="815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pic>
        <p:nvPicPr>
          <p:cNvPr id="6" name="图片 5" descr="QJ616615977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15875" y="1935480"/>
            <a:ext cx="12211685" cy="323151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-26988" y="1935733"/>
            <a:ext cx="12233910" cy="3230880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4014470" y="1918335"/>
            <a:ext cx="7835900" cy="1106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! </a:t>
            </a:r>
            <a:endParaRPr lang="en-US" altLang="zh-CN" sz="6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809750" y="365125"/>
            <a:ext cx="0" cy="124523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图片 7" descr="logo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995" y="557530"/>
            <a:ext cx="1167130" cy="60896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238240" y="3235325"/>
            <a:ext cx="4886325" cy="1694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广东新南方集团有限公司                </a:t>
            </a:r>
            <a:endParaRPr lang="zh-CN" altLang="en-US" b="1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广东省广州市海珠区上渡路</a:t>
            </a: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1</a:t>
            </a: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号             </a:t>
            </a: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             </a:t>
            </a:r>
            <a:endParaRPr lang="en-US" altLang="zh-CN" b="1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020-34141226 </a:t>
            </a:r>
            <a:endParaRPr lang="en-US" altLang="zh-CN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高先生</a:t>
            </a: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: 18620592970 </a:t>
            </a: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/ </a:t>
            </a: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陈小姐：</a:t>
            </a: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13925122386</a:t>
            </a:r>
            <a:endParaRPr lang="en-US" altLang="zh-CN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altLang="zh-CN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xnfhwtz@gdxnf.cn</a:t>
            </a: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                             </a:t>
            </a:r>
            <a:endParaRPr lang="en-US" altLang="zh-CN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" name="Freeform 36"/>
          <p:cNvSpPr>
            <a:spLocks noEditPoints="1"/>
          </p:cNvSpPr>
          <p:nvPr/>
        </p:nvSpPr>
        <p:spPr bwMode="auto">
          <a:xfrm>
            <a:off x="5844113" y="3274183"/>
            <a:ext cx="243440" cy="243441"/>
          </a:xfrm>
          <a:custGeom>
            <a:avLst/>
            <a:gdLst>
              <a:gd name="T0" fmla="*/ 65 w 79"/>
              <a:gd name="T1" fmla="*/ 14 h 79"/>
              <a:gd name="T2" fmla="*/ 14 w 79"/>
              <a:gd name="T3" fmla="*/ 14 h 79"/>
              <a:gd name="T4" fmla="*/ 11 w 79"/>
              <a:gd name="T5" fmla="*/ 63 h 79"/>
              <a:gd name="T6" fmla="*/ 11 w 79"/>
              <a:gd name="T7" fmla="*/ 63 h 79"/>
              <a:gd name="T8" fmla="*/ 17 w 79"/>
              <a:gd name="T9" fmla="*/ 68 h 79"/>
              <a:gd name="T10" fmla="*/ 64 w 79"/>
              <a:gd name="T11" fmla="*/ 65 h 79"/>
              <a:gd name="T12" fmla="*/ 65 w 79"/>
              <a:gd name="T13" fmla="*/ 14 h 79"/>
              <a:gd name="T14" fmla="*/ 58 w 79"/>
              <a:gd name="T15" fmla="*/ 59 h 79"/>
              <a:gd name="T16" fmla="*/ 20 w 79"/>
              <a:gd name="T17" fmla="*/ 59 h 79"/>
              <a:gd name="T18" fmla="*/ 20 w 79"/>
              <a:gd name="T19" fmla="*/ 21 h 79"/>
              <a:gd name="T20" fmla="*/ 58 w 79"/>
              <a:gd name="T21" fmla="*/ 21 h 79"/>
              <a:gd name="T22" fmla="*/ 58 w 79"/>
              <a:gd name="T23" fmla="*/ 5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9" h="79">
                <a:moveTo>
                  <a:pt x="65" y="14"/>
                </a:moveTo>
                <a:cubicBezTo>
                  <a:pt x="51" y="0"/>
                  <a:pt x="28" y="0"/>
                  <a:pt x="14" y="14"/>
                </a:cubicBezTo>
                <a:cubicBezTo>
                  <a:pt x="0" y="28"/>
                  <a:pt x="0" y="49"/>
                  <a:pt x="11" y="63"/>
                </a:cubicBezTo>
                <a:cubicBezTo>
                  <a:pt x="11" y="63"/>
                  <a:pt x="11" y="63"/>
                  <a:pt x="11" y="63"/>
                </a:cubicBezTo>
                <a:cubicBezTo>
                  <a:pt x="14" y="66"/>
                  <a:pt x="15" y="67"/>
                  <a:pt x="17" y="68"/>
                </a:cubicBezTo>
                <a:cubicBezTo>
                  <a:pt x="31" y="79"/>
                  <a:pt x="51" y="78"/>
                  <a:pt x="64" y="65"/>
                </a:cubicBezTo>
                <a:cubicBezTo>
                  <a:pt x="78" y="51"/>
                  <a:pt x="79" y="29"/>
                  <a:pt x="65" y="14"/>
                </a:cubicBezTo>
                <a:close/>
                <a:moveTo>
                  <a:pt x="58" y="59"/>
                </a:moveTo>
                <a:cubicBezTo>
                  <a:pt x="47" y="69"/>
                  <a:pt x="30" y="69"/>
                  <a:pt x="20" y="59"/>
                </a:cubicBezTo>
                <a:cubicBezTo>
                  <a:pt x="9" y="48"/>
                  <a:pt x="9" y="31"/>
                  <a:pt x="20" y="21"/>
                </a:cubicBezTo>
                <a:cubicBezTo>
                  <a:pt x="31" y="10"/>
                  <a:pt x="48" y="10"/>
                  <a:pt x="58" y="21"/>
                </a:cubicBezTo>
                <a:cubicBezTo>
                  <a:pt x="69" y="31"/>
                  <a:pt x="69" y="48"/>
                  <a:pt x="58" y="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9" name="Freeform 37"/>
          <p:cNvSpPr/>
          <p:nvPr/>
        </p:nvSpPr>
        <p:spPr bwMode="auto">
          <a:xfrm>
            <a:off x="5770706" y="3450682"/>
            <a:ext cx="148382" cy="153020"/>
          </a:xfrm>
          <a:custGeom>
            <a:avLst/>
            <a:gdLst>
              <a:gd name="T0" fmla="*/ 0 w 64"/>
              <a:gd name="T1" fmla="*/ 52 h 66"/>
              <a:gd name="T2" fmla="*/ 12 w 64"/>
              <a:gd name="T3" fmla="*/ 66 h 66"/>
              <a:gd name="T4" fmla="*/ 64 w 64"/>
              <a:gd name="T5" fmla="*/ 8 h 66"/>
              <a:gd name="T6" fmla="*/ 55 w 64"/>
              <a:gd name="T7" fmla="*/ 0 h 66"/>
              <a:gd name="T8" fmla="*/ 0 w 64"/>
              <a:gd name="T9" fmla="*/ 52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" h="66">
                <a:moveTo>
                  <a:pt x="0" y="52"/>
                </a:moveTo>
                <a:lnTo>
                  <a:pt x="12" y="66"/>
                </a:lnTo>
                <a:lnTo>
                  <a:pt x="64" y="8"/>
                </a:lnTo>
                <a:lnTo>
                  <a:pt x="55" y="0"/>
                </a:lnTo>
                <a:lnTo>
                  <a:pt x="0" y="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4" name="Freeform 159"/>
          <p:cNvSpPr/>
          <p:nvPr/>
        </p:nvSpPr>
        <p:spPr bwMode="auto">
          <a:xfrm>
            <a:off x="5869940" y="3603625"/>
            <a:ext cx="191135" cy="256540"/>
          </a:xfrm>
          <a:custGeom>
            <a:avLst/>
            <a:gdLst>
              <a:gd name="T0" fmla="*/ 29 w 54"/>
              <a:gd name="T1" fmla="*/ 1 h 47"/>
              <a:gd name="T2" fmla="*/ 24 w 54"/>
              <a:gd name="T3" fmla="*/ 1 h 47"/>
              <a:gd name="T4" fmla="*/ 2 w 54"/>
              <a:gd name="T5" fmla="*/ 15 h 47"/>
              <a:gd name="T6" fmla="*/ 0 w 54"/>
              <a:gd name="T7" fmla="*/ 20 h 47"/>
              <a:gd name="T8" fmla="*/ 0 w 54"/>
              <a:gd name="T9" fmla="*/ 44 h 47"/>
              <a:gd name="T10" fmla="*/ 3 w 54"/>
              <a:gd name="T11" fmla="*/ 47 h 47"/>
              <a:gd name="T12" fmla="*/ 13 w 54"/>
              <a:gd name="T13" fmla="*/ 47 h 47"/>
              <a:gd name="T14" fmla="*/ 16 w 54"/>
              <a:gd name="T15" fmla="*/ 44 h 47"/>
              <a:gd name="T16" fmla="*/ 16 w 54"/>
              <a:gd name="T17" fmla="*/ 27 h 47"/>
              <a:gd name="T18" fmla="*/ 19 w 54"/>
              <a:gd name="T19" fmla="*/ 24 h 47"/>
              <a:gd name="T20" fmla="*/ 35 w 54"/>
              <a:gd name="T21" fmla="*/ 24 h 47"/>
              <a:gd name="T22" fmla="*/ 38 w 54"/>
              <a:gd name="T23" fmla="*/ 27 h 47"/>
              <a:gd name="T24" fmla="*/ 38 w 54"/>
              <a:gd name="T25" fmla="*/ 44 h 47"/>
              <a:gd name="T26" fmla="*/ 41 w 54"/>
              <a:gd name="T27" fmla="*/ 47 h 47"/>
              <a:gd name="T28" fmla="*/ 51 w 54"/>
              <a:gd name="T29" fmla="*/ 47 h 47"/>
              <a:gd name="T30" fmla="*/ 54 w 54"/>
              <a:gd name="T31" fmla="*/ 44 h 47"/>
              <a:gd name="T32" fmla="*/ 54 w 54"/>
              <a:gd name="T33" fmla="*/ 20 h 47"/>
              <a:gd name="T34" fmla="*/ 52 w 54"/>
              <a:gd name="T35" fmla="*/ 16 h 47"/>
              <a:gd name="T36" fmla="*/ 29 w 54"/>
              <a:gd name="T37" fmla="*/ 1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47">
                <a:moveTo>
                  <a:pt x="29" y="1"/>
                </a:moveTo>
                <a:cubicBezTo>
                  <a:pt x="28" y="0"/>
                  <a:pt x="25" y="0"/>
                  <a:pt x="24" y="1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6"/>
                  <a:pt x="0" y="18"/>
                  <a:pt x="0" y="20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6"/>
                  <a:pt x="1" y="47"/>
                  <a:pt x="3" y="47"/>
                </a:cubicBezTo>
                <a:cubicBezTo>
                  <a:pt x="13" y="47"/>
                  <a:pt x="13" y="47"/>
                  <a:pt x="13" y="47"/>
                </a:cubicBezTo>
                <a:cubicBezTo>
                  <a:pt x="14" y="47"/>
                  <a:pt x="16" y="46"/>
                  <a:pt x="16" y="44"/>
                </a:cubicBezTo>
                <a:cubicBezTo>
                  <a:pt x="16" y="27"/>
                  <a:pt x="16" y="27"/>
                  <a:pt x="16" y="27"/>
                </a:cubicBezTo>
                <a:cubicBezTo>
                  <a:pt x="16" y="26"/>
                  <a:pt x="17" y="24"/>
                  <a:pt x="19" y="24"/>
                </a:cubicBezTo>
                <a:cubicBezTo>
                  <a:pt x="35" y="24"/>
                  <a:pt x="35" y="24"/>
                  <a:pt x="35" y="24"/>
                </a:cubicBezTo>
                <a:cubicBezTo>
                  <a:pt x="37" y="24"/>
                  <a:pt x="38" y="26"/>
                  <a:pt x="38" y="27"/>
                </a:cubicBezTo>
                <a:cubicBezTo>
                  <a:pt x="38" y="44"/>
                  <a:pt x="38" y="44"/>
                  <a:pt x="38" y="44"/>
                </a:cubicBezTo>
                <a:cubicBezTo>
                  <a:pt x="38" y="46"/>
                  <a:pt x="39" y="47"/>
                  <a:pt x="41" y="47"/>
                </a:cubicBezTo>
                <a:cubicBezTo>
                  <a:pt x="51" y="47"/>
                  <a:pt x="51" y="47"/>
                  <a:pt x="51" y="47"/>
                </a:cubicBezTo>
                <a:cubicBezTo>
                  <a:pt x="53" y="47"/>
                  <a:pt x="54" y="46"/>
                  <a:pt x="54" y="44"/>
                </a:cubicBezTo>
                <a:cubicBezTo>
                  <a:pt x="54" y="20"/>
                  <a:pt x="54" y="20"/>
                  <a:pt x="54" y="20"/>
                </a:cubicBezTo>
                <a:cubicBezTo>
                  <a:pt x="54" y="19"/>
                  <a:pt x="53" y="17"/>
                  <a:pt x="52" y="16"/>
                </a:cubicBezTo>
                <a:lnTo>
                  <a:pt x="29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90"/>
          </a:p>
        </p:txBody>
      </p:sp>
      <p:sp>
        <p:nvSpPr>
          <p:cNvPr id="69" name="Freeform 6"/>
          <p:cNvSpPr>
            <a:spLocks noChangeAspect="1" noEditPoints="1"/>
          </p:cNvSpPr>
          <p:nvPr/>
        </p:nvSpPr>
        <p:spPr bwMode="auto">
          <a:xfrm>
            <a:off x="5798185" y="4287520"/>
            <a:ext cx="264795" cy="233045"/>
          </a:xfrm>
          <a:custGeom>
            <a:avLst/>
            <a:gdLst>
              <a:gd name="T0" fmla="*/ 400 w 400"/>
              <a:gd name="T1" fmla="*/ 352 h 352"/>
              <a:gd name="T2" fmla="*/ 394 w 400"/>
              <a:gd name="T3" fmla="*/ 268 h 352"/>
              <a:gd name="T4" fmla="*/ 342 w 400"/>
              <a:gd name="T5" fmla="*/ 236 h 352"/>
              <a:gd name="T6" fmla="*/ 303 w 400"/>
              <a:gd name="T7" fmla="*/ 191 h 352"/>
              <a:gd name="T8" fmla="*/ 316 w 400"/>
              <a:gd name="T9" fmla="*/ 157 h 352"/>
              <a:gd name="T10" fmla="*/ 327 w 400"/>
              <a:gd name="T11" fmla="*/ 134 h 352"/>
              <a:gd name="T12" fmla="*/ 322 w 400"/>
              <a:gd name="T13" fmla="*/ 122 h 352"/>
              <a:gd name="T14" fmla="*/ 325 w 400"/>
              <a:gd name="T15" fmla="*/ 98 h 352"/>
              <a:gd name="T16" fmla="*/ 278 w 400"/>
              <a:gd name="T17" fmla="*/ 51 h 352"/>
              <a:gd name="T18" fmla="*/ 230 w 400"/>
              <a:gd name="T19" fmla="*/ 98 h 352"/>
              <a:gd name="T20" fmla="*/ 233 w 400"/>
              <a:gd name="T21" fmla="*/ 122 h 352"/>
              <a:gd name="T22" fmla="*/ 229 w 400"/>
              <a:gd name="T23" fmla="*/ 134 h 352"/>
              <a:gd name="T24" fmla="*/ 240 w 400"/>
              <a:gd name="T25" fmla="*/ 157 h 352"/>
              <a:gd name="T26" fmla="*/ 253 w 400"/>
              <a:gd name="T27" fmla="*/ 191 h 352"/>
              <a:gd name="T28" fmla="*/ 236 w 400"/>
              <a:gd name="T29" fmla="*/ 224 h 352"/>
              <a:gd name="T30" fmla="*/ 310 w 400"/>
              <a:gd name="T31" fmla="*/ 292 h 352"/>
              <a:gd name="T32" fmla="*/ 310 w 400"/>
              <a:gd name="T33" fmla="*/ 352 h 352"/>
              <a:gd name="T34" fmla="*/ 400 w 400"/>
              <a:gd name="T35" fmla="*/ 352 h 352"/>
              <a:gd name="T36" fmla="*/ 204 w 400"/>
              <a:gd name="T37" fmla="*/ 247 h 352"/>
              <a:gd name="T38" fmla="*/ 152 w 400"/>
              <a:gd name="T39" fmla="*/ 187 h 352"/>
              <a:gd name="T40" fmla="*/ 169 w 400"/>
              <a:gd name="T41" fmla="*/ 142 h 352"/>
              <a:gd name="T42" fmla="*/ 184 w 400"/>
              <a:gd name="T43" fmla="*/ 111 h 352"/>
              <a:gd name="T44" fmla="*/ 179 w 400"/>
              <a:gd name="T45" fmla="*/ 95 h 352"/>
              <a:gd name="T46" fmla="*/ 183 w 400"/>
              <a:gd name="T47" fmla="*/ 63 h 352"/>
              <a:gd name="T48" fmla="*/ 119 w 400"/>
              <a:gd name="T49" fmla="*/ 0 h 352"/>
              <a:gd name="T50" fmla="*/ 55 w 400"/>
              <a:gd name="T51" fmla="*/ 63 h 352"/>
              <a:gd name="T52" fmla="*/ 59 w 400"/>
              <a:gd name="T53" fmla="*/ 95 h 352"/>
              <a:gd name="T54" fmla="*/ 53 w 400"/>
              <a:gd name="T55" fmla="*/ 111 h 352"/>
              <a:gd name="T56" fmla="*/ 68 w 400"/>
              <a:gd name="T57" fmla="*/ 142 h 352"/>
              <a:gd name="T58" fmla="*/ 86 w 400"/>
              <a:gd name="T59" fmla="*/ 187 h 352"/>
              <a:gd name="T60" fmla="*/ 33 w 400"/>
              <a:gd name="T61" fmla="*/ 247 h 352"/>
              <a:gd name="T62" fmla="*/ 0 w 400"/>
              <a:gd name="T63" fmla="*/ 279 h 352"/>
              <a:gd name="T64" fmla="*/ 0 w 400"/>
              <a:gd name="T65" fmla="*/ 352 h 352"/>
              <a:gd name="T66" fmla="*/ 278 w 400"/>
              <a:gd name="T67" fmla="*/ 352 h 352"/>
              <a:gd name="T68" fmla="*/ 278 w 400"/>
              <a:gd name="T69" fmla="*/ 297 h 352"/>
              <a:gd name="T70" fmla="*/ 204 w 400"/>
              <a:gd name="T71" fmla="*/ 247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00" h="352">
                <a:moveTo>
                  <a:pt x="400" y="352"/>
                </a:moveTo>
                <a:cubicBezTo>
                  <a:pt x="400" y="352"/>
                  <a:pt x="399" y="276"/>
                  <a:pt x="394" y="268"/>
                </a:cubicBezTo>
                <a:cubicBezTo>
                  <a:pt x="387" y="257"/>
                  <a:pt x="371" y="249"/>
                  <a:pt x="342" y="236"/>
                </a:cubicBezTo>
                <a:cubicBezTo>
                  <a:pt x="312" y="224"/>
                  <a:pt x="303" y="213"/>
                  <a:pt x="303" y="191"/>
                </a:cubicBezTo>
                <a:cubicBezTo>
                  <a:pt x="303" y="177"/>
                  <a:pt x="312" y="182"/>
                  <a:pt x="316" y="157"/>
                </a:cubicBezTo>
                <a:cubicBezTo>
                  <a:pt x="317" y="147"/>
                  <a:pt x="325" y="157"/>
                  <a:pt x="327" y="134"/>
                </a:cubicBezTo>
                <a:cubicBezTo>
                  <a:pt x="327" y="124"/>
                  <a:pt x="322" y="122"/>
                  <a:pt x="322" y="122"/>
                </a:cubicBezTo>
                <a:cubicBezTo>
                  <a:pt x="322" y="122"/>
                  <a:pt x="325" y="108"/>
                  <a:pt x="325" y="98"/>
                </a:cubicBezTo>
                <a:cubicBezTo>
                  <a:pt x="327" y="85"/>
                  <a:pt x="319" y="51"/>
                  <a:pt x="278" y="51"/>
                </a:cubicBezTo>
                <a:cubicBezTo>
                  <a:pt x="236" y="51"/>
                  <a:pt x="229" y="85"/>
                  <a:pt x="230" y="98"/>
                </a:cubicBezTo>
                <a:cubicBezTo>
                  <a:pt x="231" y="108"/>
                  <a:pt x="233" y="122"/>
                  <a:pt x="233" y="122"/>
                </a:cubicBezTo>
                <a:cubicBezTo>
                  <a:pt x="233" y="122"/>
                  <a:pt x="229" y="124"/>
                  <a:pt x="229" y="134"/>
                </a:cubicBezTo>
                <a:cubicBezTo>
                  <a:pt x="230" y="157"/>
                  <a:pt x="238" y="147"/>
                  <a:pt x="240" y="157"/>
                </a:cubicBezTo>
                <a:cubicBezTo>
                  <a:pt x="244" y="182"/>
                  <a:pt x="253" y="177"/>
                  <a:pt x="253" y="191"/>
                </a:cubicBezTo>
                <a:cubicBezTo>
                  <a:pt x="253" y="206"/>
                  <a:pt x="248" y="216"/>
                  <a:pt x="236" y="224"/>
                </a:cubicBezTo>
                <a:cubicBezTo>
                  <a:pt x="301" y="257"/>
                  <a:pt x="310" y="263"/>
                  <a:pt x="310" y="292"/>
                </a:cubicBezTo>
                <a:cubicBezTo>
                  <a:pt x="310" y="352"/>
                  <a:pt x="310" y="352"/>
                  <a:pt x="310" y="352"/>
                </a:cubicBezTo>
                <a:lnTo>
                  <a:pt x="400" y="352"/>
                </a:lnTo>
                <a:close/>
                <a:moveTo>
                  <a:pt x="204" y="247"/>
                </a:moveTo>
                <a:cubicBezTo>
                  <a:pt x="165" y="231"/>
                  <a:pt x="152" y="217"/>
                  <a:pt x="152" y="187"/>
                </a:cubicBezTo>
                <a:cubicBezTo>
                  <a:pt x="152" y="169"/>
                  <a:pt x="164" y="175"/>
                  <a:pt x="169" y="142"/>
                </a:cubicBezTo>
                <a:cubicBezTo>
                  <a:pt x="172" y="129"/>
                  <a:pt x="182" y="142"/>
                  <a:pt x="184" y="111"/>
                </a:cubicBezTo>
                <a:cubicBezTo>
                  <a:pt x="184" y="98"/>
                  <a:pt x="179" y="95"/>
                  <a:pt x="179" y="95"/>
                </a:cubicBezTo>
                <a:cubicBezTo>
                  <a:pt x="179" y="95"/>
                  <a:pt x="181" y="77"/>
                  <a:pt x="183" y="63"/>
                </a:cubicBezTo>
                <a:cubicBezTo>
                  <a:pt x="184" y="45"/>
                  <a:pt x="174" y="0"/>
                  <a:pt x="119" y="0"/>
                </a:cubicBezTo>
                <a:cubicBezTo>
                  <a:pt x="64" y="0"/>
                  <a:pt x="54" y="45"/>
                  <a:pt x="55" y="63"/>
                </a:cubicBezTo>
                <a:cubicBezTo>
                  <a:pt x="56" y="77"/>
                  <a:pt x="59" y="95"/>
                  <a:pt x="59" y="95"/>
                </a:cubicBezTo>
                <a:cubicBezTo>
                  <a:pt x="59" y="95"/>
                  <a:pt x="53" y="98"/>
                  <a:pt x="53" y="111"/>
                </a:cubicBezTo>
                <a:cubicBezTo>
                  <a:pt x="55" y="142"/>
                  <a:pt x="66" y="129"/>
                  <a:pt x="68" y="142"/>
                </a:cubicBezTo>
                <a:cubicBezTo>
                  <a:pt x="74" y="175"/>
                  <a:pt x="86" y="169"/>
                  <a:pt x="86" y="187"/>
                </a:cubicBezTo>
                <a:cubicBezTo>
                  <a:pt x="86" y="217"/>
                  <a:pt x="73" y="231"/>
                  <a:pt x="33" y="247"/>
                </a:cubicBezTo>
                <a:cubicBezTo>
                  <a:pt x="21" y="252"/>
                  <a:pt x="0" y="260"/>
                  <a:pt x="0" y="279"/>
                </a:cubicBezTo>
                <a:cubicBezTo>
                  <a:pt x="0" y="352"/>
                  <a:pt x="0" y="352"/>
                  <a:pt x="0" y="352"/>
                </a:cubicBezTo>
                <a:cubicBezTo>
                  <a:pt x="278" y="352"/>
                  <a:pt x="278" y="352"/>
                  <a:pt x="278" y="352"/>
                </a:cubicBezTo>
                <a:cubicBezTo>
                  <a:pt x="278" y="352"/>
                  <a:pt x="278" y="309"/>
                  <a:pt x="278" y="297"/>
                </a:cubicBezTo>
                <a:cubicBezTo>
                  <a:pt x="278" y="280"/>
                  <a:pt x="244" y="264"/>
                  <a:pt x="204" y="24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pic>
        <p:nvPicPr>
          <p:cNvPr id="11" name="图片 10" descr="电话 (1) (2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235" y="3931920"/>
            <a:ext cx="297180" cy="297180"/>
          </a:xfrm>
          <a:prstGeom prst="rect">
            <a:avLst/>
          </a:prstGeom>
        </p:spPr>
      </p:pic>
      <p:pic>
        <p:nvPicPr>
          <p:cNvPr id="10" name="图片 9" descr="829060482136843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010" y="365760"/>
            <a:ext cx="1488440" cy="99314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790" y="2204720"/>
            <a:ext cx="2768600" cy="27686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5798185" y="4507230"/>
            <a:ext cx="3422650" cy="4114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auto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E-mail</a:t>
            </a:r>
            <a:r>
              <a:rPr lang="zh-CN" altLang="en-US" dirty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                                 </a:t>
            </a:r>
            <a:endParaRPr lang="en-US" altLang="zh-CN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  <p:bldP spid="41" grpId="0"/>
      <p:bldP spid="4" grpId="0"/>
      <p:bldP spid="5" grpId="0" animBg="1"/>
      <p:bldP spid="9" grpId="0" animBg="1"/>
      <p:bldP spid="24" grpId="0" animBg="1"/>
      <p:bldP spid="69" grpId="0" animBg="1"/>
      <p:bldP spid="3" grpId="0"/>
      <p:bldP spid="41" grpId="1"/>
      <p:bldP spid="4" grpId="1"/>
      <p:bldP spid="5" grpId="1" animBg="1"/>
      <p:bldP spid="9" grpId="1" animBg="1"/>
      <p:bldP spid="24" grpId="1" animBg="1"/>
      <p:bldP spid="69" grpId="1" animBg="1"/>
      <p:bldP spid="3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展历程</a:t>
            </a:r>
            <a:endParaRPr lang="zh-CN" altLang="en-US" sz="2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iṥlïḍè"/>
          <p:cNvCxnSpPr>
            <a:stCxn id="3" idx="2"/>
          </p:cNvCxnSpPr>
          <p:nvPr/>
        </p:nvCxnSpPr>
        <p:spPr>
          <a:xfrm>
            <a:off x="1070096" y="1350324"/>
            <a:ext cx="27885" cy="6453849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ïṩḷïďé"/>
          <p:cNvSpPr/>
          <p:nvPr/>
        </p:nvSpPr>
        <p:spPr>
          <a:xfrm rot="16200000" flipV="1">
            <a:off x="928367" y="1066867"/>
            <a:ext cx="283457" cy="283456"/>
          </a:xfrm>
          <a:prstGeom prst="ellipse">
            <a:avLst/>
          </a:prstGeom>
          <a:solidFill>
            <a:schemeClr val="bg1"/>
          </a:solidFill>
          <a:ln w="38100" cap="rnd">
            <a:solidFill>
              <a:schemeClr val="accent1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Arial Unicode MS" panose="020B0604020202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2419538" y="967302"/>
            <a:ext cx="6096000" cy="5340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24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08</a:t>
            </a:r>
            <a:r>
              <a:rPr lang="zh-CN" altLang="en-US" sz="24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正式启动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805166" y="1638045"/>
            <a:ext cx="5462014" cy="4405031"/>
            <a:chOff x="1631806" y="1675783"/>
            <a:chExt cx="5462014" cy="4405031"/>
          </a:xfrm>
        </p:grpSpPr>
        <p:sp>
          <p:nvSpPr>
            <p:cNvPr id="5" name="TextBox 22"/>
            <p:cNvSpPr txBox="1"/>
            <p:nvPr/>
          </p:nvSpPr>
          <p:spPr>
            <a:xfrm>
              <a:off x="1631807" y="2791802"/>
              <a:ext cx="5462013" cy="847725"/>
            </a:xfrm>
            <a:custGeom>
              <a:avLst/>
              <a:gdLst>
                <a:gd name="T0" fmla="*/ 6281 w 6288"/>
                <a:gd name="T1" fmla="*/ 2028 h 6485"/>
                <a:gd name="T2" fmla="*/ 2510 w 6288"/>
                <a:gd name="T3" fmla="*/ 2170 h 6485"/>
                <a:gd name="T4" fmla="*/ 4111 w 6288"/>
                <a:gd name="T5" fmla="*/ 1637 h 6485"/>
                <a:gd name="T6" fmla="*/ 3930 w 6288"/>
                <a:gd name="T7" fmla="*/ 3810 h 6485"/>
                <a:gd name="T8" fmla="*/ 2197 w 6288"/>
                <a:gd name="T9" fmla="*/ 3097 h 6485"/>
                <a:gd name="T10" fmla="*/ 2098 w 6288"/>
                <a:gd name="T11" fmla="*/ 4086 h 6485"/>
                <a:gd name="T12" fmla="*/ 484 w 6288"/>
                <a:gd name="T13" fmla="*/ 3851 h 6485"/>
                <a:gd name="T14" fmla="*/ 253 w 6288"/>
                <a:gd name="T15" fmla="*/ 1882 h 6485"/>
                <a:gd name="T16" fmla="*/ 1674 w 6288"/>
                <a:gd name="T17" fmla="*/ 2255 h 6485"/>
                <a:gd name="T18" fmla="*/ 772 w 6288"/>
                <a:gd name="T19" fmla="*/ 1874 h 6485"/>
                <a:gd name="T20" fmla="*/ 282 w 6288"/>
                <a:gd name="T21" fmla="*/ 3774 h 6485"/>
                <a:gd name="T22" fmla="*/ 273 w 6288"/>
                <a:gd name="T23" fmla="*/ 3818 h 6485"/>
                <a:gd name="T24" fmla="*/ 253 w 6288"/>
                <a:gd name="T25" fmla="*/ 4026 h 6485"/>
                <a:gd name="T26" fmla="*/ 2161 w 6288"/>
                <a:gd name="T27" fmla="*/ 6457 h 6485"/>
                <a:gd name="T28" fmla="*/ 6288 w 6288"/>
                <a:gd name="T29" fmla="*/ 6485 h 6485"/>
                <a:gd name="T30" fmla="*/ 4331 w 6288"/>
                <a:gd name="T31" fmla="*/ 1532 h 6485"/>
                <a:gd name="T32" fmla="*/ 6053 w 6288"/>
                <a:gd name="T33" fmla="*/ 2165 h 6485"/>
                <a:gd name="T34" fmla="*/ 4173 w 6288"/>
                <a:gd name="T35" fmla="*/ 3773 h 6485"/>
                <a:gd name="T36" fmla="*/ 4129 w 6288"/>
                <a:gd name="T37" fmla="*/ 3700 h 6485"/>
                <a:gd name="T38" fmla="*/ 1936 w 6288"/>
                <a:gd name="T39" fmla="*/ 6202 h 6485"/>
                <a:gd name="T40" fmla="*/ 459 w 6288"/>
                <a:gd name="T41" fmla="*/ 4058 h 6485"/>
                <a:gd name="T42" fmla="*/ 2122 w 6288"/>
                <a:gd name="T43" fmla="*/ 4294 h 6485"/>
                <a:gd name="T44" fmla="*/ 1936 w 6288"/>
                <a:gd name="T45" fmla="*/ 6202 h 6485"/>
                <a:gd name="T46" fmla="*/ 2142 w 6288"/>
                <a:gd name="T47" fmla="*/ 6240 h 6485"/>
                <a:gd name="T48" fmla="*/ 2338 w 6288"/>
                <a:gd name="T49" fmla="*/ 4353 h 6485"/>
                <a:gd name="T50" fmla="*/ 3950 w 6288"/>
                <a:gd name="T51" fmla="*/ 4018 h 6485"/>
                <a:gd name="T52" fmla="*/ 4337 w 6288"/>
                <a:gd name="T53" fmla="*/ 5827 h 6485"/>
                <a:gd name="T54" fmla="*/ 4176 w 6288"/>
                <a:gd name="T55" fmla="*/ 3984 h 6485"/>
                <a:gd name="T56" fmla="*/ 5800 w 6288"/>
                <a:gd name="T57" fmla="*/ 4158 h 6485"/>
                <a:gd name="T58" fmla="*/ 4357 w 6288"/>
                <a:gd name="T59" fmla="*/ 5825 h 6485"/>
                <a:gd name="T60" fmla="*/ 660 w 6288"/>
                <a:gd name="T61" fmla="*/ 1488 h 6485"/>
                <a:gd name="T62" fmla="*/ 2352 w 6288"/>
                <a:gd name="T63" fmla="*/ 662 h 6485"/>
                <a:gd name="T64" fmla="*/ 2709 w 6288"/>
                <a:gd name="T65" fmla="*/ 3358 h 6485"/>
                <a:gd name="T66" fmla="*/ 2667 w 6288"/>
                <a:gd name="T67" fmla="*/ 3457 h 6485"/>
                <a:gd name="T68" fmla="*/ 1678 w 6288"/>
                <a:gd name="T69" fmla="*/ 2000 h 6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288" h="6485">
                  <a:moveTo>
                    <a:pt x="6011" y="4156"/>
                  </a:moveTo>
                  <a:lnTo>
                    <a:pt x="6281" y="2028"/>
                  </a:lnTo>
                  <a:lnTo>
                    <a:pt x="4345" y="1294"/>
                  </a:lnTo>
                  <a:lnTo>
                    <a:pt x="2510" y="2170"/>
                  </a:lnTo>
                  <a:lnTo>
                    <a:pt x="2577" y="2370"/>
                  </a:lnTo>
                  <a:lnTo>
                    <a:pt x="4111" y="1637"/>
                  </a:lnTo>
                  <a:lnTo>
                    <a:pt x="3919" y="3699"/>
                  </a:lnTo>
                  <a:lnTo>
                    <a:pt x="3930" y="3810"/>
                  </a:lnTo>
                  <a:lnTo>
                    <a:pt x="2305" y="4055"/>
                  </a:lnTo>
                  <a:lnTo>
                    <a:pt x="2197" y="3097"/>
                  </a:lnTo>
                  <a:lnTo>
                    <a:pt x="1939" y="2683"/>
                  </a:lnTo>
                  <a:lnTo>
                    <a:pt x="2098" y="4086"/>
                  </a:lnTo>
                  <a:lnTo>
                    <a:pt x="2050" y="4093"/>
                  </a:lnTo>
                  <a:lnTo>
                    <a:pt x="484" y="3851"/>
                  </a:lnTo>
                  <a:lnTo>
                    <a:pt x="493" y="3774"/>
                  </a:lnTo>
                  <a:lnTo>
                    <a:pt x="253" y="1882"/>
                  </a:lnTo>
                  <a:lnTo>
                    <a:pt x="1865" y="2563"/>
                  </a:lnTo>
                  <a:lnTo>
                    <a:pt x="1674" y="2255"/>
                  </a:lnTo>
                  <a:lnTo>
                    <a:pt x="1485" y="2175"/>
                  </a:lnTo>
                  <a:cubicBezTo>
                    <a:pt x="1213" y="2164"/>
                    <a:pt x="962" y="2056"/>
                    <a:pt x="772" y="1874"/>
                  </a:cubicBezTo>
                  <a:lnTo>
                    <a:pt x="0" y="1548"/>
                  </a:lnTo>
                  <a:lnTo>
                    <a:pt x="282" y="3774"/>
                  </a:lnTo>
                  <a:lnTo>
                    <a:pt x="277" y="3819"/>
                  </a:lnTo>
                  <a:lnTo>
                    <a:pt x="273" y="3818"/>
                  </a:lnTo>
                  <a:lnTo>
                    <a:pt x="241" y="4025"/>
                  </a:lnTo>
                  <a:lnTo>
                    <a:pt x="253" y="4026"/>
                  </a:lnTo>
                  <a:lnTo>
                    <a:pt x="11" y="6053"/>
                  </a:lnTo>
                  <a:lnTo>
                    <a:pt x="2161" y="6457"/>
                  </a:lnTo>
                  <a:lnTo>
                    <a:pt x="4353" y="6039"/>
                  </a:lnTo>
                  <a:lnTo>
                    <a:pt x="6288" y="6485"/>
                  </a:lnTo>
                  <a:lnTo>
                    <a:pt x="6011" y="4156"/>
                  </a:lnTo>
                  <a:close/>
                  <a:moveTo>
                    <a:pt x="4331" y="1532"/>
                  </a:moveTo>
                  <a:lnTo>
                    <a:pt x="4355" y="1521"/>
                  </a:lnTo>
                  <a:lnTo>
                    <a:pt x="6053" y="2165"/>
                  </a:lnTo>
                  <a:lnTo>
                    <a:pt x="5822" y="3982"/>
                  </a:lnTo>
                  <a:lnTo>
                    <a:pt x="4173" y="3773"/>
                  </a:lnTo>
                  <a:lnTo>
                    <a:pt x="4137" y="3778"/>
                  </a:lnTo>
                  <a:lnTo>
                    <a:pt x="4129" y="3700"/>
                  </a:lnTo>
                  <a:lnTo>
                    <a:pt x="4331" y="1532"/>
                  </a:lnTo>
                  <a:close/>
                  <a:moveTo>
                    <a:pt x="1936" y="6202"/>
                  </a:moveTo>
                  <a:lnTo>
                    <a:pt x="242" y="5884"/>
                  </a:lnTo>
                  <a:lnTo>
                    <a:pt x="459" y="4058"/>
                  </a:lnTo>
                  <a:lnTo>
                    <a:pt x="2049" y="4305"/>
                  </a:lnTo>
                  <a:lnTo>
                    <a:pt x="2122" y="4294"/>
                  </a:lnTo>
                  <a:lnTo>
                    <a:pt x="2130" y="4365"/>
                  </a:lnTo>
                  <a:lnTo>
                    <a:pt x="1936" y="6202"/>
                  </a:lnTo>
                  <a:close/>
                  <a:moveTo>
                    <a:pt x="2161" y="6244"/>
                  </a:moveTo>
                  <a:lnTo>
                    <a:pt x="2142" y="6240"/>
                  </a:lnTo>
                  <a:lnTo>
                    <a:pt x="2340" y="4364"/>
                  </a:lnTo>
                  <a:lnTo>
                    <a:pt x="2338" y="4353"/>
                  </a:lnTo>
                  <a:lnTo>
                    <a:pt x="2328" y="4263"/>
                  </a:lnTo>
                  <a:lnTo>
                    <a:pt x="3950" y="4018"/>
                  </a:lnTo>
                  <a:lnTo>
                    <a:pt x="4129" y="5847"/>
                  </a:lnTo>
                  <a:lnTo>
                    <a:pt x="4337" y="5827"/>
                  </a:lnTo>
                  <a:lnTo>
                    <a:pt x="4157" y="3987"/>
                  </a:lnTo>
                  <a:lnTo>
                    <a:pt x="4176" y="3984"/>
                  </a:lnTo>
                  <a:lnTo>
                    <a:pt x="5797" y="4190"/>
                  </a:lnTo>
                  <a:lnTo>
                    <a:pt x="5800" y="4158"/>
                  </a:lnTo>
                  <a:lnTo>
                    <a:pt x="6045" y="6215"/>
                  </a:lnTo>
                  <a:lnTo>
                    <a:pt x="4357" y="5825"/>
                  </a:lnTo>
                  <a:lnTo>
                    <a:pt x="2161" y="6244"/>
                  </a:lnTo>
                  <a:close/>
                  <a:moveTo>
                    <a:pt x="660" y="1488"/>
                  </a:moveTo>
                  <a:cubicBezTo>
                    <a:pt x="432" y="1020"/>
                    <a:pt x="626" y="457"/>
                    <a:pt x="1093" y="229"/>
                  </a:cubicBezTo>
                  <a:cubicBezTo>
                    <a:pt x="1561" y="0"/>
                    <a:pt x="2124" y="195"/>
                    <a:pt x="2352" y="662"/>
                  </a:cubicBezTo>
                  <a:cubicBezTo>
                    <a:pt x="2533" y="1033"/>
                    <a:pt x="2448" y="1464"/>
                    <a:pt x="2171" y="1741"/>
                  </a:cubicBezTo>
                  <a:lnTo>
                    <a:pt x="2709" y="3358"/>
                  </a:lnTo>
                  <a:cubicBezTo>
                    <a:pt x="2722" y="3397"/>
                    <a:pt x="2704" y="3438"/>
                    <a:pt x="2668" y="3456"/>
                  </a:cubicBezTo>
                  <a:cubicBezTo>
                    <a:pt x="2668" y="3456"/>
                    <a:pt x="2667" y="3457"/>
                    <a:pt x="2667" y="3457"/>
                  </a:cubicBezTo>
                  <a:cubicBezTo>
                    <a:pt x="2630" y="3474"/>
                    <a:pt x="2585" y="3461"/>
                    <a:pt x="2564" y="3426"/>
                  </a:cubicBezTo>
                  <a:lnTo>
                    <a:pt x="1678" y="2000"/>
                  </a:lnTo>
                  <a:cubicBezTo>
                    <a:pt x="1273" y="2075"/>
                    <a:pt x="850" y="1877"/>
                    <a:pt x="660" y="1488"/>
                  </a:cubicBezTo>
                  <a:close/>
                </a:path>
              </a:pathLst>
            </a:cu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sz="2300" b="1" dirty="0">
                  <a:solidFill>
                    <a:srgbClr val="5B913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中国官方支持</a:t>
              </a:r>
              <a:endParaRPr lang="en-US" altLang="zh-CN" sz="2000" b="1" dirty="0">
                <a:solidFill>
                  <a:schemeClr val="accent1"/>
                </a:solidFill>
                <a:latin typeface="+mn-ea"/>
              </a:endParaRPr>
            </a:p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商务部、广东省国资委备案</a:t>
              </a:r>
              <a:endParaRPr kumimoji="0" lang="zh-CN" alt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1631808" y="1675783"/>
              <a:ext cx="5462012" cy="847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sz="2300" b="1" dirty="0">
                  <a:solidFill>
                    <a:srgbClr val="5B913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尼日利亚总统</a:t>
              </a:r>
              <a:endParaRPr lang="en-US" altLang="zh-CN" sz="2000" b="1" dirty="0">
                <a:solidFill>
                  <a:schemeClr val="accent1"/>
                </a:solidFill>
                <a:latin typeface="+mn-ea"/>
              </a:endParaRPr>
            </a:p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亲自签发批准令，面积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100km²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，合作期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99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年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 Unicode MS" panose="020B0604020202020204" pitchFamily="34" charset="-122"/>
              </a:endParaRP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1631806" y="4047320"/>
              <a:ext cx="5462013" cy="847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sz="2300" b="1" dirty="0">
                  <a:solidFill>
                    <a:srgbClr val="5B913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 Unicode MS" panose="020B0604020202020204" pitchFamily="34" charset="-122"/>
                </a:rPr>
                <a:t>奥贡州政府签署</a:t>
              </a:r>
              <a:endPara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 Unicode MS" panose="020B0604020202020204" pitchFamily="34" charset="-122"/>
              </a:endParaRPr>
            </a:p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kumimoji="0" lang="zh-CN" altLang="en-US" i="0" u="none" strike="noStrike" kern="1200" cap="none" spc="0" normalizeH="0" baseline="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 Unicode MS" panose="020B0604020202020204" pitchFamily="34" charset="-122"/>
                </a:rPr>
                <a:t>首期20km²土地许可证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631806" y="5233089"/>
              <a:ext cx="5462013" cy="847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kumimoji="0" lang="zh-CN" altLang="en-US" sz="2300" b="1" i="0" u="none" strike="noStrike" kern="1200" cap="none" spc="0" normalizeH="0" baseline="0" dirty="0">
                  <a:solidFill>
                    <a:srgbClr val="5B913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 Unicode MS" panose="020B0604020202020204" pitchFamily="34" charset="-122"/>
                </a:rPr>
                <a:t>法律保障</a:t>
              </a:r>
              <a:endParaRPr kumimoji="0" lang="zh-CN" altLang="en-US" sz="2300" b="1" i="0" u="none" strike="noStrike" kern="1200" cap="none" spc="0" normalizeH="0" baseline="0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 Unicode MS" panose="020B0604020202020204" pitchFamily="34" charset="-122"/>
              </a:endParaRPr>
            </a:p>
            <a:p>
              <a:pPr marL="0" marR="0" lvl="0" indent="0" algn="just" defTabSz="4572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kumimoji="0" lang="zh-CN" altLang="en-US" b="0" i="0" u="none" strike="noStrike" kern="1200" cap="none" spc="0" normalizeH="0" baseline="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 Unicode MS" panose="020B0604020202020204" pitchFamily="34" charset="-122"/>
                </a:rPr>
                <a:t>合作区企业权益得到《自贸区法》的保障</a:t>
              </a:r>
              <a:endParaRPr kumimoji="0" lang="zh-CN" altLang="en-US" b="0" i="0" u="none" strike="noStrike" kern="1200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  <a:sym typeface="Arial Unicode MS" panose="020B0604020202020204" pitchFamily="34" charset="-122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13429" y="1772933"/>
            <a:ext cx="2670020" cy="37747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perspectiveLeft"/>
            <a:lightRig rig="threePt" dir="t"/>
          </a:scene3d>
        </p:spPr>
      </p:pic>
      <p:cxnSp>
        <p:nvCxnSpPr>
          <p:cNvPr id="10" name="îs1ïḋè"/>
          <p:cNvCxnSpPr/>
          <p:nvPr/>
        </p:nvCxnSpPr>
        <p:spPr>
          <a:xfrm>
            <a:off x="1243948" y="1211783"/>
            <a:ext cx="970206" cy="0"/>
          </a:xfrm>
          <a:prstGeom prst="straightConnector1">
            <a:avLst/>
          </a:prstGeom>
          <a:ln w="25400" cap="rnd">
            <a:solidFill>
              <a:schemeClr val="accent1"/>
            </a:solidFill>
            <a:round/>
            <a:headEnd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组合 34"/>
          <p:cNvGrpSpPr/>
          <p:nvPr/>
        </p:nvGrpSpPr>
        <p:grpSpPr>
          <a:xfrm>
            <a:off x="1650960" y="1638045"/>
            <a:ext cx="889064" cy="4446370"/>
            <a:chOff x="1363124" y="1824016"/>
            <a:chExt cx="889064" cy="4446372"/>
          </a:xfrm>
        </p:grpSpPr>
        <p:grpSp>
          <p:nvGrpSpPr>
            <p:cNvPr id="33" name="组合 32"/>
            <p:cNvGrpSpPr/>
            <p:nvPr/>
          </p:nvGrpSpPr>
          <p:grpSpPr>
            <a:xfrm>
              <a:off x="1363124" y="3009785"/>
              <a:ext cx="889064" cy="889064"/>
              <a:chOff x="6859556" y="0"/>
              <a:chExt cx="962526" cy="962526"/>
            </a:xfrm>
          </p:grpSpPr>
          <p:sp>
            <p:nvSpPr>
              <p:cNvPr id="24" name="law_115710"/>
              <p:cNvSpPr/>
              <p:nvPr/>
            </p:nvSpPr>
            <p:spPr>
              <a:xfrm flipH="1">
                <a:off x="7059581" y="226687"/>
                <a:ext cx="535863" cy="552947"/>
              </a:xfrm>
              <a:custGeom>
                <a:avLst/>
                <a:gdLst>
                  <a:gd name="connsiteX0" fmla="*/ 226251 w 607639"/>
                  <a:gd name="connsiteY0" fmla="*/ 511897 h 606722"/>
                  <a:gd name="connsiteX1" fmla="*/ 198749 w 607639"/>
                  <a:gd name="connsiteY1" fmla="*/ 568774 h 606722"/>
                  <a:gd name="connsiteX2" fmla="*/ 493712 w 607639"/>
                  <a:gd name="connsiteY2" fmla="*/ 568774 h 606722"/>
                  <a:gd name="connsiteX3" fmla="*/ 567231 w 607639"/>
                  <a:gd name="connsiteY3" fmla="*/ 511897 h 606722"/>
                  <a:gd name="connsiteX4" fmla="*/ 208874 w 607639"/>
                  <a:gd name="connsiteY4" fmla="*/ 227511 h 606722"/>
                  <a:gd name="connsiteX5" fmla="*/ 189832 w 607639"/>
                  <a:gd name="connsiteY5" fmla="*/ 246441 h 606722"/>
                  <a:gd name="connsiteX6" fmla="*/ 208874 w 607639"/>
                  <a:gd name="connsiteY6" fmla="*/ 265460 h 606722"/>
                  <a:gd name="connsiteX7" fmla="*/ 227826 w 607639"/>
                  <a:gd name="connsiteY7" fmla="*/ 246441 h 606722"/>
                  <a:gd name="connsiteX8" fmla="*/ 208874 w 607639"/>
                  <a:gd name="connsiteY8" fmla="*/ 227511 h 606722"/>
                  <a:gd name="connsiteX9" fmla="*/ 208874 w 607639"/>
                  <a:gd name="connsiteY9" fmla="*/ 113752 h 606722"/>
                  <a:gd name="connsiteX10" fmla="*/ 246779 w 607639"/>
                  <a:gd name="connsiteY10" fmla="*/ 113752 h 606722"/>
                  <a:gd name="connsiteX11" fmla="*/ 265820 w 607639"/>
                  <a:gd name="connsiteY11" fmla="*/ 132682 h 606722"/>
                  <a:gd name="connsiteX12" fmla="*/ 246779 w 607639"/>
                  <a:gd name="connsiteY12" fmla="*/ 151701 h 606722"/>
                  <a:gd name="connsiteX13" fmla="*/ 208874 w 607639"/>
                  <a:gd name="connsiteY13" fmla="*/ 151701 h 606722"/>
                  <a:gd name="connsiteX14" fmla="*/ 189832 w 607639"/>
                  <a:gd name="connsiteY14" fmla="*/ 170632 h 606722"/>
                  <a:gd name="connsiteX15" fmla="*/ 208874 w 607639"/>
                  <a:gd name="connsiteY15" fmla="*/ 189562 h 606722"/>
                  <a:gd name="connsiteX16" fmla="*/ 265820 w 607639"/>
                  <a:gd name="connsiteY16" fmla="*/ 246441 h 606722"/>
                  <a:gd name="connsiteX17" fmla="*/ 250961 w 607639"/>
                  <a:gd name="connsiteY17" fmla="*/ 284390 h 606722"/>
                  <a:gd name="connsiteX18" fmla="*/ 265820 w 607639"/>
                  <a:gd name="connsiteY18" fmla="*/ 322340 h 606722"/>
                  <a:gd name="connsiteX19" fmla="*/ 208874 w 607639"/>
                  <a:gd name="connsiteY19" fmla="*/ 379219 h 606722"/>
                  <a:gd name="connsiteX20" fmla="*/ 170880 w 607639"/>
                  <a:gd name="connsiteY20" fmla="*/ 379219 h 606722"/>
                  <a:gd name="connsiteX21" fmla="*/ 151927 w 607639"/>
                  <a:gd name="connsiteY21" fmla="*/ 360200 h 606722"/>
                  <a:gd name="connsiteX22" fmla="*/ 170880 w 607639"/>
                  <a:gd name="connsiteY22" fmla="*/ 341270 h 606722"/>
                  <a:gd name="connsiteX23" fmla="*/ 208874 w 607639"/>
                  <a:gd name="connsiteY23" fmla="*/ 341270 h 606722"/>
                  <a:gd name="connsiteX24" fmla="*/ 227826 w 607639"/>
                  <a:gd name="connsiteY24" fmla="*/ 322340 h 606722"/>
                  <a:gd name="connsiteX25" fmla="*/ 208874 w 607639"/>
                  <a:gd name="connsiteY25" fmla="*/ 303321 h 606722"/>
                  <a:gd name="connsiteX26" fmla="*/ 151927 w 607639"/>
                  <a:gd name="connsiteY26" fmla="*/ 246441 h 606722"/>
                  <a:gd name="connsiteX27" fmla="*/ 166697 w 607639"/>
                  <a:gd name="connsiteY27" fmla="*/ 208581 h 606722"/>
                  <a:gd name="connsiteX28" fmla="*/ 151927 w 607639"/>
                  <a:gd name="connsiteY28" fmla="*/ 170632 h 606722"/>
                  <a:gd name="connsiteX29" fmla="*/ 208874 w 607639"/>
                  <a:gd name="connsiteY29" fmla="*/ 113752 h 606722"/>
                  <a:gd name="connsiteX30" fmla="*/ 38005 w 607639"/>
                  <a:gd name="connsiteY30" fmla="*/ 37948 h 606722"/>
                  <a:gd name="connsiteX31" fmla="*/ 38005 w 607639"/>
                  <a:gd name="connsiteY31" fmla="*/ 492967 h 606722"/>
                  <a:gd name="connsiteX32" fmla="*/ 113927 w 607639"/>
                  <a:gd name="connsiteY32" fmla="*/ 568774 h 606722"/>
                  <a:gd name="connsiteX33" fmla="*/ 189848 w 607639"/>
                  <a:gd name="connsiteY33" fmla="*/ 492967 h 606722"/>
                  <a:gd name="connsiteX34" fmla="*/ 208895 w 607639"/>
                  <a:gd name="connsiteY34" fmla="*/ 473949 h 606722"/>
                  <a:gd name="connsiteX35" fmla="*/ 379786 w 607639"/>
                  <a:gd name="connsiteY35" fmla="*/ 473949 h 606722"/>
                  <a:gd name="connsiteX36" fmla="*/ 379786 w 607639"/>
                  <a:gd name="connsiteY36" fmla="*/ 37948 h 606722"/>
                  <a:gd name="connsiteX37" fmla="*/ 18958 w 607639"/>
                  <a:gd name="connsiteY37" fmla="*/ 0 h 606722"/>
                  <a:gd name="connsiteX38" fmla="*/ 398744 w 607639"/>
                  <a:gd name="connsiteY38" fmla="*/ 0 h 606722"/>
                  <a:gd name="connsiteX39" fmla="*/ 417702 w 607639"/>
                  <a:gd name="connsiteY39" fmla="*/ 18929 h 606722"/>
                  <a:gd name="connsiteX40" fmla="*/ 417702 w 607639"/>
                  <a:gd name="connsiteY40" fmla="*/ 473949 h 606722"/>
                  <a:gd name="connsiteX41" fmla="*/ 588592 w 607639"/>
                  <a:gd name="connsiteY41" fmla="*/ 473949 h 606722"/>
                  <a:gd name="connsiteX42" fmla="*/ 607639 w 607639"/>
                  <a:gd name="connsiteY42" fmla="*/ 492967 h 606722"/>
                  <a:gd name="connsiteX43" fmla="*/ 493712 w 607639"/>
                  <a:gd name="connsiteY43" fmla="*/ 606722 h 606722"/>
                  <a:gd name="connsiteX44" fmla="*/ 113927 w 607639"/>
                  <a:gd name="connsiteY44" fmla="*/ 606722 h 606722"/>
                  <a:gd name="connsiteX45" fmla="*/ 0 w 607639"/>
                  <a:gd name="connsiteY45" fmla="*/ 492967 h 606722"/>
                  <a:gd name="connsiteX46" fmla="*/ 0 w 607639"/>
                  <a:gd name="connsiteY46" fmla="*/ 18929 h 606722"/>
                  <a:gd name="connsiteX47" fmla="*/ 18958 w 607639"/>
                  <a:gd name="connsiteY4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7639" h="606722">
                    <a:moveTo>
                      <a:pt x="226251" y="511897"/>
                    </a:moveTo>
                    <a:cubicBezTo>
                      <a:pt x="222602" y="533492"/>
                      <a:pt x="212812" y="553133"/>
                      <a:pt x="198749" y="568774"/>
                    </a:cubicBezTo>
                    <a:lnTo>
                      <a:pt x="493712" y="568774"/>
                    </a:lnTo>
                    <a:cubicBezTo>
                      <a:pt x="529047" y="568774"/>
                      <a:pt x="558775" y="544601"/>
                      <a:pt x="567231" y="511897"/>
                    </a:cubicBezTo>
                    <a:close/>
                    <a:moveTo>
                      <a:pt x="208874" y="227511"/>
                    </a:moveTo>
                    <a:cubicBezTo>
                      <a:pt x="198374" y="227511"/>
                      <a:pt x="189832" y="236043"/>
                      <a:pt x="189832" y="246441"/>
                    </a:cubicBezTo>
                    <a:cubicBezTo>
                      <a:pt x="189832" y="256928"/>
                      <a:pt x="198374" y="265460"/>
                      <a:pt x="208874" y="265460"/>
                    </a:cubicBezTo>
                    <a:cubicBezTo>
                      <a:pt x="219284" y="265460"/>
                      <a:pt x="227826" y="256928"/>
                      <a:pt x="227826" y="246441"/>
                    </a:cubicBezTo>
                    <a:cubicBezTo>
                      <a:pt x="227826" y="236043"/>
                      <a:pt x="219284" y="227511"/>
                      <a:pt x="208874" y="227511"/>
                    </a:cubicBezTo>
                    <a:close/>
                    <a:moveTo>
                      <a:pt x="208874" y="113752"/>
                    </a:moveTo>
                    <a:lnTo>
                      <a:pt x="246779" y="113752"/>
                    </a:lnTo>
                    <a:cubicBezTo>
                      <a:pt x="257278" y="113752"/>
                      <a:pt x="265820" y="122284"/>
                      <a:pt x="265820" y="132682"/>
                    </a:cubicBezTo>
                    <a:cubicBezTo>
                      <a:pt x="265820" y="143169"/>
                      <a:pt x="257278" y="151701"/>
                      <a:pt x="246779" y="151701"/>
                    </a:cubicBezTo>
                    <a:lnTo>
                      <a:pt x="208874" y="151701"/>
                    </a:lnTo>
                    <a:cubicBezTo>
                      <a:pt x="198374" y="151701"/>
                      <a:pt x="189832" y="160144"/>
                      <a:pt x="189832" y="170632"/>
                    </a:cubicBezTo>
                    <a:cubicBezTo>
                      <a:pt x="189832" y="181119"/>
                      <a:pt x="198374" y="189562"/>
                      <a:pt x="208874" y="189562"/>
                    </a:cubicBezTo>
                    <a:cubicBezTo>
                      <a:pt x="240283" y="189562"/>
                      <a:pt x="265820" y="215069"/>
                      <a:pt x="265820" y="246441"/>
                    </a:cubicBezTo>
                    <a:cubicBezTo>
                      <a:pt x="265820" y="261105"/>
                      <a:pt x="260125" y="274348"/>
                      <a:pt x="250961" y="284390"/>
                    </a:cubicBezTo>
                    <a:cubicBezTo>
                      <a:pt x="260125" y="294433"/>
                      <a:pt x="265820" y="307675"/>
                      <a:pt x="265820" y="322340"/>
                    </a:cubicBezTo>
                    <a:cubicBezTo>
                      <a:pt x="265820" y="353712"/>
                      <a:pt x="240283" y="379219"/>
                      <a:pt x="208874" y="379219"/>
                    </a:cubicBezTo>
                    <a:lnTo>
                      <a:pt x="170880" y="379219"/>
                    </a:lnTo>
                    <a:cubicBezTo>
                      <a:pt x="160380" y="379219"/>
                      <a:pt x="151927" y="370687"/>
                      <a:pt x="151927" y="360200"/>
                    </a:cubicBezTo>
                    <a:cubicBezTo>
                      <a:pt x="151927" y="349802"/>
                      <a:pt x="160380" y="341270"/>
                      <a:pt x="170880" y="341270"/>
                    </a:cubicBezTo>
                    <a:lnTo>
                      <a:pt x="208874" y="341270"/>
                    </a:lnTo>
                    <a:cubicBezTo>
                      <a:pt x="219284" y="341270"/>
                      <a:pt x="227826" y="332738"/>
                      <a:pt x="227826" y="322340"/>
                    </a:cubicBezTo>
                    <a:cubicBezTo>
                      <a:pt x="227826" y="311853"/>
                      <a:pt x="219284" y="303321"/>
                      <a:pt x="208874" y="303321"/>
                    </a:cubicBezTo>
                    <a:cubicBezTo>
                      <a:pt x="177464" y="303321"/>
                      <a:pt x="151927" y="277814"/>
                      <a:pt x="151927" y="246441"/>
                    </a:cubicBezTo>
                    <a:cubicBezTo>
                      <a:pt x="151927" y="231866"/>
                      <a:pt x="157622" y="218624"/>
                      <a:pt x="166697" y="208581"/>
                    </a:cubicBezTo>
                    <a:cubicBezTo>
                      <a:pt x="157622" y="198449"/>
                      <a:pt x="151927" y="185296"/>
                      <a:pt x="151927" y="170632"/>
                    </a:cubicBezTo>
                    <a:cubicBezTo>
                      <a:pt x="151927" y="139259"/>
                      <a:pt x="177464" y="113752"/>
                      <a:pt x="208874" y="113752"/>
                    </a:cubicBezTo>
                    <a:close/>
                    <a:moveTo>
                      <a:pt x="38005" y="37948"/>
                    </a:moveTo>
                    <a:lnTo>
                      <a:pt x="38005" y="492967"/>
                    </a:lnTo>
                    <a:cubicBezTo>
                      <a:pt x="38005" y="534737"/>
                      <a:pt x="72005" y="568774"/>
                      <a:pt x="113927" y="568774"/>
                    </a:cubicBezTo>
                    <a:cubicBezTo>
                      <a:pt x="155848" y="568774"/>
                      <a:pt x="189848" y="534737"/>
                      <a:pt x="189848" y="492967"/>
                    </a:cubicBezTo>
                    <a:cubicBezTo>
                      <a:pt x="189848" y="482481"/>
                      <a:pt x="198393" y="473949"/>
                      <a:pt x="208895" y="473949"/>
                    </a:cubicBezTo>
                    <a:lnTo>
                      <a:pt x="379786" y="473949"/>
                    </a:lnTo>
                    <a:lnTo>
                      <a:pt x="379786" y="37948"/>
                    </a:lnTo>
                    <a:close/>
                    <a:moveTo>
                      <a:pt x="18958" y="0"/>
                    </a:moveTo>
                    <a:lnTo>
                      <a:pt x="398744" y="0"/>
                    </a:lnTo>
                    <a:cubicBezTo>
                      <a:pt x="409246" y="0"/>
                      <a:pt x="417702" y="8531"/>
                      <a:pt x="417702" y="18929"/>
                    </a:cubicBezTo>
                    <a:lnTo>
                      <a:pt x="417702" y="473949"/>
                    </a:lnTo>
                    <a:lnTo>
                      <a:pt x="588592" y="473949"/>
                    </a:lnTo>
                    <a:cubicBezTo>
                      <a:pt x="599094" y="473949"/>
                      <a:pt x="607639" y="482481"/>
                      <a:pt x="607639" y="492967"/>
                    </a:cubicBezTo>
                    <a:cubicBezTo>
                      <a:pt x="607639" y="555621"/>
                      <a:pt x="556550" y="606722"/>
                      <a:pt x="493712" y="606722"/>
                    </a:cubicBezTo>
                    <a:lnTo>
                      <a:pt x="113927" y="606722"/>
                    </a:lnTo>
                    <a:cubicBezTo>
                      <a:pt x="51089" y="606722"/>
                      <a:pt x="0" y="555710"/>
                      <a:pt x="0" y="492967"/>
                    </a:cubicBezTo>
                    <a:lnTo>
                      <a:pt x="0" y="18929"/>
                    </a:lnTo>
                    <a:cubicBezTo>
                      <a:pt x="0" y="8531"/>
                      <a:pt x="8545" y="0"/>
                      <a:pt x="1895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/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6859556" y="0"/>
                <a:ext cx="962526" cy="962526"/>
              </a:xfrm>
              <a:prstGeom prst="ellipse">
                <a:avLst/>
              </a:prstGeom>
              <a:noFill/>
              <a:ln w="28575" cap="flat">
                <a:solidFill>
                  <a:schemeClr val="accent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l">
                  <a:lnSpc>
                    <a:spcPct val="120000"/>
                  </a:lnSpc>
                </a:pPr>
                <a:endParaRPr lang="zh-CN" altLang="en-US" dirty="0"/>
              </a:p>
            </p:txBody>
          </p:sp>
        </p:grpSp>
        <p:grpSp>
          <p:nvGrpSpPr>
            <p:cNvPr id="32" name="组合 31"/>
            <p:cNvGrpSpPr/>
            <p:nvPr/>
          </p:nvGrpSpPr>
          <p:grpSpPr>
            <a:xfrm>
              <a:off x="1363124" y="4195554"/>
              <a:ext cx="889064" cy="889064"/>
              <a:chOff x="8515538" y="18830"/>
              <a:chExt cx="962526" cy="962526"/>
            </a:xfrm>
          </p:grpSpPr>
          <p:sp>
            <p:nvSpPr>
              <p:cNvPr id="28" name="locator-on-an-open-folded-map_32746"/>
              <p:cNvSpPr/>
              <p:nvPr/>
            </p:nvSpPr>
            <p:spPr>
              <a:xfrm flipH="1">
                <a:off x="8749992" y="201413"/>
                <a:ext cx="510718" cy="580408"/>
              </a:xfrm>
              <a:custGeom>
                <a:avLst/>
                <a:gdLst>
                  <a:gd name="T0" fmla="*/ 6281 w 6288"/>
                  <a:gd name="T1" fmla="*/ 2028 h 6485"/>
                  <a:gd name="T2" fmla="*/ 2510 w 6288"/>
                  <a:gd name="T3" fmla="*/ 2170 h 6485"/>
                  <a:gd name="T4" fmla="*/ 4111 w 6288"/>
                  <a:gd name="T5" fmla="*/ 1637 h 6485"/>
                  <a:gd name="T6" fmla="*/ 3930 w 6288"/>
                  <a:gd name="T7" fmla="*/ 3810 h 6485"/>
                  <a:gd name="T8" fmla="*/ 2197 w 6288"/>
                  <a:gd name="T9" fmla="*/ 3097 h 6485"/>
                  <a:gd name="T10" fmla="*/ 2098 w 6288"/>
                  <a:gd name="T11" fmla="*/ 4086 h 6485"/>
                  <a:gd name="T12" fmla="*/ 484 w 6288"/>
                  <a:gd name="T13" fmla="*/ 3851 h 6485"/>
                  <a:gd name="T14" fmla="*/ 253 w 6288"/>
                  <a:gd name="T15" fmla="*/ 1882 h 6485"/>
                  <a:gd name="T16" fmla="*/ 1674 w 6288"/>
                  <a:gd name="T17" fmla="*/ 2255 h 6485"/>
                  <a:gd name="T18" fmla="*/ 772 w 6288"/>
                  <a:gd name="T19" fmla="*/ 1874 h 6485"/>
                  <a:gd name="T20" fmla="*/ 282 w 6288"/>
                  <a:gd name="T21" fmla="*/ 3774 h 6485"/>
                  <a:gd name="T22" fmla="*/ 273 w 6288"/>
                  <a:gd name="T23" fmla="*/ 3818 h 6485"/>
                  <a:gd name="T24" fmla="*/ 253 w 6288"/>
                  <a:gd name="T25" fmla="*/ 4026 h 6485"/>
                  <a:gd name="T26" fmla="*/ 2161 w 6288"/>
                  <a:gd name="T27" fmla="*/ 6457 h 6485"/>
                  <a:gd name="T28" fmla="*/ 6288 w 6288"/>
                  <a:gd name="T29" fmla="*/ 6485 h 6485"/>
                  <a:gd name="T30" fmla="*/ 4331 w 6288"/>
                  <a:gd name="T31" fmla="*/ 1532 h 6485"/>
                  <a:gd name="T32" fmla="*/ 6053 w 6288"/>
                  <a:gd name="T33" fmla="*/ 2165 h 6485"/>
                  <a:gd name="T34" fmla="*/ 4173 w 6288"/>
                  <a:gd name="T35" fmla="*/ 3773 h 6485"/>
                  <a:gd name="T36" fmla="*/ 4129 w 6288"/>
                  <a:gd name="T37" fmla="*/ 3700 h 6485"/>
                  <a:gd name="T38" fmla="*/ 1936 w 6288"/>
                  <a:gd name="T39" fmla="*/ 6202 h 6485"/>
                  <a:gd name="T40" fmla="*/ 459 w 6288"/>
                  <a:gd name="T41" fmla="*/ 4058 h 6485"/>
                  <a:gd name="T42" fmla="*/ 2122 w 6288"/>
                  <a:gd name="T43" fmla="*/ 4294 h 6485"/>
                  <a:gd name="T44" fmla="*/ 1936 w 6288"/>
                  <a:gd name="T45" fmla="*/ 6202 h 6485"/>
                  <a:gd name="T46" fmla="*/ 2142 w 6288"/>
                  <a:gd name="T47" fmla="*/ 6240 h 6485"/>
                  <a:gd name="T48" fmla="*/ 2338 w 6288"/>
                  <a:gd name="T49" fmla="*/ 4353 h 6485"/>
                  <a:gd name="T50" fmla="*/ 3950 w 6288"/>
                  <a:gd name="T51" fmla="*/ 4018 h 6485"/>
                  <a:gd name="T52" fmla="*/ 4337 w 6288"/>
                  <a:gd name="T53" fmla="*/ 5827 h 6485"/>
                  <a:gd name="T54" fmla="*/ 4176 w 6288"/>
                  <a:gd name="T55" fmla="*/ 3984 h 6485"/>
                  <a:gd name="T56" fmla="*/ 5800 w 6288"/>
                  <a:gd name="T57" fmla="*/ 4158 h 6485"/>
                  <a:gd name="T58" fmla="*/ 4357 w 6288"/>
                  <a:gd name="T59" fmla="*/ 5825 h 6485"/>
                  <a:gd name="T60" fmla="*/ 660 w 6288"/>
                  <a:gd name="T61" fmla="*/ 1488 h 6485"/>
                  <a:gd name="T62" fmla="*/ 2352 w 6288"/>
                  <a:gd name="T63" fmla="*/ 662 h 6485"/>
                  <a:gd name="T64" fmla="*/ 2709 w 6288"/>
                  <a:gd name="T65" fmla="*/ 3358 h 6485"/>
                  <a:gd name="T66" fmla="*/ 2667 w 6288"/>
                  <a:gd name="T67" fmla="*/ 3457 h 6485"/>
                  <a:gd name="T68" fmla="*/ 1678 w 6288"/>
                  <a:gd name="T69" fmla="*/ 2000 h 6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288" h="6485">
                    <a:moveTo>
                      <a:pt x="6011" y="4156"/>
                    </a:moveTo>
                    <a:lnTo>
                      <a:pt x="6281" y="2028"/>
                    </a:lnTo>
                    <a:lnTo>
                      <a:pt x="4345" y="1294"/>
                    </a:lnTo>
                    <a:lnTo>
                      <a:pt x="2510" y="2170"/>
                    </a:lnTo>
                    <a:lnTo>
                      <a:pt x="2577" y="2370"/>
                    </a:lnTo>
                    <a:lnTo>
                      <a:pt x="4111" y="1637"/>
                    </a:lnTo>
                    <a:lnTo>
                      <a:pt x="3919" y="3699"/>
                    </a:lnTo>
                    <a:lnTo>
                      <a:pt x="3930" y="3810"/>
                    </a:lnTo>
                    <a:lnTo>
                      <a:pt x="2305" y="4055"/>
                    </a:lnTo>
                    <a:lnTo>
                      <a:pt x="2197" y="3097"/>
                    </a:lnTo>
                    <a:lnTo>
                      <a:pt x="1939" y="2683"/>
                    </a:lnTo>
                    <a:lnTo>
                      <a:pt x="2098" y="4086"/>
                    </a:lnTo>
                    <a:lnTo>
                      <a:pt x="2050" y="4093"/>
                    </a:lnTo>
                    <a:lnTo>
                      <a:pt x="484" y="3851"/>
                    </a:lnTo>
                    <a:lnTo>
                      <a:pt x="493" y="3774"/>
                    </a:lnTo>
                    <a:lnTo>
                      <a:pt x="253" y="1882"/>
                    </a:lnTo>
                    <a:lnTo>
                      <a:pt x="1865" y="2563"/>
                    </a:lnTo>
                    <a:lnTo>
                      <a:pt x="1674" y="2255"/>
                    </a:lnTo>
                    <a:lnTo>
                      <a:pt x="1485" y="2175"/>
                    </a:lnTo>
                    <a:cubicBezTo>
                      <a:pt x="1213" y="2164"/>
                      <a:pt x="962" y="2056"/>
                      <a:pt x="772" y="1874"/>
                    </a:cubicBezTo>
                    <a:lnTo>
                      <a:pt x="0" y="1548"/>
                    </a:lnTo>
                    <a:lnTo>
                      <a:pt x="282" y="3774"/>
                    </a:lnTo>
                    <a:lnTo>
                      <a:pt x="277" y="3819"/>
                    </a:lnTo>
                    <a:lnTo>
                      <a:pt x="273" y="3818"/>
                    </a:lnTo>
                    <a:lnTo>
                      <a:pt x="241" y="4025"/>
                    </a:lnTo>
                    <a:lnTo>
                      <a:pt x="253" y="4026"/>
                    </a:lnTo>
                    <a:lnTo>
                      <a:pt x="11" y="6053"/>
                    </a:lnTo>
                    <a:lnTo>
                      <a:pt x="2161" y="6457"/>
                    </a:lnTo>
                    <a:lnTo>
                      <a:pt x="4353" y="6039"/>
                    </a:lnTo>
                    <a:lnTo>
                      <a:pt x="6288" y="6485"/>
                    </a:lnTo>
                    <a:lnTo>
                      <a:pt x="6011" y="4156"/>
                    </a:lnTo>
                    <a:close/>
                    <a:moveTo>
                      <a:pt x="4331" y="1532"/>
                    </a:moveTo>
                    <a:lnTo>
                      <a:pt x="4355" y="1521"/>
                    </a:lnTo>
                    <a:lnTo>
                      <a:pt x="6053" y="2165"/>
                    </a:lnTo>
                    <a:lnTo>
                      <a:pt x="5822" y="3982"/>
                    </a:lnTo>
                    <a:lnTo>
                      <a:pt x="4173" y="3773"/>
                    </a:lnTo>
                    <a:lnTo>
                      <a:pt x="4137" y="3778"/>
                    </a:lnTo>
                    <a:lnTo>
                      <a:pt x="4129" y="3700"/>
                    </a:lnTo>
                    <a:lnTo>
                      <a:pt x="4331" y="1532"/>
                    </a:lnTo>
                    <a:close/>
                    <a:moveTo>
                      <a:pt x="1936" y="6202"/>
                    </a:moveTo>
                    <a:lnTo>
                      <a:pt x="242" y="5884"/>
                    </a:lnTo>
                    <a:lnTo>
                      <a:pt x="459" y="4058"/>
                    </a:lnTo>
                    <a:lnTo>
                      <a:pt x="2049" y="4305"/>
                    </a:lnTo>
                    <a:lnTo>
                      <a:pt x="2122" y="4294"/>
                    </a:lnTo>
                    <a:lnTo>
                      <a:pt x="2130" y="4365"/>
                    </a:lnTo>
                    <a:lnTo>
                      <a:pt x="1936" y="6202"/>
                    </a:lnTo>
                    <a:close/>
                    <a:moveTo>
                      <a:pt x="2161" y="6244"/>
                    </a:moveTo>
                    <a:lnTo>
                      <a:pt x="2142" y="6240"/>
                    </a:lnTo>
                    <a:lnTo>
                      <a:pt x="2340" y="4364"/>
                    </a:lnTo>
                    <a:lnTo>
                      <a:pt x="2338" y="4353"/>
                    </a:lnTo>
                    <a:lnTo>
                      <a:pt x="2328" y="4263"/>
                    </a:lnTo>
                    <a:lnTo>
                      <a:pt x="3950" y="4018"/>
                    </a:lnTo>
                    <a:lnTo>
                      <a:pt x="4129" y="5847"/>
                    </a:lnTo>
                    <a:lnTo>
                      <a:pt x="4337" y="5827"/>
                    </a:lnTo>
                    <a:lnTo>
                      <a:pt x="4157" y="3987"/>
                    </a:lnTo>
                    <a:lnTo>
                      <a:pt x="4176" y="3984"/>
                    </a:lnTo>
                    <a:lnTo>
                      <a:pt x="5797" y="4190"/>
                    </a:lnTo>
                    <a:lnTo>
                      <a:pt x="5800" y="4158"/>
                    </a:lnTo>
                    <a:lnTo>
                      <a:pt x="6045" y="6215"/>
                    </a:lnTo>
                    <a:lnTo>
                      <a:pt x="4357" y="5825"/>
                    </a:lnTo>
                    <a:lnTo>
                      <a:pt x="2161" y="6244"/>
                    </a:lnTo>
                    <a:close/>
                    <a:moveTo>
                      <a:pt x="660" y="1488"/>
                    </a:moveTo>
                    <a:cubicBezTo>
                      <a:pt x="432" y="1020"/>
                      <a:pt x="626" y="457"/>
                      <a:pt x="1093" y="229"/>
                    </a:cubicBezTo>
                    <a:cubicBezTo>
                      <a:pt x="1561" y="0"/>
                      <a:pt x="2124" y="195"/>
                      <a:pt x="2352" y="662"/>
                    </a:cubicBezTo>
                    <a:cubicBezTo>
                      <a:pt x="2533" y="1033"/>
                      <a:pt x="2448" y="1464"/>
                      <a:pt x="2171" y="1741"/>
                    </a:cubicBezTo>
                    <a:lnTo>
                      <a:pt x="2709" y="3358"/>
                    </a:lnTo>
                    <a:cubicBezTo>
                      <a:pt x="2722" y="3397"/>
                      <a:pt x="2704" y="3438"/>
                      <a:pt x="2668" y="3456"/>
                    </a:cubicBezTo>
                    <a:cubicBezTo>
                      <a:pt x="2668" y="3456"/>
                      <a:pt x="2667" y="3457"/>
                      <a:pt x="2667" y="3457"/>
                    </a:cubicBezTo>
                    <a:cubicBezTo>
                      <a:pt x="2630" y="3474"/>
                      <a:pt x="2585" y="3461"/>
                      <a:pt x="2564" y="3426"/>
                    </a:cubicBezTo>
                    <a:lnTo>
                      <a:pt x="1678" y="2000"/>
                    </a:lnTo>
                    <a:cubicBezTo>
                      <a:pt x="1273" y="2075"/>
                      <a:pt x="850" y="1877"/>
                      <a:pt x="660" y="14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8515538" y="18830"/>
                <a:ext cx="962526" cy="962526"/>
              </a:xfrm>
              <a:prstGeom prst="ellipse">
                <a:avLst/>
              </a:prstGeom>
              <a:noFill/>
              <a:ln w="28575" cap="flat">
                <a:solidFill>
                  <a:schemeClr val="accent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l">
                  <a:lnSpc>
                    <a:spcPct val="120000"/>
                  </a:lnSpc>
                </a:pPr>
                <a:endParaRPr lang="zh-CN" altLang="en-US" dirty="0"/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1363124" y="5381324"/>
              <a:ext cx="889064" cy="889064"/>
              <a:chOff x="10171520" y="28905"/>
              <a:chExt cx="962526" cy="962526"/>
            </a:xfrm>
          </p:grpSpPr>
          <p:sp>
            <p:nvSpPr>
              <p:cNvPr id="11" name="auction_114912"/>
              <p:cNvSpPr/>
              <p:nvPr/>
            </p:nvSpPr>
            <p:spPr>
              <a:xfrm flipH="1">
                <a:off x="10356487" y="264281"/>
                <a:ext cx="627325" cy="494695"/>
              </a:xfrm>
              <a:custGeom>
                <a:avLst/>
                <a:gdLst>
                  <a:gd name="connsiteX0" fmla="*/ 346117 w 608133"/>
                  <a:gd name="connsiteY0" fmla="*/ 437567 h 479562"/>
                  <a:gd name="connsiteX1" fmla="*/ 334987 w 608133"/>
                  <a:gd name="connsiteY1" fmla="*/ 448681 h 479562"/>
                  <a:gd name="connsiteX2" fmla="*/ 334987 w 608133"/>
                  <a:gd name="connsiteY2" fmla="*/ 459892 h 479562"/>
                  <a:gd name="connsiteX3" fmla="*/ 588433 w 608133"/>
                  <a:gd name="connsiteY3" fmla="*/ 459892 h 479562"/>
                  <a:gd name="connsiteX4" fmla="*/ 588433 w 608133"/>
                  <a:gd name="connsiteY4" fmla="*/ 448681 h 479562"/>
                  <a:gd name="connsiteX5" fmla="*/ 577302 w 608133"/>
                  <a:gd name="connsiteY5" fmla="*/ 437567 h 479562"/>
                  <a:gd name="connsiteX6" fmla="*/ 388178 w 608133"/>
                  <a:gd name="connsiteY6" fmla="*/ 395572 h 479562"/>
                  <a:gd name="connsiteX7" fmla="*/ 377047 w 608133"/>
                  <a:gd name="connsiteY7" fmla="*/ 406784 h 479562"/>
                  <a:gd name="connsiteX8" fmla="*/ 377047 w 608133"/>
                  <a:gd name="connsiteY8" fmla="*/ 417897 h 479562"/>
                  <a:gd name="connsiteX9" fmla="*/ 546471 w 608133"/>
                  <a:gd name="connsiteY9" fmla="*/ 417897 h 479562"/>
                  <a:gd name="connsiteX10" fmla="*/ 546471 w 608133"/>
                  <a:gd name="connsiteY10" fmla="*/ 406784 h 479562"/>
                  <a:gd name="connsiteX11" fmla="*/ 535242 w 608133"/>
                  <a:gd name="connsiteY11" fmla="*/ 395572 h 479562"/>
                  <a:gd name="connsiteX12" fmla="*/ 388178 w 608133"/>
                  <a:gd name="connsiteY12" fmla="*/ 375902 h 479562"/>
                  <a:gd name="connsiteX13" fmla="*/ 535242 w 608133"/>
                  <a:gd name="connsiteY13" fmla="*/ 375902 h 479562"/>
                  <a:gd name="connsiteX14" fmla="*/ 566171 w 608133"/>
                  <a:gd name="connsiteY14" fmla="*/ 406784 h 479562"/>
                  <a:gd name="connsiteX15" fmla="*/ 566171 w 608133"/>
                  <a:gd name="connsiteY15" fmla="*/ 417897 h 479562"/>
                  <a:gd name="connsiteX16" fmla="*/ 577302 w 608133"/>
                  <a:gd name="connsiteY16" fmla="*/ 417897 h 479562"/>
                  <a:gd name="connsiteX17" fmla="*/ 608133 w 608133"/>
                  <a:gd name="connsiteY17" fmla="*/ 448681 h 479562"/>
                  <a:gd name="connsiteX18" fmla="*/ 608133 w 608133"/>
                  <a:gd name="connsiteY18" fmla="*/ 469727 h 479562"/>
                  <a:gd name="connsiteX19" fmla="*/ 598283 w 608133"/>
                  <a:gd name="connsiteY19" fmla="*/ 479562 h 479562"/>
                  <a:gd name="connsiteX20" fmla="*/ 325136 w 608133"/>
                  <a:gd name="connsiteY20" fmla="*/ 479562 h 479562"/>
                  <a:gd name="connsiteX21" fmla="*/ 315286 w 608133"/>
                  <a:gd name="connsiteY21" fmla="*/ 469727 h 479562"/>
                  <a:gd name="connsiteX22" fmla="*/ 315286 w 608133"/>
                  <a:gd name="connsiteY22" fmla="*/ 448681 h 479562"/>
                  <a:gd name="connsiteX23" fmla="*/ 346117 w 608133"/>
                  <a:gd name="connsiteY23" fmla="*/ 417897 h 479562"/>
                  <a:gd name="connsiteX24" fmla="*/ 357347 w 608133"/>
                  <a:gd name="connsiteY24" fmla="*/ 417897 h 479562"/>
                  <a:gd name="connsiteX25" fmla="*/ 357347 w 608133"/>
                  <a:gd name="connsiteY25" fmla="*/ 406784 h 479562"/>
                  <a:gd name="connsiteX26" fmla="*/ 388178 w 608133"/>
                  <a:gd name="connsiteY26" fmla="*/ 375902 h 479562"/>
                  <a:gd name="connsiteX27" fmla="*/ 195074 w 608133"/>
                  <a:gd name="connsiteY27" fmla="*/ 237519 h 479562"/>
                  <a:gd name="connsiteX28" fmla="*/ 22956 w 608133"/>
                  <a:gd name="connsiteY28" fmla="*/ 409340 h 479562"/>
                  <a:gd name="connsiteX29" fmla="*/ 19705 w 608133"/>
                  <a:gd name="connsiteY29" fmla="*/ 417208 h 479562"/>
                  <a:gd name="connsiteX30" fmla="*/ 22956 w 608133"/>
                  <a:gd name="connsiteY30" fmla="*/ 425174 h 479562"/>
                  <a:gd name="connsiteX31" fmla="*/ 38719 w 608133"/>
                  <a:gd name="connsiteY31" fmla="*/ 425174 h 479562"/>
                  <a:gd name="connsiteX32" fmla="*/ 210936 w 608133"/>
                  <a:gd name="connsiteY32" fmla="*/ 253256 h 479562"/>
                  <a:gd name="connsiteX33" fmla="*/ 210443 w 608133"/>
                  <a:gd name="connsiteY33" fmla="*/ 252862 h 479562"/>
                  <a:gd name="connsiteX34" fmla="*/ 195567 w 608133"/>
                  <a:gd name="connsiteY34" fmla="*/ 238011 h 479562"/>
                  <a:gd name="connsiteX35" fmla="*/ 195074 w 608133"/>
                  <a:gd name="connsiteY35" fmla="*/ 237519 h 479562"/>
                  <a:gd name="connsiteX36" fmla="*/ 418030 w 608133"/>
                  <a:gd name="connsiteY36" fmla="*/ 197687 h 479562"/>
                  <a:gd name="connsiteX37" fmla="*/ 410148 w 608133"/>
                  <a:gd name="connsiteY37" fmla="*/ 200933 h 479562"/>
                  <a:gd name="connsiteX38" fmla="*/ 358128 w 608133"/>
                  <a:gd name="connsiteY38" fmla="*/ 252862 h 479562"/>
                  <a:gd name="connsiteX39" fmla="*/ 350641 w 608133"/>
                  <a:gd name="connsiteY39" fmla="*/ 260239 h 479562"/>
                  <a:gd name="connsiteX40" fmla="*/ 350641 w 608133"/>
                  <a:gd name="connsiteY40" fmla="*/ 276073 h 479562"/>
                  <a:gd name="connsiteX41" fmla="*/ 366503 w 608133"/>
                  <a:gd name="connsiteY41" fmla="*/ 276073 h 479562"/>
                  <a:gd name="connsiteX42" fmla="*/ 425911 w 608133"/>
                  <a:gd name="connsiteY42" fmla="*/ 216669 h 479562"/>
                  <a:gd name="connsiteX43" fmla="*/ 429163 w 608133"/>
                  <a:gd name="connsiteY43" fmla="*/ 208801 h 479562"/>
                  <a:gd name="connsiteX44" fmla="*/ 425911 w 608133"/>
                  <a:gd name="connsiteY44" fmla="*/ 200933 h 479562"/>
                  <a:gd name="connsiteX45" fmla="*/ 418030 w 608133"/>
                  <a:gd name="connsiteY45" fmla="*/ 197687 h 479562"/>
                  <a:gd name="connsiteX46" fmla="*/ 366010 w 608133"/>
                  <a:gd name="connsiteY46" fmla="*/ 185590 h 479562"/>
                  <a:gd name="connsiteX47" fmla="*/ 335370 w 608133"/>
                  <a:gd name="connsiteY47" fmla="*/ 216177 h 479562"/>
                  <a:gd name="connsiteX48" fmla="*/ 351133 w 608133"/>
                  <a:gd name="connsiteY48" fmla="*/ 232012 h 479562"/>
                  <a:gd name="connsiteX49" fmla="*/ 381774 w 608133"/>
                  <a:gd name="connsiteY49" fmla="*/ 201424 h 479562"/>
                  <a:gd name="connsiteX50" fmla="*/ 247094 w 608133"/>
                  <a:gd name="connsiteY50" fmla="*/ 170739 h 479562"/>
                  <a:gd name="connsiteX51" fmla="*/ 209458 w 608133"/>
                  <a:gd name="connsiteY51" fmla="*/ 208309 h 479562"/>
                  <a:gd name="connsiteX52" fmla="*/ 209458 w 608133"/>
                  <a:gd name="connsiteY52" fmla="*/ 224144 h 479562"/>
                  <a:gd name="connsiteX53" fmla="*/ 224335 w 608133"/>
                  <a:gd name="connsiteY53" fmla="*/ 238896 h 479562"/>
                  <a:gd name="connsiteX54" fmla="*/ 240197 w 608133"/>
                  <a:gd name="connsiteY54" fmla="*/ 238896 h 479562"/>
                  <a:gd name="connsiteX55" fmla="*/ 277734 w 608133"/>
                  <a:gd name="connsiteY55" fmla="*/ 201424 h 479562"/>
                  <a:gd name="connsiteX56" fmla="*/ 284237 w 608133"/>
                  <a:gd name="connsiteY56" fmla="*/ 89500 h 479562"/>
                  <a:gd name="connsiteX57" fmla="*/ 283843 w 608133"/>
                  <a:gd name="connsiteY57" fmla="*/ 89599 h 479562"/>
                  <a:gd name="connsiteX58" fmla="*/ 283843 w 608133"/>
                  <a:gd name="connsiteY58" fmla="*/ 89697 h 479562"/>
                  <a:gd name="connsiteX59" fmla="*/ 239212 w 608133"/>
                  <a:gd name="connsiteY59" fmla="*/ 134152 h 479562"/>
                  <a:gd name="connsiteX60" fmla="*/ 239015 w 608133"/>
                  <a:gd name="connsiteY60" fmla="*/ 134644 h 479562"/>
                  <a:gd name="connsiteX61" fmla="*/ 239212 w 608133"/>
                  <a:gd name="connsiteY61" fmla="*/ 135037 h 479562"/>
                  <a:gd name="connsiteX62" fmla="*/ 298621 w 608133"/>
                  <a:gd name="connsiteY62" fmla="*/ 194441 h 479562"/>
                  <a:gd name="connsiteX63" fmla="*/ 313498 w 608133"/>
                  <a:gd name="connsiteY63" fmla="*/ 209292 h 479562"/>
                  <a:gd name="connsiteX64" fmla="*/ 313990 w 608133"/>
                  <a:gd name="connsiteY64" fmla="*/ 209489 h 479562"/>
                  <a:gd name="connsiteX65" fmla="*/ 314483 w 608133"/>
                  <a:gd name="connsiteY65" fmla="*/ 209292 h 479562"/>
                  <a:gd name="connsiteX66" fmla="*/ 359015 w 608133"/>
                  <a:gd name="connsiteY66" fmla="*/ 164739 h 479562"/>
                  <a:gd name="connsiteX67" fmla="*/ 359015 w 608133"/>
                  <a:gd name="connsiteY67" fmla="*/ 163854 h 479562"/>
                  <a:gd name="connsiteX68" fmla="*/ 284729 w 608133"/>
                  <a:gd name="connsiteY68" fmla="*/ 89599 h 479562"/>
                  <a:gd name="connsiteX69" fmla="*/ 284237 w 608133"/>
                  <a:gd name="connsiteY69" fmla="*/ 89500 h 479562"/>
                  <a:gd name="connsiteX70" fmla="*/ 247094 w 608133"/>
                  <a:gd name="connsiteY70" fmla="*/ 66978 h 479562"/>
                  <a:gd name="connsiteX71" fmla="*/ 216453 w 608133"/>
                  <a:gd name="connsiteY71" fmla="*/ 97565 h 479562"/>
                  <a:gd name="connsiteX72" fmla="*/ 232217 w 608133"/>
                  <a:gd name="connsiteY72" fmla="*/ 113301 h 479562"/>
                  <a:gd name="connsiteX73" fmla="*/ 262857 w 608133"/>
                  <a:gd name="connsiteY73" fmla="*/ 82714 h 479562"/>
                  <a:gd name="connsiteX74" fmla="*/ 239705 w 608133"/>
                  <a:gd name="connsiteY74" fmla="*/ 19671 h 479562"/>
                  <a:gd name="connsiteX75" fmla="*/ 231823 w 608133"/>
                  <a:gd name="connsiteY75" fmla="*/ 22916 h 479562"/>
                  <a:gd name="connsiteX76" fmla="*/ 172315 w 608133"/>
                  <a:gd name="connsiteY76" fmla="*/ 82222 h 479562"/>
                  <a:gd name="connsiteX77" fmla="*/ 169064 w 608133"/>
                  <a:gd name="connsiteY77" fmla="*/ 90090 h 479562"/>
                  <a:gd name="connsiteX78" fmla="*/ 172315 w 608133"/>
                  <a:gd name="connsiteY78" fmla="*/ 97958 h 479562"/>
                  <a:gd name="connsiteX79" fmla="*/ 180197 w 608133"/>
                  <a:gd name="connsiteY79" fmla="*/ 101302 h 479562"/>
                  <a:gd name="connsiteX80" fmla="*/ 188177 w 608133"/>
                  <a:gd name="connsiteY80" fmla="*/ 97958 h 479562"/>
                  <a:gd name="connsiteX81" fmla="*/ 240197 w 608133"/>
                  <a:gd name="connsiteY81" fmla="*/ 46029 h 479562"/>
                  <a:gd name="connsiteX82" fmla="*/ 247586 w 608133"/>
                  <a:gd name="connsiteY82" fmla="*/ 38652 h 479562"/>
                  <a:gd name="connsiteX83" fmla="*/ 247586 w 608133"/>
                  <a:gd name="connsiteY83" fmla="*/ 22916 h 479562"/>
                  <a:gd name="connsiteX84" fmla="*/ 239705 w 608133"/>
                  <a:gd name="connsiteY84" fmla="*/ 19671 h 479562"/>
                  <a:gd name="connsiteX85" fmla="*/ 239705 w 608133"/>
                  <a:gd name="connsiteY85" fmla="*/ 0 h 479562"/>
                  <a:gd name="connsiteX86" fmla="*/ 261478 w 608133"/>
                  <a:gd name="connsiteY86" fmla="*/ 8950 h 479562"/>
                  <a:gd name="connsiteX87" fmla="*/ 270542 w 608133"/>
                  <a:gd name="connsiteY87" fmla="*/ 30784 h 479562"/>
                  <a:gd name="connsiteX88" fmla="*/ 261478 w 608133"/>
                  <a:gd name="connsiteY88" fmla="*/ 52520 h 479562"/>
                  <a:gd name="connsiteX89" fmla="*/ 261084 w 608133"/>
                  <a:gd name="connsiteY89" fmla="*/ 53012 h 479562"/>
                  <a:gd name="connsiteX90" fmla="*/ 278621 w 608133"/>
                  <a:gd name="connsiteY90" fmla="*/ 70617 h 479562"/>
                  <a:gd name="connsiteX91" fmla="*/ 298621 w 608133"/>
                  <a:gd name="connsiteY91" fmla="*/ 75731 h 479562"/>
                  <a:gd name="connsiteX92" fmla="*/ 373005 w 608133"/>
                  <a:gd name="connsiteY92" fmla="*/ 149888 h 479562"/>
                  <a:gd name="connsiteX93" fmla="*/ 378128 w 608133"/>
                  <a:gd name="connsiteY93" fmla="*/ 169952 h 479562"/>
                  <a:gd name="connsiteX94" fmla="*/ 395764 w 608133"/>
                  <a:gd name="connsiteY94" fmla="*/ 187458 h 479562"/>
                  <a:gd name="connsiteX95" fmla="*/ 396158 w 608133"/>
                  <a:gd name="connsiteY95" fmla="*/ 186967 h 479562"/>
                  <a:gd name="connsiteX96" fmla="*/ 418030 w 608133"/>
                  <a:gd name="connsiteY96" fmla="*/ 178017 h 479562"/>
                  <a:gd name="connsiteX97" fmla="*/ 439902 w 608133"/>
                  <a:gd name="connsiteY97" fmla="*/ 186967 h 479562"/>
                  <a:gd name="connsiteX98" fmla="*/ 448867 w 608133"/>
                  <a:gd name="connsiteY98" fmla="*/ 208801 h 479562"/>
                  <a:gd name="connsiteX99" fmla="*/ 439902 w 608133"/>
                  <a:gd name="connsiteY99" fmla="*/ 230635 h 479562"/>
                  <a:gd name="connsiteX100" fmla="*/ 380394 w 608133"/>
                  <a:gd name="connsiteY100" fmla="*/ 289941 h 479562"/>
                  <a:gd name="connsiteX101" fmla="*/ 358621 w 608133"/>
                  <a:gd name="connsiteY101" fmla="*/ 298989 h 479562"/>
                  <a:gd name="connsiteX102" fmla="*/ 336749 w 608133"/>
                  <a:gd name="connsiteY102" fmla="*/ 289941 h 479562"/>
                  <a:gd name="connsiteX103" fmla="*/ 336749 w 608133"/>
                  <a:gd name="connsiteY103" fmla="*/ 246371 h 479562"/>
                  <a:gd name="connsiteX104" fmla="*/ 337242 w 608133"/>
                  <a:gd name="connsiteY104" fmla="*/ 245879 h 479562"/>
                  <a:gd name="connsiteX105" fmla="*/ 319606 w 608133"/>
                  <a:gd name="connsiteY105" fmla="*/ 228373 h 479562"/>
                  <a:gd name="connsiteX106" fmla="*/ 313990 w 608133"/>
                  <a:gd name="connsiteY106" fmla="*/ 229160 h 479562"/>
                  <a:gd name="connsiteX107" fmla="*/ 299606 w 608133"/>
                  <a:gd name="connsiteY107" fmla="*/ 223160 h 479562"/>
                  <a:gd name="connsiteX108" fmla="*/ 291724 w 608133"/>
                  <a:gd name="connsiteY108" fmla="*/ 215292 h 479562"/>
                  <a:gd name="connsiteX109" fmla="*/ 254089 w 608133"/>
                  <a:gd name="connsiteY109" fmla="*/ 252862 h 479562"/>
                  <a:gd name="connsiteX110" fmla="*/ 232217 w 608133"/>
                  <a:gd name="connsiteY110" fmla="*/ 261812 h 479562"/>
                  <a:gd name="connsiteX111" fmla="*/ 230246 w 608133"/>
                  <a:gd name="connsiteY111" fmla="*/ 261812 h 479562"/>
                  <a:gd name="connsiteX112" fmla="*/ 52709 w 608133"/>
                  <a:gd name="connsiteY112" fmla="*/ 439042 h 479562"/>
                  <a:gd name="connsiteX113" fmla="*/ 30838 w 608133"/>
                  <a:gd name="connsiteY113" fmla="*/ 448090 h 479562"/>
                  <a:gd name="connsiteX114" fmla="*/ 9064 w 608133"/>
                  <a:gd name="connsiteY114" fmla="*/ 439042 h 479562"/>
                  <a:gd name="connsiteX115" fmla="*/ 0 w 608133"/>
                  <a:gd name="connsiteY115" fmla="*/ 417208 h 479562"/>
                  <a:gd name="connsiteX116" fmla="*/ 9064 w 608133"/>
                  <a:gd name="connsiteY116" fmla="*/ 395472 h 479562"/>
                  <a:gd name="connsiteX117" fmla="*/ 186601 w 608133"/>
                  <a:gd name="connsiteY117" fmla="*/ 218144 h 479562"/>
                  <a:gd name="connsiteX118" fmla="*/ 195567 w 608133"/>
                  <a:gd name="connsiteY118" fmla="*/ 194441 h 479562"/>
                  <a:gd name="connsiteX119" fmla="*/ 233202 w 608133"/>
                  <a:gd name="connsiteY119" fmla="*/ 156871 h 479562"/>
                  <a:gd name="connsiteX120" fmla="*/ 225320 w 608133"/>
                  <a:gd name="connsiteY120" fmla="*/ 149003 h 479562"/>
                  <a:gd name="connsiteX121" fmla="*/ 219310 w 608133"/>
                  <a:gd name="connsiteY121" fmla="*/ 134644 h 479562"/>
                  <a:gd name="connsiteX122" fmla="*/ 220099 w 608133"/>
                  <a:gd name="connsiteY122" fmla="*/ 129038 h 479562"/>
                  <a:gd name="connsiteX123" fmla="*/ 202562 w 608133"/>
                  <a:gd name="connsiteY123" fmla="*/ 111433 h 479562"/>
                  <a:gd name="connsiteX124" fmla="*/ 202069 w 608133"/>
                  <a:gd name="connsiteY124" fmla="*/ 111924 h 479562"/>
                  <a:gd name="connsiteX125" fmla="*/ 180197 w 608133"/>
                  <a:gd name="connsiteY125" fmla="*/ 120973 h 479562"/>
                  <a:gd name="connsiteX126" fmla="*/ 158424 w 608133"/>
                  <a:gd name="connsiteY126" fmla="*/ 111924 h 479562"/>
                  <a:gd name="connsiteX127" fmla="*/ 149360 w 608133"/>
                  <a:gd name="connsiteY127" fmla="*/ 90090 h 479562"/>
                  <a:gd name="connsiteX128" fmla="*/ 158424 w 608133"/>
                  <a:gd name="connsiteY128" fmla="*/ 68355 h 479562"/>
                  <a:gd name="connsiteX129" fmla="*/ 217833 w 608133"/>
                  <a:gd name="connsiteY129" fmla="*/ 8950 h 479562"/>
                  <a:gd name="connsiteX130" fmla="*/ 239705 w 608133"/>
                  <a:gd name="connsiteY130" fmla="*/ 0 h 47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608133" h="479562">
                    <a:moveTo>
                      <a:pt x="346117" y="437567"/>
                    </a:moveTo>
                    <a:cubicBezTo>
                      <a:pt x="340010" y="437567"/>
                      <a:pt x="334987" y="442583"/>
                      <a:pt x="334987" y="448681"/>
                    </a:cubicBezTo>
                    <a:lnTo>
                      <a:pt x="334987" y="459892"/>
                    </a:lnTo>
                    <a:lnTo>
                      <a:pt x="588433" y="459892"/>
                    </a:lnTo>
                    <a:lnTo>
                      <a:pt x="588433" y="448681"/>
                    </a:lnTo>
                    <a:cubicBezTo>
                      <a:pt x="588433" y="442583"/>
                      <a:pt x="583409" y="437567"/>
                      <a:pt x="577302" y="437567"/>
                    </a:cubicBezTo>
                    <a:close/>
                    <a:moveTo>
                      <a:pt x="388178" y="395572"/>
                    </a:moveTo>
                    <a:cubicBezTo>
                      <a:pt x="382071" y="395572"/>
                      <a:pt x="377047" y="400588"/>
                      <a:pt x="377047" y="406784"/>
                    </a:cubicBezTo>
                    <a:lnTo>
                      <a:pt x="377047" y="417897"/>
                    </a:lnTo>
                    <a:lnTo>
                      <a:pt x="546471" y="417897"/>
                    </a:lnTo>
                    <a:lnTo>
                      <a:pt x="546471" y="406784"/>
                    </a:lnTo>
                    <a:cubicBezTo>
                      <a:pt x="546471" y="400588"/>
                      <a:pt x="541447" y="395572"/>
                      <a:pt x="535242" y="395572"/>
                    </a:cubicBezTo>
                    <a:close/>
                    <a:moveTo>
                      <a:pt x="388178" y="375902"/>
                    </a:moveTo>
                    <a:lnTo>
                      <a:pt x="535242" y="375902"/>
                    </a:lnTo>
                    <a:cubicBezTo>
                      <a:pt x="552282" y="375902"/>
                      <a:pt x="566171" y="389769"/>
                      <a:pt x="566171" y="406784"/>
                    </a:cubicBezTo>
                    <a:lnTo>
                      <a:pt x="566171" y="417897"/>
                    </a:lnTo>
                    <a:lnTo>
                      <a:pt x="577302" y="417897"/>
                    </a:lnTo>
                    <a:cubicBezTo>
                      <a:pt x="594343" y="417897"/>
                      <a:pt x="608133" y="431765"/>
                      <a:pt x="608133" y="448681"/>
                    </a:cubicBezTo>
                    <a:lnTo>
                      <a:pt x="608133" y="469727"/>
                    </a:lnTo>
                    <a:cubicBezTo>
                      <a:pt x="608133" y="475137"/>
                      <a:pt x="603799" y="479562"/>
                      <a:pt x="598283" y="479562"/>
                    </a:cubicBezTo>
                    <a:lnTo>
                      <a:pt x="325136" y="479562"/>
                    </a:lnTo>
                    <a:cubicBezTo>
                      <a:pt x="319719" y="479562"/>
                      <a:pt x="315286" y="475137"/>
                      <a:pt x="315286" y="469727"/>
                    </a:cubicBezTo>
                    <a:lnTo>
                      <a:pt x="315286" y="448681"/>
                    </a:lnTo>
                    <a:cubicBezTo>
                      <a:pt x="315286" y="431765"/>
                      <a:pt x="329175" y="417897"/>
                      <a:pt x="346117" y="417897"/>
                    </a:cubicBezTo>
                    <a:lnTo>
                      <a:pt x="357347" y="417897"/>
                    </a:lnTo>
                    <a:lnTo>
                      <a:pt x="357347" y="406784"/>
                    </a:lnTo>
                    <a:cubicBezTo>
                      <a:pt x="357347" y="389769"/>
                      <a:pt x="371137" y="375902"/>
                      <a:pt x="388178" y="375902"/>
                    </a:cubicBezTo>
                    <a:close/>
                    <a:moveTo>
                      <a:pt x="195074" y="237519"/>
                    </a:moveTo>
                    <a:lnTo>
                      <a:pt x="22956" y="409340"/>
                    </a:lnTo>
                    <a:cubicBezTo>
                      <a:pt x="20887" y="411503"/>
                      <a:pt x="19705" y="414257"/>
                      <a:pt x="19705" y="417208"/>
                    </a:cubicBezTo>
                    <a:cubicBezTo>
                      <a:pt x="19705" y="420257"/>
                      <a:pt x="20887" y="423011"/>
                      <a:pt x="22956" y="425174"/>
                    </a:cubicBezTo>
                    <a:cubicBezTo>
                      <a:pt x="27291" y="429502"/>
                      <a:pt x="34384" y="429502"/>
                      <a:pt x="38719" y="425174"/>
                    </a:cubicBezTo>
                    <a:lnTo>
                      <a:pt x="210936" y="253256"/>
                    </a:lnTo>
                    <a:cubicBezTo>
                      <a:pt x="210739" y="253157"/>
                      <a:pt x="210542" y="252961"/>
                      <a:pt x="210443" y="252862"/>
                    </a:cubicBezTo>
                    <a:lnTo>
                      <a:pt x="195567" y="238011"/>
                    </a:lnTo>
                    <a:cubicBezTo>
                      <a:pt x="195370" y="237814"/>
                      <a:pt x="195271" y="237716"/>
                      <a:pt x="195074" y="237519"/>
                    </a:cubicBezTo>
                    <a:close/>
                    <a:moveTo>
                      <a:pt x="418030" y="197687"/>
                    </a:moveTo>
                    <a:cubicBezTo>
                      <a:pt x="415074" y="197687"/>
                      <a:pt x="412217" y="198769"/>
                      <a:pt x="410148" y="200933"/>
                    </a:cubicBezTo>
                    <a:lnTo>
                      <a:pt x="358128" y="252862"/>
                    </a:lnTo>
                    <a:lnTo>
                      <a:pt x="350641" y="260239"/>
                    </a:lnTo>
                    <a:cubicBezTo>
                      <a:pt x="346306" y="264566"/>
                      <a:pt x="346306" y="271647"/>
                      <a:pt x="350641" y="276073"/>
                    </a:cubicBezTo>
                    <a:cubicBezTo>
                      <a:pt x="355074" y="280401"/>
                      <a:pt x="362168" y="280401"/>
                      <a:pt x="366503" y="276073"/>
                    </a:cubicBezTo>
                    <a:lnTo>
                      <a:pt x="425911" y="216669"/>
                    </a:lnTo>
                    <a:cubicBezTo>
                      <a:pt x="428079" y="214603"/>
                      <a:pt x="429163" y="211751"/>
                      <a:pt x="429163" y="208801"/>
                    </a:cubicBezTo>
                    <a:cubicBezTo>
                      <a:pt x="429163" y="205850"/>
                      <a:pt x="428079" y="202998"/>
                      <a:pt x="425911" y="200933"/>
                    </a:cubicBezTo>
                    <a:cubicBezTo>
                      <a:pt x="423843" y="198769"/>
                      <a:pt x="420985" y="197687"/>
                      <a:pt x="418030" y="197687"/>
                    </a:cubicBezTo>
                    <a:close/>
                    <a:moveTo>
                      <a:pt x="366010" y="185590"/>
                    </a:moveTo>
                    <a:lnTo>
                      <a:pt x="335370" y="216177"/>
                    </a:lnTo>
                    <a:lnTo>
                      <a:pt x="351133" y="232012"/>
                    </a:lnTo>
                    <a:lnTo>
                      <a:pt x="381774" y="201424"/>
                    </a:lnTo>
                    <a:close/>
                    <a:moveTo>
                      <a:pt x="247094" y="170739"/>
                    </a:moveTo>
                    <a:lnTo>
                      <a:pt x="209458" y="208309"/>
                    </a:lnTo>
                    <a:cubicBezTo>
                      <a:pt x="205123" y="212636"/>
                      <a:pt x="205123" y="219718"/>
                      <a:pt x="209458" y="224144"/>
                    </a:cubicBezTo>
                    <a:lnTo>
                      <a:pt x="224335" y="238896"/>
                    </a:lnTo>
                    <a:cubicBezTo>
                      <a:pt x="228670" y="243322"/>
                      <a:pt x="235764" y="243322"/>
                      <a:pt x="240197" y="238896"/>
                    </a:cubicBezTo>
                    <a:lnTo>
                      <a:pt x="277734" y="201424"/>
                    </a:lnTo>
                    <a:close/>
                    <a:moveTo>
                      <a:pt x="284237" y="89500"/>
                    </a:moveTo>
                    <a:cubicBezTo>
                      <a:pt x="284138" y="89500"/>
                      <a:pt x="283941" y="89500"/>
                      <a:pt x="283843" y="89599"/>
                    </a:cubicBezTo>
                    <a:lnTo>
                      <a:pt x="283843" y="89697"/>
                    </a:lnTo>
                    <a:lnTo>
                      <a:pt x="239212" y="134152"/>
                    </a:lnTo>
                    <a:cubicBezTo>
                      <a:pt x="239212" y="134250"/>
                      <a:pt x="239015" y="134349"/>
                      <a:pt x="239015" y="134644"/>
                    </a:cubicBezTo>
                    <a:cubicBezTo>
                      <a:pt x="239015" y="134939"/>
                      <a:pt x="239212" y="135037"/>
                      <a:pt x="239212" y="135037"/>
                    </a:cubicBezTo>
                    <a:lnTo>
                      <a:pt x="298621" y="194441"/>
                    </a:lnTo>
                    <a:lnTo>
                      <a:pt x="313498" y="209292"/>
                    </a:lnTo>
                    <a:cubicBezTo>
                      <a:pt x="313596" y="209292"/>
                      <a:pt x="313695" y="209489"/>
                      <a:pt x="313990" y="209489"/>
                    </a:cubicBezTo>
                    <a:cubicBezTo>
                      <a:pt x="314286" y="209489"/>
                      <a:pt x="314384" y="209292"/>
                      <a:pt x="314483" y="209292"/>
                    </a:cubicBezTo>
                    <a:lnTo>
                      <a:pt x="359015" y="164739"/>
                    </a:lnTo>
                    <a:cubicBezTo>
                      <a:pt x="359310" y="164543"/>
                      <a:pt x="359310" y="164051"/>
                      <a:pt x="359015" y="163854"/>
                    </a:cubicBezTo>
                    <a:lnTo>
                      <a:pt x="284729" y="89599"/>
                    </a:lnTo>
                    <a:cubicBezTo>
                      <a:pt x="284631" y="89500"/>
                      <a:pt x="284434" y="89500"/>
                      <a:pt x="284237" y="89500"/>
                    </a:cubicBezTo>
                    <a:close/>
                    <a:moveTo>
                      <a:pt x="247094" y="66978"/>
                    </a:moveTo>
                    <a:lnTo>
                      <a:pt x="216453" y="97565"/>
                    </a:lnTo>
                    <a:lnTo>
                      <a:pt x="232217" y="113301"/>
                    </a:lnTo>
                    <a:lnTo>
                      <a:pt x="262857" y="82714"/>
                    </a:lnTo>
                    <a:close/>
                    <a:moveTo>
                      <a:pt x="239705" y="19671"/>
                    </a:moveTo>
                    <a:cubicBezTo>
                      <a:pt x="236749" y="19671"/>
                      <a:pt x="233892" y="20752"/>
                      <a:pt x="231823" y="22916"/>
                    </a:cubicBezTo>
                    <a:lnTo>
                      <a:pt x="172315" y="82222"/>
                    </a:lnTo>
                    <a:cubicBezTo>
                      <a:pt x="170246" y="84386"/>
                      <a:pt x="169064" y="87140"/>
                      <a:pt x="169064" y="90090"/>
                    </a:cubicBezTo>
                    <a:cubicBezTo>
                      <a:pt x="169064" y="93139"/>
                      <a:pt x="170246" y="95893"/>
                      <a:pt x="172315" y="97958"/>
                    </a:cubicBezTo>
                    <a:cubicBezTo>
                      <a:pt x="174483" y="100122"/>
                      <a:pt x="177242" y="101302"/>
                      <a:pt x="180197" y="101302"/>
                    </a:cubicBezTo>
                    <a:cubicBezTo>
                      <a:pt x="183251" y="101302"/>
                      <a:pt x="186010" y="100122"/>
                      <a:pt x="188177" y="97958"/>
                    </a:cubicBezTo>
                    <a:lnTo>
                      <a:pt x="240197" y="46029"/>
                    </a:lnTo>
                    <a:lnTo>
                      <a:pt x="247586" y="38652"/>
                    </a:lnTo>
                    <a:cubicBezTo>
                      <a:pt x="251921" y="34325"/>
                      <a:pt x="251921" y="27244"/>
                      <a:pt x="247586" y="22916"/>
                    </a:cubicBezTo>
                    <a:cubicBezTo>
                      <a:pt x="245517" y="20752"/>
                      <a:pt x="242660" y="19671"/>
                      <a:pt x="239705" y="19671"/>
                    </a:cubicBezTo>
                    <a:close/>
                    <a:moveTo>
                      <a:pt x="239705" y="0"/>
                    </a:moveTo>
                    <a:cubicBezTo>
                      <a:pt x="247980" y="0"/>
                      <a:pt x="255665" y="3148"/>
                      <a:pt x="261478" y="8950"/>
                    </a:cubicBezTo>
                    <a:cubicBezTo>
                      <a:pt x="267389" y="14753"/>
                      <a:pt x="270542" y="22523"/>
                      <a:pt x="270542" y="30784"/>
                    </a:cubicBezTo>
                    <a:cubicBezTo>
                      <a:pt x="270542" y="39046"/>
                      <a:pt x="267389" y="46717"/>
                      <a:pt x="261478" y="52520"/>
                    </a:cubicBezTo>
                    <a:lnTo>
                      <a:pt x="261084" y="53012"/>
                    </a:lnTo>
                    <a:lnTo>
                      <a:pt x="278621" y="70617"/>
                    </a:lnTo>
                    <a:cubicBezTo>
                      <a:pt x="285517" y="68650"/>
                      <a:pt x="293301" y="70322"/>
                      <a:pt x="298621" y="75731"/>
                    </a:cubicBezTo>
                    <a:lnTo>
                      <a:pt x="373005" y="149888"/>
                    </a:lnTo>
                    <a:cubicBezTo>
                      <a:pt x="378424" y="155297"/>
                      <a:pt x="380099" y="163067"/>
                      <a:pt x="378128" y="169952"/>
                    </a:cubicBezTo>
                    <a:lnTo>
                      <a:pt x="395764" y="187458"/>
                    </a:lnTo>
                    <a:lnTo>
                      <a:pt x="396158" y="186967"/>
                    </a:lnTo>
                    <a:cubicBezTo>
                      <a:pt x="402069" y="181164"/>
                      <a:pt x="409754" y="178017"/>
                      <a:pt x="418030" y="178017"/>
                    </a:cubicBezTo>
                    <a:cubicBezTo>
                      <a:pt x="426306" y="178017"/>
                      <a:pt x="433990" y="181164"/>
                      <a:pt x="439902" y="186967"/>
                    </a:cubicBezTo>
                    <a:cubicBezTo>
                      <a:pt x="445714" y="192868"/>
                      <a:pt x="448867" y="200539"/>
                      <a:pt x="448867" y="208801"/>
                    </a:cubicBezTo>
                    <a:cubicBezTo>
                      <a:pt x="448867" y="217062"/>
                      <a:pt x="445714" y="224734"/>
                      <a:pt x="439902" y="230635"/>
                    </a:cubicBezTo>
                    <a:lnTo>
                      <a:pt x="380394" y="289941"/>
                    </a:lnTo>
                    <a:cubicBezTo>
                      <a:pt x="374384" y="295940"/>
                      <a:pt x="366503" y="298989"/>
                      <a:pt x="358621" y="298989"/>
                    </a:cubicBezTo>
                    <a:cubicBezTo>
                      <a:pt x="350641" y="298989"/>
                      <a:pt x="342759" y="295940"/>
                      <a:pt x="336749" y="289941"/>
                    </a:cubicBezTo>
                    <a:cubicBezTo>
                      <a:pt x="324729" y="277942"/>
                      <a:pt x="324729" y="258370"/>
                      <a:pt x="336749" y="246371"/>
                    </a:cubicBezTo>
                    <a:lnTo>
                      <a:pt x="337242" y="245879"/>
                    </a:lnTo>
                    <a:lnTo>
                      <a:pt x="319606" y="228373"/>
                    </a:lnTo>
                    <a:cubicBezTo>
                      <a:pt x="317833" y="228864"/>
                      <a:pt x="315961" y="229160"/>
                      <a:pt x="313990" y="229160"/>
                    </a:cubicBezTo>
                    <a:cubicBezTo>
                      <a:pt x="308572" y="229160"/>
                      <a:pt x="303448" y="226996"/>
                      <a:pt x="299606" y="223160"/>
                    </a:cubicBezTo>
                    <a:lnTo>
                      <a:pt x="291724" y="215292"/>
                    </a:lnTo>
                    <a:lnTo>
                      <a:pt x="254089" y="252862"/>
                    </a:lnTo>
                    <a:cubicBezTo>
                      <a:pt x="248079" y="258862"/>
                      <a:pt x="240197" y="261812"/>
                      <a:pt x="232217" y="261812"/>
                    </a:cubicBezTo>
                    <a:cubicBezTo>
                      <a:pt x="231626" y="261812"/>
                      <a:pt x="230936" y="261812"/>
                      <a:pt x="230246" y="261812"/>
                    </a:cubicBezTo>
                    <a:lnTo>
                      <a:pt x="52709" y="439042"/>
                    </a:lnTo>
                    <a:cubicBezTo>
                      <a:pt x="46700" y="445041"/>
                      <a:pt x="38818" y="448090"/>
                      <a:pt x="30838" y="448090"/>
                    </a:cubicBezTo>
                    <a:cubicBezTo>
                      <a:pt x="22956" y="448090"/>
                      <a:pt x="15074" y="445041"/>
                      <a:pt x="9064" y="439042"/>
                    </a:cubicBezTo>
                    <a:cubicBezTo>
                      <a:pt x="3251" y="433239"/>
                      <a:pt x="0" y="425469"/>
                      <a:pt x="0" y="417208"/>
                    </a:cubicBezTo>
                    <a:cubicBezTo>
                      <a:pt x="0" y="409045"/>
                      <a:pt x="3251" y="401275"/>
                      <a:pt x="9064" y="395472"/>
                    </a:cubicBezTo>
                    <a:lnTo>
                      <a:pt x="186601" y="218144"/>
                    </a:lnTo>
                    <a:cubicBezTo>
                      <a:pt x="186109" y="209686"/>
                      <a:pt x="189064" y="200933"/>
                      <a:pt x="195567" y="194441"/>
                    </a:cubicBezTo>
                    <a:lnTo>
                      <a:pt x="233202" y="156871"/>
                    </a:lnTo>
                    <a:lnTo>
                      <a:pt x="225320" y="149003"/>
                    </a:lnTo>
                    <a:cubicBezTo>
                      <a:pt x="221478" y="145167"/>
                      <a:pt x="219310" y="140053"/>
                      <a:pt x="219310" y="134644"/>
                    </a:cubicBezTo>
                    <a:cubicBezTo>
                      <a:pt x="219310" y="132677"/>
                      <a:pt x="219606" y="130808"/>
                      <a:pt x="220099" y="129038"/>
                    </a:cubicBezTo>
                    <a:lnTo>
                      <a:pt x="202562" y="111433"/>
                    </a:lnTo>
                    <a:lnTo>
                      <a:pt x="202069" y="111924"/>
                    </a:lnTo>
                    <a:cubicBezTo>
                      <a:pt x="196256" y="117727"/>
                      <a:pt x="188473" y="120973"/>
                      <a:pt x="180197" y="120973"/>
                    </a:cubicBezTo>
                    <a:cubicBezTo>
                      <a:pt x="172020" y="120973"/>
                      <a:pt x="164237" y="117727"/>
                      <a:pt x="158424" y="111924"/>
                    </a:cubicBezTo>
                    <a:cubicBezTo>
                      <a:pt x="152611" y="106122"/>
                      <a:pt x="149360" y="98352"/>
                      <a:pt x="149360" y="90090"/>
                    </a:cubicBezTo>
                    <a:cubicBezTo>
                      <a:pt x="149360" y="81927"/>
                      <a:pt x="152611" y="74157"/>
                      <a:pt x="158424" y="68355"/>
                    </a:cubicBezTo>
                    <a:lnTo>
                      <a:pt x="217833" y="8950"/>
                    </a:lnTo>
                    <a:cubicBezTo>
                      <a:pt x="223645" y="3148"/>
                      <a:pt x="231429" y="0"/>
                      <a:pt x="23970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endParaRPr lang="en-US"/>
              </a:p>
            </p:txBody>
          </p:sp>
          <p:sp>
            <p:nvSpPr>
              <p:cNvPr id="15" name="椭圆 14"/>
              <p:cNvSpPr/>
              <p:nvPr/>
            </p:nvSpPr>
            <p:spPr>
              <a:xfrm>
                <a:off x="10171520" y="28905"/>
                <a:ext cx="962526" cy="962526"/>
              </a:xfrm>
              <a:prstGeom prst="ellipse">
                <a:avLst/>
              </a:prstGeom>
              <a:noFill/>
              <a:ln w="28575" cap="flat">
                <a:solidFill>
                  <a:schemeClr val="accent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l">
                  <a:lnSpc>
                    <a:spcPct val="120000"/>
                  </a:lnSpc>
                </a:pPr>
                <a:endParaRPr lang="zh-CN" altLang="en-US" dirty="0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1363124" y="1824016"/>
              <a:ext cx="889064" cy="889064"/>
              <a:chOff x="12288594" y="-6082"/>
              <a:chExt cx="962526" cy="962526"/>
            </a:xfrm>
          </p:grpSpPr>
          <p:sp>
            <p:nvSpPr>
              <p:cNvPr id="18" name="award_2359"/>
              <p:cNvSpPr/>
              <p:nvPr/>
            </p:nvSpPr>
            <p:spPr>
              <a:xfrm flipH="1">
                <a:off x="12549605" y="201413"/>
                <a:ext cx="440504" cy="609234"/>
              </a:xfrm>
              <a:custGeom>
                <a:avLst/>
                <a:gdLst>
                  <a:gd name="connsiteX0" fmla="*/ 253013 w 415533"/>
                  <a:gd name="connsiteY0" fmla="*/ 359411 h 575057"/>
                  <a:gd name="connsiteX1" fmla="*/ 223464 w 415533"/>
                  <a:gd name="connsiteY1" fmla="*/ 390744 h 575057"/>
                  <a:gd name="connsiteX2" fmla="*/ 267788 w 415533"/>
                  <a:gd name="connsiteY2" fmla="*/ 538194 h 575057"/>
                  <a:gd name="connsiteX3" fmla="*/ 306571 w 415533"/>
                  <a:gd name="connsiteY3" fmla="*/ 501332 h 575057"/>
                  <a:gd name="connsiteX4" fmla="*/ 371209 w 415533"/>
                  <a:gd name="connsiteY4" fmla="*/ 506861 h 575057"/>
                  <a:gd name="connsiteX5" fmla="*/ 312111 w 415533"/>
                  <a:gd name="connsiteY5" fmla="*/ 377842 h 575057"/>
                  <a:gd name="connsiteX6" fmla="*/ 156979 w 415533"/>
                  <a:gd name="connsiteY6" fmla="*/ 353881 h 575057"/>
                  <a:gd name="connsiteX7" fmla="*/ 134817 w 415533"/>
                  <a:gd name="connsiteY7" fmla="*/ 363097 h 575057"/>
                  <a:gd name="connsiteX8" fmla="*/ 105268 w 415533"/>
                  <a:gd name="connsiteY8" fmla="*/ 377842 h 575057"/>
                  <a:gd name="connsiteX9" fmla="*/ 57251 w 415533"/>
                  <a:gd name="connsiteY9" fmla="*/ 505018 h 575057"/>
                  <a:gd name="connsiteX10" fmla="*/ 108962 w 415533"/>
                  <a:gd name="connsiteY10" fmla="*/ 486587 h 575057"/>
                  <a:gd name="connsiteX11" fmla="*/ 155132 w 415533"/>
                  <a:gd name="connsiteY11" fmla="*/ 534508 h 575057"/>
                  <a:gd name="connsiteX12" fmla="*/ 193915 w 415533"/>
                  <a:gd name="connsiteY12" fmla="*/ 392587 h 575057"/>
                  <a:gd name="connsiteX13" fmla="*/ 207767 w 415533"/>
                  <a:gd name="connsiteY13" fmla="*/ 103291 h 575057"/>
                  <a:gd name="connsiteX14" fmla="*/ 302772 w 415533"/>
                  <a:gd name="connsiteY14" fmla="*/ 198148 h 575057"/>
                  <a:gd name="connsiteX15" fmla="*/ 207767 w 415533"/>
                  <a:gd name="connsiteY15" fmla="*/ 293005 h 575057"/>
                  <a:gd name="connsiteX16" fmla="*/ 112762 w 415533"/>
                  <a:gd name="connsiteY16" fmla="*/ 198148 h 575057"/>
                  <a:gd name="connsiteX17" fmla="*/ 207767 w 415533"/>
                  <a:gd name="connsiteY17" fmla="*/ 103291 h 575057"/>
                  <a:gd name="connsiteX18" fmla="*/ 208690 w 415533"/>
                  <a:gd name="connsiteY18" fmla="*/ 79255 h 575057"/>
                  <a:gd name="connsiteX19" fmla="*/ 90494 w 415533"/>
                  <a:gd name="connsiteY19" fmla="*/ 197215 h 575057"/>
                  <a:gd name="connsiteX20" fmla="*/ 208690 w 415533"/>
                  <a:gd name="connsiteY20" fmla="*/ 317019 h 575057"/>
                  <a:gd name="connsiteX21" fmla="*/ 326886 w 415533"/>
                  <a:gd name="connsiteY21" fmla="*/ 197215 h 575057"/>
                  <a:gd name="connsiteX22" fmla="*/ 208690 w 415533"/>
                  <a:gd name="connsiteY22" fmla="*/ 79255 h 575057"/>
                  <a:gd name="connsiteX23" fmla="*/ 212384 w 415533"/>
                  <a:gd name="connsiteY23" fmla="*/ 0 h 575057"/>
                  <a:gd name="connsiteX24" fmla="*/ 258554 w 415533"/>
                  <a:gd name="connsiteY24" fmla="*/ 51608 h 575057"/>
                  <a:gd name="connsiteX25" fmla="*/ 321346 w 415533"/>
                  <a:gd name="connsiteY25" fmla="*/ 27647 h 575057"/>
                  <a:gd name="connsiteX26" fmla="*/ 334273 w 415533"/>
                  <a:gd name="connsiteY26" fmla="*/ 92157 h 575057"/>
                  <a:gd name="connsiteX27" fmla="*/ 397065 w 415533"/>
                  <a:gd name="connsiteY27" fmla="*/ 108745 h 575057"/>
                  <a:gd name="connsiteX28" fmla="*/ 374903 w 415533"/>
                  <a:gd name="connsiteY28" fmla="*/ 169568 h 575057"/>
                  <a:gd name="connsiteX29" fmla="*/ 415533 w 415533"/>
                  <a:gd name="connsiteY29" fmla="*/ 213803 h 575057"/>
                  <a:gd name="connsiteX30" fmla="*/ 369363 w 415533"/>
                  <a:gd name="connsiteY30" fmla="*/ 250666 h 575057"/>
                  <a:gd name="connsiteX31" fmla="*/ 384137 w 415533"/>
                  <a:gd name="connsiteY31" fmla="*/ 305960 h 575057"/>
                  <a:gd name="connsiteX32" fmla="*/ 321346 w 415533"/>
                  <a:gd name="connsiteY32" fmla="*/ 318862 h 575057"/>
                  <a:gd name="connsiteX33" fmla="*/ 317652 w 415533"/>
                  <a:gd name="connsiteY33" fmla="*/ 335450 h 575057"/>
                  <a:gd name="connsiteX34" fmla="*/ 398912 w 415533"/>
                  <a:gd name="connsiteY34" fmla="*/ 527136 h 575057"/>
                  <a:gd name="connsiteX35" fmla="*/ 310265 w 415533"/>
                  <a:gd name="connsiteY35" fmla="*/ 523449 h 575057"/>
                  <a:gd name="connsiteX36" fmla="*/ 258554 w 415533"/>
                  <a:gd name="connsiteY36" fmla="*/ 575057 h 575057"/>
                  <a:gd name="connsiteX37" fmla="*/ 208690 w 415533"/>
                  <a:gd name="connsiteY37" fmla="*/ 412861 h 575057"/>
                  <a:gd name="connsiteX38" fmla="*/ 164366 w 415533"/>
                  <a:gd name="connsiteY38" fmla="*/ 575057 h 575057"/>
                  <a:gd name="connsiteX39" fmla="*/ 103422 w 415533"/>
                  <a:gd name="connsiteY39" fmla="*/ 517920 h 575057"/>
                  <a:gd name="connsiteX40" fmla="*/ 24009 w 415533"/>
                  <a:gd name="connsiteY40" fmla="*/ 538194 h 575057"/>
                  <a:gd name="connsiteX41" fmla="*/ 96034 w 415533"/>
                  <a:gd name="connsiteY41" fmla="*/ 337293 h 575057"/>
                  <a:gd name="connsiteX42" fmla="*/ 90494 w 415533"/>
                  <a:gd name="connsiteY42" fmla="*/ 313332 h 575057"/>
                  <a:gd name="connsiteX43" fmla="*/ 31396 w 415533"/>
                  <a:gd name="connsiteY43" fmla="*/ 298587 h 575057"/>
                  <a:gd name="connsiteX44" fmla="*/ 46170 w 415533"/>
                  <a:gd name="connsiteY44" fmla="*/ 241450 h 575057"/>
                  <a:gd name="connsiteX45" fmla="*/ 0 w 415533"/>
                  <a:gd name="connsiteY45" fmla="*/ 202744 h 575057"/>
                  <a:gd name="connsiteX46" fmla="*/ 46170 w 415533"/>
                  <a:gd name="connsiteY46" fmla="*/ 158509 h 575057"/>
                  <a:gd name="connsiteX47" fmla="*/ 25855 w 415533"/>
                  <a:gd name="connsiteY47" fmla="*/ 103215 h 575057"/>
                  <a:gd name="connsiteX48" fmla="*/ 90494 w 415533"/>
                  <a:gd name="connsiteY48" fmla="*/ 86627 h 575057"/>
                  <a:gd name="connsiteX49" fmla="*/ 105268 w 415533"/>
                  <a:gd name="connsiteY49" fmla="*/ 22118 h 575057"/>
                  <a:gd name="connsiteX50" fmla="*/ 169907 w 415533"/>
                  <a:gd name="connsiteY50" fmla="*/ 47921 h 575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15533" h="575057">
                    <a:moveTo>
                      <a:pt x="253013" y="359411"/>
                    </a:moveTo>
                    <a:lnTo>
                      <a:pt x="223464" y="390744"/>
                    </a:lnTo>
                    <a:lnTo>
                      <a:pt x="267788" y="538194"/>
                    </a:lnTo>
                    <a:lnTo>
                      <a:pt x="306571" y="501332"/>
                    </a:lnTo>
                    <a:lnTo>
                      <a:pt x="371209" y="506861"/>
                    </a:lnTo>
                    <a:lnTo>
                      <a:pt x="312111" y="377842"/>
                    </a:lnTo>
                    <a:close/>
                    <a:moveTo>
                      <a:pt x="156979" y="353881"/>
                    </a:moveTo>
                    <a:lnTo>
                      <a:pt x="134817" y="363097"/>
                    </a:lnTo>
                    <a:lnTo>
                      <a:pt x="105268" y="377842"/>
                    </a:lnTo>
                    <a:lnTo>
                      <a:pt x="57251" y="505018"/>
                    </a:lnTo>
                    <a:lnTo>
                      <a:pt x="108962" y="486587"/>
                    </a:lnTo>
                    <a:lnTo>
                      <a:pt x="155132" y="534508"/>
                    </a:lnTo>
                    <a:lnTo>
                      <a:pt x="193915" y="392587"/>
                    </a:lnTo>
                    <a:close/>
                    <a:moveTo>
                      <a:pt x="207767" y="103291"/>
                    </a:moveTo>
                    <a:cubicBezTo>
                      <a:pt x="260237" y="103291"/>
                      <a:pt x="302772" y="145760"/>
                      <a:pt x="302772" y="198148"/>
                    </a:cubicBezTo>
                    <a:cubicBezTo>
                      <a:pt x="302772" y="250536"/>
                      <a:pt x="260237" y="293005"/>
                      <a:pt x="207767" y="293005"/>
                    </a:cubicBezTo>
                    <a:cubicBezTo>
                      <a:pt x="155297" y="293005"/>
                      <a:pt x="112762" y="250536"/>
                      <a:pt x="112762" y="198148"/>
                    </a:cubicBezTo>
                    <a:cubicBezTo>
                      <a:pt x="112762" y="145760"/>
                      <a:pt x="155297" y="103291"/>
                      <a:pt x="207767" y="103291"/>
                    </a:cubicBezTo>
                    <a:close/>
                    <a:moveTo>
                      <a:pt x="208690" y="79255"/>
                    </a:moveTo>
                    <a:cubicBezTo>
                      <a:pt x="142205" y="79255"/>
                      <a:pt x="90494" y="132705"/>
                      <a:pt x="90494" y="197215"/>
                    </a:cubicBezTo>
                    <a:cubicBezTo>
                      <a:pt x="90494" y="263568"/>
                      <a:pt x="142205" y="317019"/>
                      <a:pt x="208690" y="317019"/>
                    </a:cubicBezTo>
                    <a:cubicBezTo>
                      <a:pt x="273328" y="317019"/>
                      <a:pt x="326886" y="263568"/>
                      <a:pt x="326886" y="197215"/>
                    </a:cubicBezTo>
                    <a:cubicBezTo>
                      <a:pt x="326886" y="132705"/>
                      <a:pt x="273328" y="79255"/>
                      <a:pt x="208690" y="79255"/>
                    </a:cubicBezTo>
                    <a:close/>
                    <a:moveTo>
                      <a:pt x="212384" y="0"/>
                    </a:moveTo>
                    <a:lnTo>
                      <a:pt x="258554" y="51608"/>
                    </a:lnTo>
                    <a:lnTo>
                      <a:pt x="321346" y="27647"/>
                    </a:lnTo>
                    <a:lnTo>
                      <a:pt x="334273" y="92157"/>
                    </a:lnTo>
                    <a:lnTo>
                      <a:pt x="397065" y="108745"/>
                    </a:lnTo>
                    <a:lnTo>
                      <a:pt x="374903" y="169568"/>
                    </a:lnTo>
                    <a:lnTo>
                      <a:pt x="415533" y="213803"/>
                    </a:lnTo>
                    <a:lnTo>
                      <a:pt x="369363" y="250666"/>
                    </a:lnTo>
                    <a:lnTo>
                      <a:pt x="384137" y="305960"/>
                    </a:lnTo>
                    <a:lnTo>
                      <a:pt x="321346" y="318862"/>
                    </a:lnTo>
                    <a:lnTo>
                      <a:pt x="317652" y="335450"/>
                    </a:lnTo>
                    <a:lnTo>
                      <a:pt x="398912" y="527136"/>
                    </a:lnTo>
                    <a:lnTo>
                      <a:pt x="310265" y="523449"/>
                    </a:lnTo>
                    <a:lnTo>
                      <a:pt x="258554" y="575057"/>
                    </a:lnTo>
                    <a:lnTo>
                      <a:pt x="208690" y="412861"/>
                    </a:lnTo>
                    <a:lnTo>
                      <a:pt x="164366" y="575057"/>
                    </a:lnTo>
                    <a:lnTo>
                      <a:pt x="103422" y="517920"/>
                    </a:lnTo>
                    <a:lnTo>
                      <a:pt x="24009" y="538194"/>
                    </a:lnTo>
                    <a:lnTo>
                      <a:pt x="96034" y="337293"/>
                    </a:lnTo>
                    <a:lnTo>
                      <a:pt x="90494" y="313332"/>
                    </a:lnTo>
                    <a:lnTo>
                      <a:pt x="31396" y="298587"/>
                    </a:lnTo>
                    <a:lnTo>
                      <a:pt x="46170" y="241450"/>
                    </a:lnTo>
                    <a:lnTo>
                      <a:pt x="0" y="202744"/>
                    </a:lnTo>
                    <a:lnTo>
                      <a:pt x="46170" y="158509"/>
                    </a:lnTo>
                    <a:lnTo>
                      <a:pt x="25855" y="103215"/>
                    </a:lnTo>
                    <a:lnTo>
                      <a:pt x="90494" y="86627"/>
                    </a:lnTo>
                    <a:lnTo>
                      <a:pt x="105268" y="22118"/>
                    </a:lnTo>
                    <a:lnTo>
                      <a:pt x="169907" y="4792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/>
              </a:p>
            </p:txBody>
          </p:sp>
          <p:sp>
            <p:nvSpPr>
              <p:cNvPr id="36" name="椭圆 35"/>
              <p:cNvSpPr/>
              <p:nvPr/>
            </p:nvSpPr>
            <p:spPr>
              <a:xfrm>
                <a:off x="12288594" y="-6082"/>
                <a:ext cx="962526" cy="962526"/>
              </a:xfrm>
              <a:prstGeom prst="ellipse">
                <a:avLst/>
              </a:prstGeom>
              <a:noFill/>
              <a:ln w="28575" cap="flat">
                <a:solidFill>
                  <a:schemeClr val="accent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l">
                  <a:lnSpc>
                    <a:spcPct val="120000"/>
                  </a:lnSpc>
                </a:pPr>
                <a:endParaRPr lang="zh-CN" altLang="en-US" dirty="0"/>
              </a:p>
            </p:txBody>
          </p:sp>
        </p:grpSp>
      </p:grpSp>
    </p:spTree>
  </p:cSld>
  <p:clrMapOvr>
    <a:masterClrMapping/>
  </p:clrMapOvr>
  <p:transition spd="slow">
    <p:pull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展历程</a:t>
            </a:r>
            <a:endParaRPr lang="zh-CN" altLang="en-US" sz="2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>
          <a:blip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119" b="11498"/>
          <a:stretch>
            <a:fillRect/>
          </a:stretch>
        </p:blipFill>
        <p:spPr>
          <a:xfrm>
            <a:off x="6898647" y="2857827"/>
            <a:ext cx="3383746" cy="1634876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87987" y="637665"/>
            <a:ext cx="3383746" cy="1634876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文本框 2"/>
          <p:cNvSpPr txBox="1"/>
          <p:nvPr/>
        </p:nvSpPr>
        <p:spPr>
          <a:xfrm>
            <a:off x="2294592" y="2348727"/>
            <a:ext cx="4026834" cy="1309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19</a:t>
            </a:r>
            <a:endParaRPr lang="zh-CN" altLang="en-US" sz="2300" b="1" dirty="0">
              <a:solidFill>
                <a:srgbClr val="5B913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举办成立10周年庆典</a:t>
            </a:r>
            <a:endParaRPr lang="en-US" altLang="zh-CN" sz="2000" b="1" dirty="0">
              <a:solidFill>
                <a:srgbClr val="5B913A"/>
              </a:solidFill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拥有超过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0</a:t>
            </a: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家运营企业</a:t>
            </a:r>
            <a:endParaRPr lang="zh-CN" altLang="en-US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297767" y="720745"/>
            <a:ext cx="4026834" cy="939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11</a:t>
            </a:r>
            <a:endParaRPr lang="zh-CN" altLang="en-US" sz="2300" b="1" dirty="0">
              <a:solidFill>
                <a:srgbClr val="5B913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正式对外运营出货</a:t>
            </a:r>
            <a:endParaRPr lang="zh-CN" altLang="en-US" sz="2300" b="1" dirty="0">
              <a:solidFill>
                <a:srgbClr val="5B913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297768" y="4099899"/>
            <a:ext cx="3522088" cy="1254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2</a:t>
            </a:r>
            <a:endParaRPr lang="zh-CN" altLang="en-US" sz="2300" b="1" dirty="0">
              <a:solidFill>
                <a:srgbClr val="5B913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得尼日利亚出口加工区管理局颁发的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卓越投资贡献奖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1" t="20321" r="6035" b="19973"/>
          <a:stretch>
            <a:fillRect/>
          </a:stretch>
        </p:blipFill>
        <p:spPr>
          <a:xfrm>
            <a:off x="6898647" y="5077989"/>
            <a:ext cx="3373086" cy="1634876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6" name="组合 5"/>
          <p:cNvGrpSpPr/>
          <p:nvPr/>
        </p:nvGrpSpPr>
        <p:grpSpPr>
          <a:xfrm>
            <a:off x="909935" y="2513314"/>
            <a:ext cx="1285317" cy="283457"/>
            <a:chOff x="909935" y="2745510"/>
            <a:chExt cx="1285317" cy="283457"/>
          </a:xfrm>
        </p:grpSpPr>
        <p:sp>
          <p:nvSpPr>
            <p:cNvPr id="24" name="ïṩḷïďé"/>
            <p:cNvSpPr/>
            <p:nvPr/>
          </p:nvSpPr>
          <p:spPr>
            <a:xfrm rot="16200000" flipV="1">
              <a:off x="909934" y="2745511"/>
              <a:ext cx="283457" cy="283456"/>
            </a:xfrm>
            <a:prstGeom prst="ellipse">
              <a:avLst/>
            </a:prstGeom>
            <a:solidFill>
              <a:schemeClr val="bg1"/>
            </a:solidFill>
            <a:ln w="38100" cap="rnd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  <p:cxnSp>
          <p:nvCxnSpPr>
            <p:cNvPr id="39" name="í$ḷïḋê"/>
            <p:cNvCxnSpPr>
              <a:stCxn id="24" idx="0"/>
            </p:cNvCxnSpPr>
            <p:nvPr/>
          </p:nvCxnSpPr>
          <p:spPr>
            <a:xfrm>
              <a:off x="1193391" y="2887239"/>
              <a:ext cx="1001861" cy="3"/>
            </a:xfrm>
            <a:prstGeom prst="straightConnector1">
              <a:avLst/>
            </a:prstGeom>
            <a:ln w="25400" cap="rnd">
              <a:solidFill>
                <a:schemeClr val="accent1"/>
              </a:solidFill>
              <a:round/>
              <a:headEnd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7" name="iṥlïḍè"/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V="1">
            <a:off x="-2742252" y="4004353"/>
            <a:ext cx="7629561" cy="4173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8" name="组合 7"/>
          <p:cNvGrpSpPr/>
          <p:nvPr/>
        </p:nvGrpSpPr>
        <p:grpSpPr>
          <a:xfrm>
            <a:off x="931297" y="818780"/>
            <a:ext cx="1278787" cy="283457"/>
            <a:chOff x="1872093" y="1108153"/>
            <a:chExt cx="1278787" cy="283457"/>
          </a:xfrm>
        </p:grpSpPr>
        <p:cxnSp>
          <p:nvCxnSpPr>
            <p:cNvPr id="9" name="îs1ïḋè"/>
            <p:cNvCxnSpPr/>
            <p:nvPr/>
          </p:nvCxnSpPr>
          <p:spPr>
            <a:xfrm>
              <a:off x="2180674" y="1249883"/>
              <a:ext cx="970206" cy="0"/>
            </a:xfrm>
            <a:prstGeom prst="straightConnector1">
              <a:avLst/>
            </a:prstGeom>
            <a:ln w="25400" cap="rnd">
              <a:solidFill>
                <a:schemeClr val="accent1"/>
              </a:solidFill>
              <a:round/>
              <a:headEnd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ïṩḷïďé"/>
            <p:cNvSpPr/>
            <p:nvPr/>
          </p:nvSpPr>
          <p:spPr>
            <a:xfrm rot="16200000" flipV="1">
              <a:off x="1872092" y="1108154"/>
              <a:ext cx="283457" cy="283456"/>
            </a:xfrm>
            <a:prstGeom prst="ellipse">
              <a:avLst/>
            </a:prstGeom>
            <a:solidFill>
              <a:schemeClr val="bg1"/>
            </a:solidFill>
            <a:ln w="38100" cap="rnd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923780" y="4207848"/>
            <a:ext cx="1278788" cy="283457"/>
            <a:chOff x="923780" y="4603594"/>
            <a:chExt cx="1278788" cy="283457"/>
          </a:xfrm>
        </p:grpSpPr>
        <p:sp>
          <p:nvSpPr>
            <p:cNvPr id="28" name="ïṩḷïďé"/>
            <p:cNvSpPr/>
            <p:nvPr/>
          </p:nvSpPr>
          <p:spPr>
            <a:xfrm rot="16200000" flipV="1">
              <a:off x="923779" y="4603595"/>
              <a:ext cx="283457" cy="283456"/>
            </a:xfrm>
            <a:prstGeom prst="ellipse">
              <a:avLst/>
            </a:prstGeom>
            <a:solidFill>
              <a:schemeClr val="bg1"/>
            </a:solidFill>
            <a:ln w="38100" cap="rnd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  <p:cxnSp>
          <p:nvCxnSpPr>
            <p:cNvPr id="11" name="í$ḷïḋê"/>
            <p:cNvCxnSpPr>
              <a:stCxn id="28" idx="0"/>
            </p:cNvCxnSpPr>
            <p:nvPr/>
          </p:nvCxnSpPr>
          <p:spPr>
            <a:xfrm>
              <a:off x="1207236" y="4745323"/>
              <a:ext cx="995332" cy="0"/>
            </a:xfrm>
            <a:prstGeom prst="straightConnector1">
              <a:avLst/>
            </a:prstGeom>
            <a:ln w="25400" cap="rnd">
              <a:solidFill>
                <a:schemeClr val="accent1"/>
              </a:solidFill>
              <a:round/>
              <a:headEnd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2297767" y="5789477"/>
            <a:ext cx="3522088" cy="885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300" b="1" dirty="0">
                <a:solidFill>
                  <a:srgbClr val="5B913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5</a:t>
            </a:r>
            <a:endParaRPr lang="en-US" altLang="zh-CN" sz="2400" dirty="0">
              <a:solidFill>
                <a:srgbClr val="5B913A"/>
              </a:solidFill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百家在运营企业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923779" y="5902382"/>
            <a:ext cx="1285317" cy="283457"/>
            <a:chOff x="909935" y="2745510"/>
            <a:chExt cx="1285317" cy="283457"/>
          </a:xfrm>
        </p:grpSpPr>
        <p:sp>
          <p:nvSpPr>
            <p:cNvPr id="12" name="ïṩḷïďé"/>
            <p:cNvSpPr/>
            <p:nvPr/>
          </p:nvSpPr>
          <p:spPr>
            <a:xfrm rot="16200000" flipV="1">
              <a:off x="909934" y="2745511"/>
              <a:ext cx="283457" cy="283456"/>
            </a:xfrm>
            <a:prstGeom prst="ellipse">
              <a:avLst/>
            </a:prstGeom>
            <a:solidFill>
              <a:schemeClr val="bg1"/>
            </a:solidFill>
            <a:ln w="38100" cap="rnd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  <p:cxnSp>
          <p:nvCxnSpPr>
            <p:cNvPr id="27" name="í$ḷïḋê"/>
            <p:cNvCxnSpPr>
              <a:stCxn id="12" idx="0"/>
            </p:cNvCxnSpPr>
            <p:nvPr/>
          </p:nvCxnSpPr>
          <p:spPr>
            <a:xfrm>
              <a:off x="1193391" y="2887239"/>
              <a:ext cx="1001861" cy="3"/>
            </a:xfrm>
            <a:prstGeom prst="straightConnector1">
              <a:avLst/>
            </a:prstGeom>
            <a:ln w="25400" cap="rnd">
              <a:solidFill>
                <a:schemeClr val="accent1"/>
              </a:solidFill>
              <a:round/>
              <a:headEnd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图片 28" descr="河边有一座桥&#10;&#10;描述已自动生成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867" b="6153"/>
          <a:stretch>
            <a:fillRect/>
          </a:stretch>
        </p:blipFill>
        <p:spPr>
          <a:xfrm>
            <a:off x="6887988" y="637666"/>
            <a:ext cx="3383746" cy="1634876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 spd="slow">
    <p:pull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理位置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| LOCATION</a:t>
            </a:r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文本框 47"/>
          <p:cNvSpPr txBox="1"/>
          <p:nvPr/>
        </p:nvSpPr>
        <p:spPr>
          <a:xfrm>
            <a:off x="893129" y="1800301"/>
            <a:ext cx="10654665" cy="9398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  <a:buFont typeface="Arial" panose="020B0604020202020204" pitchFamily="34" charset="0"/>
              <a:buNone/>
            </a:pP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Arial" panose="020B0604020202020204" pitchFamily="34" charset="0"/>
              <a:buNone/>
            </a:pPr>
            <a:endParaRPr lang="zh-CN" altLang="en-US" sz="24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10" name="文本框 6"/>
          <p:cNvSpPr txBox="1"/>
          <p:nvPr/>
        </p:nvSpPr>
        <p:spPr>
          <a:xfrm>
            <a:off x="8307388" y="4965700"/>
            <a:ext cx="2047875" cy="3683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US" altLang="zh-CN" dirty="0">
                <a:solidFill>
                  <a:schemeClr val="accent1"/>
                </a:solidFill>
                <a:latin typeface="等线 Light" panose="02010600030101010101" pitchFamily="2" charset="-122"/>
                <a:ea typeface="等线 Light" panose="02010600030101010101" pitchFamily="2" charset="-122"/>
              </a:rPr>
              <a:t>OUR PLANNING</a:t>
            </a:r>
            <a:endParaRPr lang="en-US" altLang="zh-CN" dirty="0">
              <a:solidFill>
                <a:schemeClr val="accent1"/>
              </a:solidFill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307388" y="5334000"/>
            <a:ext cx="2578100" cy="5762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05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charset="0"/>
                <a:ea typeface="华文细黑" panose="02010600040101010101" pitchFamily="2" charset="-122"/>
                <a:cs typeface="+mn-cs"/>
                <a:sym typeface="+mn-ea"/>
              </a:rPr>
              <a:t>Lorem ipsum dolor sit amet</a:t>
            </a:r>
            <a:r>
              <a:rPr kumimoji="0" lang="zh-CN" altLang="en-US" sz="105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charset="0"/>
                <a:ea typeface="华文细黑" panose="02010600040101010101" pitchFamily="2" charset="-122"/>
                <a:cs typeface="+mn-cs"/>
                <a:sym typeface="+mn-ea"/>
              </a:rPr>
              <a:t>；</a:t>
            </a:r>
            <a:r>
              <a:rPr kumimoji="0" lang="en-US" altLang="zh-CN" sz="105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charset="0"/>
                <a:ea typeface="华文细黑" panose="02010600040101010101" pitchFamily="2" charset="-122"/>
                <a:cs typeface="+mn-cs"/>
                <a:sym typeface="+mn-ea"/>
              </a:rPr>
              <a:t>Lorem ipsum dolor sit amet, consectetur adipiscing elit. </a:t>
            </a:r>
            <a:endParaRPr kumimoji="0" lang="zh-CN" altLang="en-US" sz="105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charset="0"/>
              <a:ea typeface="华文细黑" panose="02010600040101010101" pitchFamily="2" charset="-122"/>
              <a:cs typeface="+mn-cs"/>
              <a:sym typeface="+mn-ea"/>
            </a:endParaRPr>
          </a:p>
        </p:txBody>
      </p:sp>
      <p:grpSp>
        <p:nvGrpSpPr>
          <p:cNvPr id="12" name="组合 46"/>
          <p:cNvGrpSpPr/>
          <p:nvPr/>
        </p:nvGrpSpPr>
        <p:grpSpPr>
          <a:xfrm>
            <a:off x="840740" y="2559685"/>
            <a:ext cx="6700520" cy="4111625"/>
            <a:chOff x="317" y="3132"/>
            <a:chExt cx="11937" cy="6565"/>
          </a:xfrm>
        </p:grpSpPr>
        <p:pic>
          <p:nvPicPr>
            <p:cNvPr id="13" name="图片 10" descr="C:\Documents and Settings\user\桌面\奥贡自贸区地图.png奥贡自贸区地图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317" y="3132"/>
              <a:ext cx="11937" cy="6565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14" name="图片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420000">
              <a:off x="3615" y="5821"/>
              <a:ext cx="1223" cy="1035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" name="文本框 14"/>
            <p:cNvSpPr txBox="1"/>
            <p:nvPr/>
          </p:nvSpPr>
          <p:spPr>
            <a:xfrm rot="-1200000">
              <a:off x="3550" y="3973"/>
              <a:ext cx="1340" cy="58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en-US" altLang="zh-CN" dirty="0">
                  <a:solidFill>
                    <a:srgbClr val="C00000"/>
                  </a:solidFill>
                  <a:latin typeface="Calibri" panose="020F0502020204030204" charset="0"/>
                  <a:ea typeface="宋体" panose="02010600030101010101" pitchFamily="2" charset="-122"/>
                </a:rPr>
                <a:t>55KM</a:t>
              </a:r>
              <a:endParaRPr lang="en-US" altLang="zh-CN" dirty="0">
                <a:solidFill>
                  <a:srgbClr val="C0000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 rot="1560000">
              <a:off x="4388" y="7958"/>
              <a:ext cx="1340" cy="58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en-US" altLang="zh-CN" dirty="0">
                  <a:solidFill>
                    <a:srgbClr val="C00000"/>
                  </a:solidFill>
                  <a:latin typeface="Calibri" panose="020F0502020204030204" charset="0"/>
                  <a:ea typeface="宋体" panose="02010600030101010101" pitchFamily="2" charset="-122"/>
                </a:rPr>
                <a:t>50KM</a:t>
              </a:r>
              <a:endParaRPr lang="en-US" altLang="zh-CN" dirty="0">
                <a:solidFill>
                  <a:srgbClr val="C00000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9" name="任意多边形 35"/>
            <p:cNvSpPr/>
            <p:nvPr/>
          </p:nvSpPr>
          <p:spPr>
            <a:xfrm>
              <a:off x="3492" y="6168"/>
              <a:ext cx="4301" cy="2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0" b="0"/>
              <a:pathLst>
                <a:path w="2924175" h="1381125">
                  <a:moveTo>
                    <a:pt x="85725" y="0"/>
                  </a:moveTo>
                  <a:lnTo>
                    <a:pt x="0" y="409575"/>
                  </a:lnTo>
                  <a:lnTo>
                    <a:pt x="24130" y="661670"/>
                  </a:lnTo>
                  <a:lnTo>
                    <a:pt x="119380" y="937895"/>
                  </a:lnTo>
                  <a:lnTo>
                    <a:pt x="243205" y="880745"/>
                  </a:lnTo>
                  <a:lnTo>
                    <a:pt x="681355" y="966470"/>
                  </a:lnTo>
                  <a:lnTo>
                    <a:pt x="838200" y="956945"/>
                  </a:lnTo>
                  <a:lnTo>
                    <a:pt x="1157605" y="1137920"/>
                  </a:lnTo>
                  <a:lnTo>
                    <a:pt x="1443355" y="1347470"/>
                  </a:lnTo>
                  <a:lnTo>
                    <a:pt x="1695450" y="1333500"/>
                  </a:lnTo>
                  <a:lnTo>
                    <a:pt x="1910080" y="1381125"/>
                  </a:lnTo>
                  <a:lnTo>
                    <a:pt x="1986280" y="1381125"/>
                  </a:lnTo>
                  <a:lnTo>
                    <a:pt x="2338705" y="1343025"/>
                  </a:lnTo>
                  <a:lnTo>
                    <a:pt x="2667000" y="1337945"/>
                  </a:lnTo>
                  <a:lnTo>
                    <a:pt x="2924175" y="1176020"/>
                  </a:lnTo>
                </a:path>
              </a:pathLst>
            </a:custGeom>
            <a:noFill/>
            <a:ln w="25400" cap="flat" cmpd="sng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" name="任意多边形 38"/>
            <p:cNvSpPr/>
            <p:nvPr/>
          </p:nvSpPr>
          <p:spPr>
            <a:xfrm>
              <a:off x="3628" y="4043"/>
              <a:ext cx="3588" cy="16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0" b="0"/>
              <a:pathLst>
                <a:path w="2438400" h="1057275">
                  <a:moveTo>
                    <a:pt x="9525" y="1057275"/>
                  </a:moveTo>
                  <a:lnTo>
                    <a:pt x="0" y="952500"/>
                  </a:lnTo>
                  <a:lnTo>
                    <a:pt x="38100" y="514350"/>
                  </a:lnTo>
                  <a:lnTo>
                    <a:pt x="657225" y="271780"/>
                  </a:lnTo>
                  <a:lnTo>
                    <a:pt x="1043305" y="262255"/>
                  </a:lnTo>
                  <a:lnTo>
                    <a:pt x="1095375" y="285750"/>
                  </a:lnTo>
                  <a:lnTo>
                    <a:pt x="1323975" y="285750"/>
                  </a:lnTo>
                  <a:lnTo>
                    <a:pt x="1581150" y="200025"/>
                  </a:lnTo>
                  <a:lnTo>
                    <a:pt x="1605280" y="123825"/>
                  </a:lnTo>
                  <a:lnTo>
                    <a:pt x="1700530" y="81280"/>
                  </a:lnTo>
                  <a:lnTo>
                    <a:pt x="1729105" y="0"/>
                  </a:lnTo>
                  <a:lnTo>
                    <a:pt x="1852930" y="66675"/>
                  </a:lnTo>
                  <a:lnTo>
                    <a:pt x="1900555" y="176530"/>
                  </a:lnTo>
                  <a:lnTo>
                    <a:pt x="2028825" y="281305"/>
                  </a:lnTo>
                  <a:lnTo>
                    <a:pt x="2066925" y="443230"/>
                  </a:lnTo>
                  <a:lnTo>
                    <a:pt x="2238375" y="490855"/>
                  </a:lnTo>
                  <a:lnTo>
                    <a:pt x="2329180" y="586105"/>
                  </a:lnTo>
                  <a:lnTo>
                    <a:pt x="2438400" y="657225"/>
                  </a:lnTo>
                </a:path>
              </a:pathLst>
            </a:custGeom>
            <a:noFill/>
            <a:ln w="25400" cap="flat" cmpd="sng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pic>
          <p:nvPicPr>
            <p:cNvPr id="21" name="图片 39" descr="558_副本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4" y="7115"/>
              <a:ext cx="1701" cy="2266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22" name="图片 40" descr="558_副本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03" y="3843"/>
              <a:ext cx="1702" cy="2268"/>
            </a:xfrm>
            <a:prstGeom prst="rect">
              <a:avLst/>
            </a:prstGeom>
            <a:noFill/>
            <a:ln w="9525">
              <a:noFill/>
            </a:ln>
          </p:spPr>
        </p:pic>
      </p:grpSp>
      <p:pic>
        <p:nvPicPr>
          <p:cNvPr id="23" name="图片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2653" y="2530793"/>
            <a:ext cx="4202112" cy="41687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4" name="文本框 47"/>
          <p:cNvSpPr txBox="1"/>
          <p:nvPr/>
        </p:nvSpPr>
        <p:spPr>
          <a:xfrm>
            <a:off x="1259840" y="841375"/>
            <a:ext cx="9924415" cy="152971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just">
              <a:lnSpc>
                <a:spcPct val="130000"/>
              </a:lnSpc>
              <a:buFont typeface="Arial" panose="020B0604020202020204" pitchFamily="34" charset="0"/>
              <a:buNone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合作区位于尼日利亚奥贡州，紧靠尼日利亚经济中心拉各斯，距离西非第一大港阿帕帕港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50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公里，直线距离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30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公里，相距拉各斯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IKEJA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国际机场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55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公里，直线距离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22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sym typeface="等线" panose="02010600030101010101" pitchFamily="2" charset="-122"/>
              </a:rPr>
              <a:t>公里。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1" y="35332"/>
            <a:ext cx="6692109" cy="4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地理位置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| LOCATION</a:t>
            </a:r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5"/>
          <p:cNvSpPr>
            <a:spLocks noGrp="1"/>
          </p:cNvSpPr>
          <p:nvPr/>
        </p:nvSpPr>
        <p:spPr>
          <a:xfrm>
            <a:off x="1166495" y="5751195"/>
            <a:ext cx="10289540" cy="1038225"/>
          </a:xfrm>
          <a:prstGeom prst="rect">
            <a:avLst/>
          </a:prstGeom>
          <a:noFill/>
          <a:ln w="9525">
            <a:noFill/>
          </a:ln>
        </p:spPr>
        <p:txBody>
          <a:bodyPr wrap="square" lIns="91440" tIns="45720" rIns="91440" bIns="4572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lvl="0" algn="just" eaLnBrk="1" hangingPunct="1">
              <a:lnSpc>
                <a:spcPct val="180000"/>
              </a:lnSpc>
            </a:pPr>
            <a:r>
              <a:rPr lang="zh-CN" altLang="en-US" sz="2400" b="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奥贡州是尼日利亚最大的制造业中心，拥有制造业发展的配套市场及大环境。</a:t>
            </a:r>
            <a:endParaRPr lang="zh-CN" altLang="en-US" sz="2400" b="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47825" y="679450"/>
            <a:ext cx="8976360" cy="5269865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4"/>
          <p:cNvSpPr txBox="1"/>
          <p:nvPr/>
        </p:nvSpPr>
        <p:spPr>
          <a:xfrm>
            <a:off x="841002" y="0"/>
            <a:ext cx="6552730" cy="4414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区面积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800" b="1" dirty="0">
                <a:solidFill>
                  <a:srgbClr val="2C363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| AREA</a:t>
            </a:r>
            <a:endParaRPr lang="en-US" altLang="zh-CN" sz="2800" b="1" dirty="0">
              <a:solidFill>
                <a:srgbClr val="2C3637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-53530" y="476672"/>
            <a:ext cx="12271797" cy="0"/>
          </a:xfrm>
          <a:prstGeom prst="line">
            <a:avLst/>
          </a:prstGeom>
          <a:ln w="571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组合 79"/>
          <p:cNvGrpSpPr/>
          <p:nvPr/>
        </p:nvGrpSpPr>
        <p:grpSpPr>
          <a:xfrm>
            <a:off x="490049" y="80628"/>
            <a:ext cx="288032" cy="288032"/>
            <a:chOff x="624979" y="908720"/>
            <a:chExt cx="288032" cy="288032"/>
          </a:xfrm>
        </p:grpSpPr>
        <p:cxnSp>
          <p:nvCxnSpPr>
            <p:cNvPr id="81" name="直接连接符 80"/>
            <p:cNvCxnSpPr/>
            <p:nvPr/>
          </p:nvCxnSpPr>
          <p:spPr>
            <a:xfrm>
              <a:off x="624979" y="1196752"/>
              <a:ext cx="288032" cy="0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911622" y="908720"/>
              <a:ext cx="0" cy="288032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H="1" flipV="1">
              <a:off x="696987" y="980728"/>
              <a:ext cx="216024" cy="216024"/>
            </a:xfrm>
            <a:prstGeom prst="line">
              <a:avLst/>
            </a:prstGeom>
            <a:ln>
              <a:solidFill>
                <a:srgbClr val="2C36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文本框 47"/>
          <p:cNvSpPr txBox="1"/>
          <p:nvPr/>
        </p:nvSpPr>
        <p:spPr>
          <a:xfrm>
            <a:off x="1309054" y="1771726"/>
            <a:ext cx="10654665" cy="9398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  <a:buFont typeface="Arial" panose="020B0604020202020204" pitchFamily="34" charset="0"/>
              <a:buNone/>
            </a:pP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Arial" panose="020B0604020202020204" pitchFamily="34" charset="0"/>
              <a:buNone/>
            </a:pPr>
            <a:endParaRPr lang="zh-CN" altLang="en-US" sz="24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61457" name="文本框 47"/>
          <p:cNvSpPr txBox="1"/>
          <p:nvPr/>
        </p:nvSpPr>
        <p:spPr>
          <a:xfrm>
            <a:off x="624840" y="908685"/>
            <a:ext cx="4187825" cy="97091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lnSpc>
                <a:spcPct val="130000"/>
              </a:lnSpc>
              <a:buFont typeface="Arial" panose="020B0604020202020204" pitchFamily="34" charset="0"/>
              <a:buNone/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黑体" panose="02010609060101010101" charset="-122"/>
              </a:rPr>
              <a:t>合作区规划面积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黑体" panose="02010609060101010101" charset="-122"/>
              </a:rPr>
              <a:t>100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km²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黑体" panose="02010609060101010101" charset="-122"/>
              </a:rPr>
              <a:t>，合作期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黑体" panose="02010609060101010101" charset="-122"/>
              </a:rPr>
              <a:t>99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黑体" panose="02010609060101010101" charset="-122"/>
              </a:rPr>
              <a:t>年。</a:t>
            </a:r>
            <a:endParaRPr lang="zh-CN" altLang="en-US" sz="22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pic>
        <p:nvPicPr>
          <p:cNvPr id="51202" name="图片 18" descr="Z05]LLEIWIZ8E%O]L7BOP}L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4840" y="2095500"/>
            <a:ext cx="4977765" cy="45624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" name="文本框 47"/>
          <p:cNvSpPr txBox="1"/>
          <p:nvPr/>
        </p:nvSpPr>
        <p:spPr>
          <a:xfrm>
            <a:off x="6097270" y="5113655"/>
            <a:ext cx="5112385" cy="76835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现有建设面积约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km²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目前正在开发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二期20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km²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土地。</a:t>
            </a:r>
            <a:endParaRPr lang="zh-CN" altLang="en-US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 descr="C:\Users\Administrator\Desktop\图片4.jpg图片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059805" y="1078230"/>
            <a:ext cx="5875655" cy="3689350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4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1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1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12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1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1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57" grpId="0"/>
      <p:bldP spid="61457" grpId="1"/>
      <p:bldP spid="5" grpId="0"/>
      <p:bldP spid="5" grpId="1"/>
    </p:bldLst>
  </p:timing>
</p:sld>
</file>

<file path=ppt/tags/tag1.xml><?xml version="1.0" encoding="utf-8"?>
<p:tagLst xmlns:p="http://schemas.openxmlformats.org/presentationml/2006/main">
  <p:tag name="KSO_WM_UNIT_PLACING_PICTURE_USER_VIEWPORT" val="{&quot;height&quot;:10800,&quot;width&quot;:6270}"/>
</p:tagLst>
</file>

<file path=ppt/tags/tag10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00.xml><?xml version="1.0" encoding="utf-8"?>
<p:tagLst xmlns:p="http://schemas.openxmlformats.org/presentationml/2006/main">
  <p:tag name="KSO_WM_BEAUTIFY_FLAG" val=""/>
</p:tagLst>
</file>

<file path=ppt/tags/tag101.xml><?xml version="1.0" encoding="utf-8"?>
<p:tagLst xmlns:p="http://schemas.openxmlformats.org/presentationml/2006/main">
  <p:tag name="KSO_WM_BEAUTIFY_FLAG" val=""/>
</p:tagLst>
</file>

<file path=ppt/tags/tag102.xml><?xml version="1.0" encoding="utf-8"?>
<p:tagLst xmlns:p="http://schemas.openxmlformats.org/presentationml/2006/main">
  <p:tag name="KSO_WM_BEAUTIFY_FLAG" val=""/>
</p:tagLst>
</file>

<file path=ppt/tags/tag103.xml><?xml version="1.0" encoding="utf-8"?>
<p:tagLst xmlns:p="http://schemas.openxmlformats.org/presentationml/2006/main">
  <p:tag name="KSO_WM_BEAUTIFY_FLAG" val=""/>
</p:tagLst>
</file>

<file path=ppt/tags/tag104.xml><?xml version="1.0" encoding="utf-8"?>
<p:tagLst xmlns:p="http://schemas.openxmlformats.org/presentationml/2006/main">
  <p:tag name="KSO_WM_BEAUTIFY_FLAG" val=""/>
</p:tagLst>
</file>

<file path=ppt/tags/tag105.xml><?xml version="1.0" encoding="utf-8"?>
<p:tagLst xmlns:p="http://schemas.openxmlformats.org/presentationml/2006/main">
  <p:tag name="KSO_WM_BEAUTIFY_FLAG" val=""/>
</p:tagLst>
</file>

<file path=ppt/tags/tag106.xml><?xml version="1.0" encoding="utf-8"?>
<p:tagLst xmlns:p="http://schemas.openxmlformats.org/presentationml/2006/main">
  <p:tag name="KSO_WM_BEAUTIFY_FLAG" val=""/>
</p:tagLst>
</file>

<file path=ppt/tags/tag107.xml><?xml version="1.0" encoding="utf-8"?>
<p:tagLst xmlns:p="http://schemas.openxmlformats.org/presentationml/2006/main">
  <p:tag name="KSO_WM_BEAUTIFY_FLAG" val=""/>
</p:tagLst>
</file>

<file path=ppt/tags/tag108.xml><?xml version="1.0" encoding="utf-8"?>
<p:tagLst xmlns:p="http://schemas.openxmlformats.org/presentationml/2006/main">
  <p:tag name="KSO_WM_BEAUTIFY_FLAG" val=""/>
</p:tagLst>
</file>

<file path=ppt/tags/tag109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10.xml><?xml version="1.0" encoding="utf-8"?>
<p:tagLst xmlns:p="http://schemas.openxmlformats.org/presentationml/2006/main">
  <p:tag name="KSO_WM_BEAUTIFY_FLAG" val=""/>
</p:tagLst>
</file>

<file path=ppt/tags/tag111.xml><?xml version="1.0" encoding="utf-8"?>
<p:tagLst xmlns:p="http://schemas.openxmlformats.org/presentationml/2006/main">
  <p:tag name="KSO_WM_BEAUTIFY_FLAG" val=""/>
</p:tagLst>
</file>

<file path=ppt/tags/tag112.xml><?xml version="1.0" encoding="utf-8"?>
<p:tagLst xmlns:p="http://schemas.openxmlformats.org/presentationml/2006/main">
  <p:tag name="KSO_WM_BEAUTIFY_FLAG" val=""/>
</p:tagLst>
</file>

<file path=ppt/tags/tag113.xml><?xml version="1.0" encoding="utf-8"?>
<p:tagLst xmlns:p="http://schemas.openxmlformats.org/presentationml/2006/main">
  <p:tag name="KSO_WM_BEAUTIFY_FLAG" val=""/>
</p:tagLst>
</file>

<file path=ppt/tags/tag114.xml><?xml version="1.0" encoding="utf-8"?>
<p:tagLst xmlns:p="http://schemas.openxmlformats.org/presentationml/2006/main">
  <p:tag name="KSO_WM_BEAUTIFY_FLAG" val=""/>
</p:tagLst>
</file>

<file path=ppt/tags/tag115.xml><?xml version="1.0" encoding="utf-8"?>
<p:tagLst xmlns:p="http://schemas.openxmlformats.org/presentationml/2006/main">
  <p:tag name="KSO_WM_BEAUTIFY_FLAG" val=""/>
</p:tagLst>
</file>

<file path=ppt/tags/tag116.xml><?xml version="1.0" encoding="utf-8"?>
<p:tagLst xmlns:p="http://schemas.openxmlformats.org/presentationml/2006/main">
  <p:tag name="KSO_WM_BEAUTIFY_FLAG" val=""/>
</p:tagLst>
</file>

<file path=ppt/tags/tag117.xml><?xml version="1.0" encoding="utf-8"?>
<p:tagLst xmlns:p="http://schemas.openxmlformats.org/presentationml/2006/main">
  <p:tag name="KSO_WM_BEAUTIFY_FLAG" val=""/>
</p:tagLst>
</file>

<file path=ppt/tags/tag118.xml><?xml version="1.0" encoding="utf-8"?>
<p:tagLst xmlns:p="http://schemas.openxmlformats.org/presentationml/2006/main">
  <p:tag name="KSO_WM_BEAUTIFY_FLAG" val=""/>
</p:tagLst>
</file>

<file path=ppt/tags/tag119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20.xml><?xml version="1.0" encoding="utf-8"?>
<p:tagLst xmlns:p="http://schemas.openxmlformats.org/presentationml/2006/main">
  <p:tag name="KSO_WM_BEAUTIFY_FLAG" val=""/>
</p:tagLst>
</file>

<file path=ppt/tags/tag121.xml><?xml version="1.0" encoding="utf-8"?>
<p:tagLst xmlns:p="http://schemas.openxmlformats.org/presentationml/2006/main">
  <p:tag name="KSO_WM_BEAUTIFY_FLAG" val=""/>
</p:tagLst>
</file>

<file path=ppt/tags/tag122.xml><?xml version="1.0" encoding="utf-8"?>
<p:tagLst xmlns:p="http://schemas.openxmlformats.org/presentationml/2006/main">
  <p:tag name="KSO_WM_BEAUTIFY_FLAG" val=""/>
</p:tagLst>
</file>

<file path=ppt/tags/tag123.xml><?xml version="1.0" encoding="utf-8"?>
<p:tagLst xmlns:p="http://schemas.openxmlformats.org/presentationml/2006/main">
  <p:tag name="KSO_WM_BEAUTIFY_FLAG" val=""/>
</p:tagLst>
</file>

<file path=ppt/tags/tag124.xml><?xml version="1.0" encoding="utf-8"?>
<p:tagLst xmlns:p="http://schemas.openxmlformats.org/presentationml/2006/main">
  <p:tag name="KSO_WM_BEAUTIFY_FLAG" val=""/>
</p:tagLst>
</file>

<file path=ppt/tags/tag125.xml><?xml version="1.0" encoding="utf-8"?>
<p:tagLst xmlns:p="http://schemas.openxmlformats.org/presentationml/2006/main">
  <p:tag name="KSO_WM_BEAUTIFY_FLAG" val=""/>
</p:tagLst>
</file>

<file path=ppt/tags/tag126.xml><?xml version="1.0" encoding="utf-8"?>
<p:tagLst xmlns:p="http://schemas.openxmlformats.org/presentationml/2006/main">
  <p:tag name="KSO_WM_BEAUTIFY_FLAG" val=""/>
</p:tagLst>
</file>

<file path=ppt/tags/tag127.xml><?xml version="1.0" encoding="utf-8"?>
<p:tagLst xmlns:p="http://schemas.openxmlformats.org/presentationml/2006/main">
  <p:tag name="KSO_WM_BEAUTIFY_FLAG" val=""/>
</p:tagLst>
</file>

<file path=ppt/tags/tag128.xml><?xml version="1.0" encoding="utf-8"?>
<p:tagLst xmlns:p="http://schemas.openxmlformats.org/presentationml/2006/main">
  <p:tag name="KSO_WM_BEAUTIFY_FLAG" val=""/>
</p:tagLst>
</file>

<file path=ppt/tags/tag129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30.xml><?xml version="1.0" encoding="utf-8"?>
<p:tagLst xmlns:p="http://schemas.openxmlformats.org/presentationml/2006/main">
  <p:tag name="KSO_WM_BEAUTIFY_FLAG" val=""/>
</p:tagLst>
</file>

<file path=ppt/tags/tag131.xml><?xml version="1.0" encoding="utf-8"?>
<p:tagLst xmlns:p="http://schemas.openxmlformats.org/presentationml/2006/main">
  <p:tag name="KSO_WM_BEAUTIFY_FLAG" val=""/>
</p:tagLst>
</file>

<file path=ppt/tags/tag132.xml><?xml version="1.0" encoding="utf-8"?>
<p:tagLst xmlns:p="http://schemas.openxmlformats.org/presentationml/2006/main">
  <p:tag name="KSO_WM_BEAUTIFY_FLAG" val=""/>
</p:tagLst>
</file>

<file path=ppt/tags/tag133.xml><?xml version="1.0" encoding="utf-8"?>
<p:tagLst xmlns:p="http://schemas.openxmlformats.org/presentationml/2006/main">
  <p:tag name="KSO_WM_BEAUTIFY_FLAG" val=""/>
</p:tagLst>
</file>

<file path=ppt/tags/tag134.xml><?xml version="1.0" encoding="utf-8"?>
<p:tagLst xmlns:p="http://schemas.openxmlformats.org/presentationml/2006/main">
  <p:tag name="KSO_WM_BEAUTIFY_FLAG" val=""/>
</p:tagLst>
</file>

<file path=ppt/tags/tag135.xml><?xml version="1.0" encoding="utf-8"?>
<p:tagLst xmlns:p="http://schemas.openxmlformats.org/presentationml/2006/main">
  <p:tag name="KSO_WM_BEAUTIFY_FLAG" val=""/>
</p:tagLst>
</file>

<file path=ppt/tags/tag136.xml><?xml version="1.0" encoding="utf-8"?>
<p:tagLst xmlns:p="http://schemas.openxmlformats.org/presentationml/2006/main">
  <p:tag name="KSO_WM_BEAUTIFY_FLAG" val=""/>
</p:tagLst>
</file>

<file path=ppt/tags/tag137.xml><?xml version="1.0" encoding="utf-8"?>
<p:tagLst xmlns:p="http://schemas.openxmlformats.org/presentationml/2006/main">
  <p:tag name="KSO_WM_BEAUTIFY_FLAG" val=""/>
</p:tagLst>
</file>

<file path=ppt/tags/tag138.xml><?xml version="1.0" encoding="utf-8"?>
<p:tagLst xmlns:p="http://schemas.openxmlformats.org/presentationml/2006/main">
  <p:tag name="KSO_WM_BEAUTIFY_FLAG" val=""/>
</p:tagLst>
</file>

<file path=ppt/tags/tag139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40.xml><?xml version="1.0" encoding="utf-8"?>
<p:tagLst xmlns:p="http://schemas.openxmlformats.org/presentationml/2006/main">
  <p:tag name="KSO_WM_BEAUTIFY_FLAG" val=""/>
</p:tagLst>
</file>

<file path=ppt/tags/tag141.xml><?xml version="1.0" encoding="utf-8"?>
<p:tagLst xmlns:p="http://schemas.openxmlformats.org/presentationml/2006/main">
  <p:tag name="KSO_WM_BEAUTIFY_FLAG" val=""/>
</p:tagLst>
</file>

<file path=ppt/tags/tag142.xml><?xml version="1.0" encoding="utf-8"?>
<p:tagLst xmlns:p="http://schemas.openxmlformats.org/presentationml/2006/main">
  <p:tag name="KSO_WM_BEAUTIFY_FLAG" val=""/>
</p:tagLst>
</file>

<file path=ppt/tags/tag143.xml><?xml version="1.0" encoding="utf-8"?>
<p:tagLst xmlns:p="http://schemas.openxmlformats.org/presentationml/2006/main">
  <p:tag name="KSO_WM_BEAUTIFY_FLAG" val=""/>
</p:tagLst>
</file>

<file path=ppt/tags/tag144.xml><?xml version="1.0" encoding="utf-8"?>
<p:tagLst xmlns:p="http://schemas.openxmlformats.org/presentationml/2006/main">
  <p:tag name="KSO_WM_BEAUTIFY_FLAG" val=""/>
</p:tagLst>
</file>

<file path=ppt/tags/tag145.xml><?xml version="1.0" encoding="utf-8"?>
<p:tagLst xmlns:p="http://schemas.openxmlformats.org/presentationml/2006/main">
  <p:tag name="KSO_WM_BEAUTIFY_FLAG" val=""/>
</p:tagLst>
</file>

<file path=ppt/tags/tag146.xml><?xml version="1.0" encoding="utf-8"?>
<p:tagLst xmlns:p="http://schemas.openxmlformats.org/presentationml/2006/main">
  <p:tag name="KSO_WM_BEAUTIFY_FLAG" val=""/>
</p:tagLst>
</file>

<file path=ppt/tags/tag147.xml><?xml version="1.0" encoding="utf-8"?>
<p:tagLst xmlns:p="http://schemas.openxmlformats.org/presentationml/2006/main">
  <p:tag name="KSO_WM_BEAUTIFY_FLAG" val=""/>
</p:tagLst>
</file>

<file path=ppt/tags/tag148.xml><?xml version="1.0" encoding="utf-8"?>
<p:tagLst xmlns:p="http://schemas.openxmlformats.org/presentationml/2006/main">
  <p:tag name="KSO_WM_BEAUTIFY_FLAG" val=""/>
</p:tagLst>
</file>

<file path=ppt/tags/tag149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50.xml><?xml version="1.0" encoding="utf-8"?>
<p:tagLst xmlns:p="http://schemas.openxmlformats.org/presentationml/2006/main">
  <p:tag name="KSO_WM_BEAUTIFY_FLAG" val=""/>
</p:tagLst>
</file>

<file path=ppt/tags/tag151.xml><?xml version="1.0" encoding="utf-8"?>
<p:tagLst xmlns:p="http://schemas.openxmlformats.org/presentationml/2006/main">
  <p:tag name="KSO_WM_BEAUTIFY_FLAG" val=""/>
</p:tagLst>
</file>

<file path=ppt/tags/tag152.xml><?xml version="1.0" encoding="utf-8"?>
<p:tagLst xmlns:p="http://schemas.openxmlformats.org/presentationml/2006/main">
  <p:tag name="KSO_WM_BEAUTIFY_FLAG" val=""/>
</p:tagLst>
</file>

<file path=ppt/tags/tag153.xml><?xml version="1.0" encoding="utf-8"?>
<p:tagLst xmlns:p="http://schemas.openxmlformats.org/presentationml/2006/main">
  <p:tag name="KSO_WM_BEAUTIFY_FLAG" val=""/>
</p:tagLst>
</file>

<file path=ppt/tags/tag154.xml><?xml version="1.0" encoding="utf-8"?>
<p:tagLst xmlns:p="http://schemas.openxmlformats.org/presentationml/2006/main">
  <p:tag name="KSO_WM_BEAUTIFY_FLAG" val=""/>
</p:tagLst>
</file>

<file path=ppt/tags/tag155.xml><?xml version="1.0" encoding="utf-8"?>
<p:tagLst xmlns:p="http://schemas.openxmlformats.org/presentationml/2006/main">
  <p:tag name="KSO_WM_BEAUTIFY_FLAG" val=""/>
</p:tagLst>
</file>

<file path=ppt/tags/tag156.xml><?xml version="1.0" encoding="utf-8"?>
<p:tagLst xmlns:p="http://schemas.openxmlformats.org/presentationml/2006/main">
  <p:tag name="KSO_WM_BEAUTIFY_FLAG" val=""/>
</p:tagLst>
</file>

<file path=ppt/tags/tag157.xml><?xml version="1.0" encoding="utf-8"?>
<p:tagLst xmlns:p="http://schemas.openxmlformats.org/presentationml/2006/main">
  <p:tag name="KSO_WM_BEAUTIFY_FLAG" val=""/>
</p:tagLst>
</file>

<file path=ppt/tags/tag158.xml><?xml version="1.0" encoding="utf-8"?>
<p:tagLst xmlns:p="http://schemas.openxmlformats.org/presentationml/2006/main">
  <p:tag name="KSO_WM_DIAGRAM_VIRTUALLY_FRAME" val="{&quot;height&quot;:441.45,&quot;left&quot;:67.95,&quot;top&quot;:49.65,&quot;width&quot;:839.6}"/>
</p:tagLst>
</file>

<file path=ppt/tags/tag1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i*1_2_1"/>
  <p:tag name="KSO_WM_TEMPLATE_CATEGORY" val="diagram"/>
  <p:tag name="KSO_WM_TEMPLATE_INDEX" val="20231406"/>
  <p:tag name="KSO_WM_UNIT_LAYERLEVEL" val="1_1_1"/>
  <p:tag name="KSO_WM_TAG_VERSION" val="3.0"/>
  <p:tag name="KSO_WM_BEAUTIFY_FLAG" val="#wm#"/>
  <p:tag name="KSO_WM_DIAGRAM_GROUP_CODE" val="n1-1"/>
  <p:tag name="KSO_WM_UNIT_TYPE" val="n_h_i"/>
  <p:tag name="KSO_WM_UNIT_INDEX" val="1_2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gradient&quot;:[{&quot;brightness&quot;:0,&quot;colorType&quot;:1,&quot;foreColorIndex&quot;:5,&quot;pos&quot;:0,&quot;transparency&quot;:1},{&quot;brightness&quot;:0,&quot;colorType&quot;:1,&quot;foreColorIndex&quot;:5,&quot;pos&quot;:1,&quot;transparency&quot;:0.8799999952316284}],&quot;type&quot;:3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3"/>
  <p:tag name="KSO_WM_DIAGRAM_USE_COLOR_VALUE" val="{&quot;color_scheme&quot;:1,&quot;color_type&quot;:1,&quot;theme_color_indexes&quot;:[5,6,5,6,5,6]}"/>
</p:tagLst>
</file>

<file path=ppt/tags/tag16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i*1_2_2"/>
  <p:tag name="KSO_WM_TEMPLATE_CATEGORY" val="diagram"/>
  <p:tag name="KSO_WM_TEMPLATE_INDEX" val="20231406"/>
  <p:tag name="KSO_WM_UNIT_LAYERLEVEL" val="1_1_1"/>
  <p:tag name="KSO_WM_TAG_VERSION" val="3.0"/>
  <p:tag name="KSO_WM_BEAUTIFY_FLAG" val="#wm#"/>
  <p:tag name="KSO_WM_DIAGRAM_GROUP_CODE" val="n1-1"/>
  <p:tag name="KSO_WM_UNIT_TYPE" val="n_h_i"/>
  <p:tag name="KSO_WM_UNIT_INDEX" val="1_2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type&quot;:0},&quot;glow&quot;:{&quot;colorType&quot;:0},&quot;line&quot;:{&quot;gradient&quot;:[{&quot;brightness&quot;:0,&quot;colorType&quot;:1,&quot;foreColorIndex&quot;:5,&quot;pos&quot;:0.9100000262260437,&quot;transparency&quot;:1},{&quot;brightness&quot;:0,&quot;colorType&quot;:1,&quot;foreColorIndex&quot;:5,&quot;pos&quot;:0,&quot;transparency&quot;:0}],&quot;type&quot;:2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USE_COLOR_VALUE" val="{&quot;color_scheme&quot;:1,&quot;color_type&quot;:1,&quot;theme_color_indexes&quot;:[5,6,5,6,5,6]}"/>
</p:tagLst>
</file>

<file path=ppt/tags/tag1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i*1_1_2"/>
  <p:tag name="KSO_WM_TEMPLATE_CATEGORY" val="diagram"/>
  <p:tag name="KSO_WM_TEMPLATE_INDEX" val="20231406"/>
  <p:tag name="KSO_WM_UNIT_LAYERLEVEL" val="1_1_1"/>
  <p:tag name="KSO_WM_TAG_VERSION" val="3.0"/>
  <p:tag name="KSO_WM_BEAUTIFY_FLAG" val="#wm#"/>
  <p:tag name="KSO_WM_DIAGRAM_GROUP_CODE" val="n1-1"/>
  <p:tag name="KSO_WM_UNIT_TYPE" val="n_h_i"/>
  <p:tag name="KSO_WM_UNIT_INDEX" val="1_1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0,&quot;colorType&quot;:1,&quot;foreColorIndex&quot;:5,&quot;transparency&quot;:0.7799999713897705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000000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162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ID" val="diagram20231406_4*n_h_a*1_1_1"/>
  <p:tag name="KSO_WM_TEMPLATE_CATEGORY" val="diagram"/>
  <p:tag name="KSO_WM_TEMPLATE_INDEX" val="20231406"/>
  <p:tag name="KSO_WM_UNIT_LAYERLEVEL" val="1_1_1"/>
  <p:tag name="KSO_WM_TAG_VERSION" val="3.0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14.1374803149607,&quot;left&quot;:67.97488188976378,&quot;top&quot;:80.02503937007872,&quot;width&quot;:839.5502035594549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单击添加项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6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1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1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.6800000071525574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6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1_3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1_3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6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1_2"/>
  <p:tag name="KSO_WM_TEMPLATE_CATEGORY" val="diagram"/>
  <p:tag name="KSO_WM_TEMPLATE_INDEX" val="20231406"/>
  <p:tag name="KSO_WM_UNIT_LAYERLEVEL" val="1_1_1_1"/>
  <p:tag name="KSO_WM_TAG_VERSION" val="3.0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14.1374803149607,&quot;left&quot;:67.97491455078125,&quot;top&quot;:80.02503937007872,&quot;width&quot;:839.5501708984375}"/>
  <p:tag name="KSO_WM_DIAGRAM_COLOR_MATCH_VALUE" val="{&quot;shape&quot;:{&quot;fill&quot;:{&quot;gradient&quot;:[{&quot;brightness&quot;:0.4000000059604645,&quot;colorType&quot;:1,&quot;foreColorIndex&quot;:5,&quot;pos&quot;:0,&quot;transparency&quot;:0},{&quot;brightness&quot;:0,&quot;colorType&quot;:1,&quot;foreColorIndex&quot;:5,&quot;pos&quot;:1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SUBTYPE" val="d"/>
  <p:tag name="KSO_WM_UNIT_PRESET_TEXT" val="01"/>
  <p:tag name="KSO_WM_UNIT_FILL_TYPE" val="3"/>
  <p:tag name="KSO_WM_DIAGRAM_USE_COLOR_VALUE" val="{&quot;color_scheme&quot;:1,&quot;color_type&quot;:1,&quot;theme_color_indexes&quot;:[5,6,5,6,5,6]}"/>
</p:tagLst>
</file>

<file path=ppt/tags/tag166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ID" val="diagram20231406_4*n_h_h_a*1_2_1_1"/>
  <p:tag name="KSO_WM_TEMPLATE_CATEGORY" val="diagram"/>
  <p:tag name="KSO_WM_TEMPLATE_INDEX" val="20231406"/>
  <p:tag name="KSO_WM_UNIT_LAYERLEVEL" val="1_1_1_1"/>
  <p:tag name="KSO_WM_TAG_VERSION" val="3.0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14.1374803149607,&quot;left&quot;:67.97491455078125,&quot;top&quot;:80.02503937007872,&quot;width&quot;:839.5501708984375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添加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6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2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2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.6800000071525574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6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2_2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2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6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2_3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2_3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gradient&quot;:[{&quot;brightness&quot;:0.4000000059604645,&quot;colorType&quot;:1,&quot;foreColorIndex&quot;:5,&quot;pos&quot;:0,&quot;transparency&quot;:0},{&quot;brightness&quot;:0,&quot;colorType&quot;:1,&quot;foreColorIndex&quot;:5,&quot;pos&quot;:1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SUBTYPE" val="d"/>
  <p:tag name="KSO_WM_UNIT_PRESET_TEXT" val="02"/>
  <p:tag name="KSO_WM_UNIT_FILL_TYPE" val="3"/>
  <p:tag name="KSO_WM_DIAGRAM_USE_COLOR_VALUE" val="{&quot;color_scheme&quot;:1,&quot;color_type&quot;:1,&quot;theme_color_indexes&quot;:[5,6,5,6,5,6]}"/>
</p:tagLst>
</file>

<file path=ppt/tags/tag17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70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n_h_h_a"/>
  <p:tag name="KSO_WM_UNIT_INDEX" val="1_2_2_1"/>
  <p:tag name="KSO_WM_UNIT_ID" val="diagram20231406_4*n_h_h_a*1_2_2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添加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7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5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5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.6800000071525574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7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5_2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5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5_3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5_3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gradient&quot;:[{&quot;brightness&quot;:0.4000000059604645,&quot;colorType&quot;:1,&quot;foreColorIndex&quot;:5,&quot;pos&quot;:0,&quot;transparency&quot;:0},{&quot;brightness&quot;:0,&quot;colorType&quot;:1,&quot;foreColorIndex&quot;:5,&quot;pos&quot;:1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SUBTYPE" val="d"/>
  <p:tag name="KSO_WM_UNIT_PRESET_TEXT" val="05"/>
  <p:tag name="KSO_WM_UNIT_FILL_TYPE" val="3"/>
  <p:tag name="KSO_WM_DIAGRAM_USE_COLOR_VALUE" val="{&quot;color_scheme&quot;:1,&quot;color_type&quot;:1,&quot;theme_color_indexes&quot;:[5,6,5,6,5,6]}"/>
</p:tagLst>
</file>

<file path=ppt/tags/tag174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n_h_h_a"/>
  <p:tag name="KSO_WM_UNIT_INDEX" val="1_2_5_1"/>
  <p:tag name="KSO_WM_UNIT_ID" val="diagram20231406_4*n_h_h_a*1_2_5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添加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7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4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4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.6800000071525574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7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4_2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4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7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4_3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4_3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gradient&quot;:[{&quot;brightness&quot;:0.4000000059604645,&quot;colorType&quot;:1,&quot;foreColorIndex&quot;:5,&quot;pos&quot;:0,&quot;transparency&quot;:0},{&quot;brightness&quot;:0,&quot;colorType&quot;:1,&quot;foreColorIndex&quot;:5,&quot;pos&quot;:1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SUBTYPE" val="d"/>
  <p:tag name="KSO_WM_UNIT_PRESET_TEXT" val="04"/>
  <p:tag name="KSO_WM_UNIT_FILL_TYPE" val="3"/>
  <p:tag name="KSO_WM_DIAGRAM_USE_COLOR_VALUE" val="{&quot;color_scheme&quot;:1,&quot;color_type&quot;:1,&quot;theme_color_indexes&quot;:[5,6,5,6,5,6]}"/>
</p:tagLst>
</file>

<file path=ppt/tags/tag178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n_h_h_a"/>
  <p:tag name="KSO_WM_UNIT_INDEX" val="1_2_4_1"/>
  <p:tag name="KSO_WM_UNIT_ID" val="diagram20231406_4*n_h_h_a*1_2_4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添加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7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3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3_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.6800000071525574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8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18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3_2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3_2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solid&quot;:{&quot;brightness&quot;:-0.25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FILL_TYPE" val="1"/>
  <p:tag name="KSO_WM_UNIT_FILL_FORE_SCHEMECOLOR_INDEX" val="5"/>
  <p:tag name="KSO_WM_UNIT_FILL_FORE_SCHEMECOLOR_INDEX_BRIGHTNESS" val="-0.25"/>
  <p:tag name="KSO_WM_DIAGRAM_USE_COLOR_VALUE" val="{&quot;color_scheme&quot;:1,&quot;color_type&quot;:1,&quot;theme_color_indexes&quot;:[5,6,5,6,5,6]}"/>
</p:tagLst>
</file>

<file path=ppt/tags/tag18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406_4*n_h_h_i*1_2_3_3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UNIT_TYPE" val="n_h_h_i"/>
  <p:tag name="KSO_WM_UNIT_INDEX" val="1_2_3_3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gradient&quot;:[{&quot;brightness&quot;:0.4000000059604645,&quot;colorType&quot;:1,&quot;foreColorIndex&quot;:5,&quot;pos&quot;:0,&quot;transparency&quot;:0},{&quot;brightness&quot;:0,&quot;colorType&quot;:1,&quot;foreColorIndex&quot;:5,&quot;pos&quot;:1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2,&quot;rgb&quot;:&quot;#ffffff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SUBTYPE" val="d"/>
  <p:tag name="KSO_WM_UNIT_PRESET_TEXT" val="03"/>
  <p:tag name="KSO_WM_UNIT_FILL_TYPE" val="3"/>
  <p:tag name="KSO_WM_DIAGRAM_USE_COLOR_VALUE" val="{&quot;color_scheme&quot;:1,&quot;color_type&quot;:1,&quot;theme_color_indexes&quot;:[5,6,5,6,5,6]}"/>
</p:tagLst>
</file>

<file path=ppt/tags/tag182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n_h_h_a"/>
  <p:tag name="KSO_WM_UNIT_INDEX" val="1_2_3_1"/>
  <p:tag name="KSO_WM_UNIT_ID" val="diagram20231406_4*n_h_h_a*1_2_3_1"/>
  <p:tag name="KSO_WM_TEMPLATE_CATEGORY" val="diagram"/>
  <p:tag name="KSO_WM_TEMPLATE_INDEX" val="20231406"/>
  <p:tag name="KSO_WM_UNIT_LAYERLEVEL" val="1_1_1_1"/>
  <p:tag name="KSO_WM_TAG_VERSION" val="3.0"/>
  <p:tag name="KSO_WM_BEAUTIFY_FLAG" val="#wm#"/>
  <p:tag name="KSO_WM_DIAGRAM_GROUP_CODE" val="n1-1"/>
  <p:tag name="KSO_WM_DIAGRAM_VERSION" val="3"/>
  <p:tag name="KSO_WM_DIAGRAM_COLOR_TRICK" val="1"/>
  <p:tag name="KSO_WM_DIAGRAM_COLOR_TEXT_CAN_REMOVE" val="n"/>
  <p:tag name="KSO_WM_DIAGRAM_MAX_ITEMCNT" val="7"/>
  <p:tag name="KSO_WM_DIAGRAM_MIN_ITEMCNT" val="2"/>
  <p:tag name="KSO_WM_DIAGRAM_VIRTUALLY_FRAME" val="{&quot;height&quot;:441.45,&quot;left&quot;:67.95,&quot;top&quot;:49.65,&quot;width&quot;:839.6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UNIT_PRESET_TEXT" val="添加标题"/>
  <p:tag name="KSO_WM_UNIT_TEXT_FILL_FORE_SCHEMECOLOR_INDEX" val="1"/>
  <p:tag name="KSO_WM_UNIT_TEXT_FILL_TYPE" val="1"/>
  <p:tag name="KSO_WM_DIAGRAM_USE_COLOR_VALUE" val="{&quot;color_scheme&quot;:1,&quot;color_type&quot;:1,&quot;theme_color_indexes&quot;:[5,6,5,6,5,6]}"/>
</p:tagLst>
</file>

<file path=ppt/tags/tag183.xml><?xml version="1.0" encoding="utf-8"?>
<p:tagLst xmlns:p="http://schemas.openxmlformats.org/presentationml/2006/main">
  <p:tag name="KSO_WPP_MARK_KEY" val="a601b49f-462c-4b42-8652-951b40e3018b"/>
  <p:tag name="COMMONDATA" val="eyJoZGlkIjoiOTQ1ZTYwZTQyNzg1NjYzZTEwYjUxYzJhN2YwYjA4YmIifQ=="/>
  <p:tag name="commondata" val="eyJoZGlkIjoiODgxMmExMWJkZjUzOGFhMmVhY2NkMDEyY2RiODU4MGEifQ=="/>
</p:tagLst>
</file>

<file path=ppt/tags/tag19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ags/tag20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1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2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3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4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5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6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7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8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29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081"/>
</p:tagLst>
</file>

<file path=ppt/tags/tag30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31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32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33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40.xml><?xml version="1.0" encoding="utf-8"?>
<p:tagLst xmlns:p="http://schemas.openxmlformats.org/presentationml/2006/main">
  <p:tag name="KSO_WM_BEAUTIFY_FLAG" val="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2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3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4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5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6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7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8.xml><?xml version="1.0" encoding="utf-8"?>
<p:tagLst xmlns:p="http://schemas.openxmlformats.org/presentationml/2006/main">
  <p:tag name="KSO_WM_DIAGRAM_VIRTUALLY_FRAME" val="{&quot;height&quot;:390.9273228346456,&quot;left&quot;:187.53692913385825,&quot;top&quot;:90.06102362204724,&quot;width&quot;:603.4130708661418}"/>
</p:tagLst>
</file>

<file path=ppt/tags/tag59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60.xml><?xml version="1.0" encoding="utf-8"?>
<p:tagLst xmlns:p="http://schemas.openxmlformats.org/presentationml/2006/main">
  <p:tag name="KSO_WM_DIAGRAM_VIRTUALLY_FRAME" val="{&quot;height&quot;:410.4392125984252,&quot;left&quot;:-200,&quot;top&quot;:83.93582677165355,&quot;width&quot;:1295.157874015748}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TEMPLATE_THUMBS_INDEX" val="1、4、7、12、13、14、15、16、17、18、20、24、25、28、33、36、40、43、44"/>
  <p:tag name="KSO_WM_TEMPLATE_SUBCATEGORY" val="19"/>
  <p:tag name="KSO_WM_TAG_VERSION" val="1.0"/>
  <p:tag name="KSO_WM_BEAUTIFY_FLAG" val="#wm#"/>
  <p:tag name="KSO_WM_TEMPLATE_CATEGORY" val="custom"/>
  <p:tag name="KSO_WM_TEMPLATE_INDEX" val="20205081"/>
  <p:tag name="KSO_WM_TEMPLATE_MASTER_TYPE" val="0"/>
  <p:tag name="KSO_WM_TEMPLATE_COLOR_TYPE" val="1"/>
  <p:tag name="KSO_WM_UNIT_SHOW_EDIT_AREA_INDICATION" val="1"/>
</p:tagLst>
</file>

<file path=ppt/tags/tag70.xml><?xml version="1.0" encoding="utf-8"?>
<p:tagLst xmlns:p="http://schemas.openxmlformats.org/presentationml/2006/main">
  <p:tag name="KSO_WM_BEAUTIFY_FLAG" val=""/>
</p:tagLst>
</file>

<file path=ppt/tags/tag71.xml><?xml version="1.0" encoding="utf-8"?>
<p:tagLst xmlns:p="http://schemas.openxmlformats.org/presentationml/2006/main">
  <p:tag name="KSO_WM_BEAUTIFY_FLAG" val="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BEAUTIFY_FLAG" val=""/>
</p:tagLst>
</file>

<file path=ppt/tags/tag74.xml><?xml version="1.0" encoding="utf-8"?>
<p:tagLst xmlns:p="http://schemas.openxmlformats.org/presentationml/2006/main">
  <p:tag name="KSO_WM_BEAUTIFY_FLAG" val="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BEAUTIFY_FLAG" val=""/>
</p:tagLst>
</file>

<file path=ppt/tags/tag79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ISLIDE.THEME" val="https://www.islide.cc;"/>
</p:tagLst>
</file>

<file path=ppt/tags/tag80.xml><?xml version="1.0" encoding="utf-8"?>
<p:tagLst xmlns:p="http://schemas.openxmlformats.org/presentationml/2006/main">
  <p:tag name="KSO_WM_BEAUTIFY_FLAG" val=""/>
</p:tagLst>
</file>

<file path=ppt/tags/tag81.xml><?xml version="1.0" encoding="utf-8"?>
<p:tagLst xmlns:p="http://schemas.openxmlformats.org/presentationml/2006/main">
  <p:tag name="KSO_WM_BEAUTIFY_FLAG" val="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DIAGRAM_VIRTUALLY_FRAME" val="{&quot;height&quot;:282.60062992125984,&quot;left&quot;:304.35740157480313,&quot;top&quot;:116.91212598425197,&quot;width&quot;:362.8749606299213}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M_BEAUTIFY_FLAG" val=""/>
</p:tagLst>
</file>

<file path=ppt/tags/tag95.xml><?xml version="1.0" encoding="utf-8"?>
<p:tagLst xmlns:p="http://schemas.openxmlformats.org/presentationml/2006/main">
  <p:tag name="KSO_WM_BEAUTIFY_FLAG" val=""/>
</p:tagLst>
</file>

<file path=ppt/tags/tag96.xml><?xml version="1.0" encoding="utf-8"?>
<p:tagLst xmlns:p="http://schemas.openxmlformats.org/presentationml/2006/main">
  <p:tag name="KSO_WM_BEAUTIFY_FLAG" val=""/>
</p:tagLst>
</file>

<file path=ppt/tags/tag97.xml><?xml version="1.0" encoding="utf-8"?>
<p:tagLst xmlns:p="http://schemas.openxmlformats.org/presentationml/2006/main">
  <p:tag name="KSO_WM_BEAUTIFY_FLAG" val="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清风素材 https://12sc.taobao.com/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新版空白演示配色">
      <a:dk1>
        <a:sysClr val="windowText" lastClr="000000"/>
      </a:dk1>
      <a:lt1>
        <a:sysClr val="window" lastClr="FFFFFF"/>
      </a:lt1>
      <a:dk2>
        <a:srgbClr val="0F1423"/>
      </a:dk2>
      <a:lt2>
        <a:srgbClr val="FFFFFF"/>
      </a:lt2>
      <a:accent1>
        <a:srgbClr val="6096E6"/>
      </a:accent1>
      <a:accent2>
        <a:srgbClr val="58B6E5"/>
      </a:accent2>
      <a:accent3>
        <a:srgbClr val="56CA95"/>
      </a:accent3>
      <a:accent4>
        <a:srgbClr val="FFBA55"/>
      </a:accent4>
      <a:accent5>
        <a:srgbClr val="F18870"/>
      </a:accent5>
      <a:accent6>
        <a:srgbClr val="EC5F74"/>
      </a:accent6>
      <a:hlink>
        <a:srgbClr val="0563C1"/>
      </a:hlink>
      <a:folHlink>
        <a:srgbClr val="954D72"/>
      </a:folHlink>
    </a:clrScheme>
    <a:fontScheme name="自定义 9">
      <a:majorFont>
        <a:latin typeface="江城正义体 400W"/>
        <a:ea typeface="江城正义体 400W"/>
        <a:cs typeface=""/>
      </a:majorFont>
      <a:minorFont>
        <a:latin typeface="江城正义体 400W"/>
        <a:ea typeface="江城正义体 400W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69</Words>
  <Application>WPS 演示</Application>
  <PresentationFormat>自定义</PresentationFormat>
  <Paragraphs>574</Paragraphs>
  <Slides>43</Slides>
  <Notes>33</Notes>
  <HiddenSlides>0</HiddenSlides>
  <MMClips>0</MMClips>
  <ScaleCrop>false</ScaleCrop>
  <HeadingPairs>
    <vt:vector size="8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3</vt:i4>
      </vt:variant>
    </vt:vector>
  </HeadingPairs>
  <TitlesOfParts>
    <vt:vector size="69" baseType="lpstr">
      <vt:lpstr>Arial</vt:lpstr>
      <vt:lpstr>宋体</vt:lpstr>
      <vt:lpstr>Wingdings</vt:lpstr>
      <vt:lpstr>Wingdings</vt:lpstr>
      <vt:lpstr>微软雅黑</vt:lpstr>
      <vt:lpstr>汉仪雪君体简</vt:lpstr>
      <vt:lpstr>方正小标宋_GBK</vt:lpstr>
      <vt:lpstr>Arial Unicode MS</vt:lpstr>
      <vt:lpstr>Calibri</vt:lpstr>
      <vt:lpstr>等线 Light</vt:lpstr>
      <vt:lpstr>华文细黑</vt:lpstr>
      <vt:lpstr>等线</vt:lpstr>
      <vt:lpstr>黑体</vt:lpstr>
      <vt:lpstr>江城正义体 400W</vt:lpstr>
      <vt:lpstr>Segoe Print</vt:lpstr>
      <vt:lpstr>Arial Unicode MS</vt:lpstr>
      <vt:lpstr>微软雅黑 Light</vt:lpstr>
      <vt:lpstr>Arial Narrow</vt:lpstr>
      <vt:lpstr>Calibri Light</vt:lpstr>
      <vt:lpstr>方正宋刻本秀楷简体</vt:lpstr>
      <vt:lpstr>思源黑体 CN Medium</vt:lpstr>
      <vt:lpstr>Arial</vt:lpstr>
      <vt:lpstr>楷体</vt:lpstr>
      <vt:lpstr>清风素材 https://12sc.taobao.com/</vt:lpstr>
      <vt:lpstr>Office 主题​​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ttp://www.deepbbs.o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皮皮鲁</dc:creator>
  <dc:description>12sc.taobao.com</dc:description>
  <dc:subject>12sc.taobao.com</dc:subject>
  <cp:lastModifiedBy>巽君   </cp:lastModifiedBy>
  <cp:revision>405</cp:revision>
  <dcterms:created xsi:type="dcterms:W3CDTF">2015-10-15T11:58:00Z</dcterms:created>
  <dcterms:modified xsi:type="dcterms:W3CDTF">2025-10-09T09:2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3125</vt:lpwstr>
  </property>
  <property fmtid="{D5CDD505-2E9C-101B-9397-08002B2CF9AE}" pid="3" name="ICV">
    <vt:lpwstr>985F65EF12B641A08821DA7D1BDD7660_13</vt:lpwstr>
  </property>
</Properties>
</file>